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1"/>
  </p:sldMasterIdLst>
  <p:notesMasterIdLst>
    <p:notesMasterId r:id="rId62"/>
  </p:notesMasterIdLst>
  <p:sldIdLst>
    <p:sldId id="256" r:id="rId2"/>
    <p:sldId id="2571" r:id="rId3"/>
    <p:sldId id="2505" r:id="rId4"/>
    <p:sldId id="2523" r:id="rId5"/>
    <p:sldId id="2524" r:id="rId6"/>
    <p:sldId id="2525" r:id="rId7"/>
    <p:sldId id="257" r:id="rId8"/>
    <p:sldId id="2522" r:id="rId9"/>
    <p:sldId id="2526" r:id="rId10"/>
    <p:sldId id="2527" r:id="rId11"/>
    <p:sldId id="2528" r:id="rId12"/>
    <p:sldId id="2530" r:id="rId13"/>
    <p:sldId id="2521" r:id="rId14"/>
    <p:sldId id="2443" r:id="rId15"/>
    <p:sldId id="2570" r:id="rId16"/>
    <p:sldId id="2531" r:id="rId17"/>
    <p:sldId id="2529" r:id="rId18"/>
    <p:sldId id="2532" r:id="rId19"/>
    <p:sldId id="2533" r:id="rId20"/>
    <p:sldId id="2534" r:id="rId21"/>
    <p:sldId id="2535" r:id="rId22"/>
    <p:sldId id="2536" r:id="rId23"/>
    <p:sldId id="2537" r:id="rId24"/>
    <p:sldId id="2539" r:id="rId25"/>
    <p:sldId id="2538" r:id="rId26"/>
    <p:sldId id="2540" r:id="rId27"/>
    <p:sldId id="2546" r:id="rId28"/>
    <p:sldId id="2389" r:id="rId29"/>
    <p:sldId id="2549" r:id="rId30"/>
    <p:sldId id="2548" r:id="rId31"/>
    <p:sldId id="1099" r:id="rId32"/>
    <p:sldId id="1208" r:id="rId33"/>
    <p:sldId id="1206" r:id="rId34"/>
    <p:sldId id="1238" r:id="rId35"/>
    <p:sldId id="1237" r:id="rId36"/>
    <p:sldId id="1209" r:id="rId37"/>
    <p:sldId id="1242" r:id="rId38"/>
    <p:sldId id="1104" r:id="rId39"/>
    <p:sldId id="2572" r:id="rId40"/>
    <p:sldId id="2573" r:id="rId41"/>
    <p:sldId id="2552" r:id="rId42"/>
    <p:sldId id="2551" r:id="rId43"/>
    <p:sldId id="2553" r:id="rId44"/>
    <p:sldId id="2561" r:id="rId45"/>
    <p:sldId id="2554" r:id="rId46"/>
    <p:sldId id="2562" r:id="rId47"/>
    <p:sldId id="2555" r:id="rId48"/>
    <p:sldId id="2563" r:id="rId49"/>
    <p:sldId id="2556" r:id="rId50"/>
    <p:sldId id="2564" r:id="rId51"/>
    <p:sldId id="2557" r:id="rId52"/>
    <p:sldId id="2565" r:id="rId53"/>
    <p:sldId id="2558" r:id="rId54"/>
    <p:sldId id="2566" r:id="rId55"/>
    <p:sldId id="2559" r:id="rId56"/>
    <p:sldId id="2567" r:id="rId57"/>
    <p:sldId id="2560" r:id="rId58"/>
    <p:sldId id="2568" r:id="rId59"/>
    <p:sldId id="2569" r:id="rId60"/>
    <p:sldId id="2575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ryanova, Viktoria" initials="KV" lastIdx="233" clrIdx="0">
    <p:extLst>
      <p:ext uri="{19B8F6BF-5375-455C-9EA6-DF929625EA0E}">
        <p15:presenceInfo xmlns:p15="http://schemas.microsoft.com/office/powerpoint/2012/main" userId="S-1-5-21-2800664165-146498085-484308319-261690" providerId="AD"/>
      </p:ext>
    </p:extLst>
  </p:cmAuthor>
  <p:cmAuthor id="2" name="Dubanevych, Olga" initials="DO [2]" lastIdx="230" clrIdx="1">
    <p:extLst>
      <p:ext uri="{19B8F6BF-5375-455C-9EA6-DF929625EA0E}">
        <p15:presenceInfo xmlns:p15="http://schemas.microsoft.com/office/powerpoint/2012/main" userId="S-1-5-21-2800664165-146498085-484308319-261009" providerId="AD"/>
      </p:ext>
    </p:extLst>
  </p:cmAuthor>
  <p:cmAuthor id="3" name="Burdikova, Irina" initials="BI" lastIdx="8" clrIdx="2">
    <p:extLst>
      <p:ext uri="{19B8F6BF-5375-455C-9EA6-DF929625EA0E}">
        <p15:presenceInfo xmlns:p15="http://schemas.microsoft.com/office/powerpoint/2012/main" userId="S-1-5-21-2800664165-146498085-484308319-262292" providerId="AD"/>
      </p:ext>
    </p:extLst>
  </p:cmAuthor>
  <p:cmAuthor id="4" name="Anikina, Natalia" initials="AN" lastIdx="7" clrIdx="3">
    <p:extLst>
      <p:ext uri="{19B8F6BF-5375-455C-9EA6-DF929625EA0E}">
        <p15:presenceInfo xmlns:p15="http://schemas.microsoft.com/office/powerpoint/2012/main" userId="S-1-5-21-2800664165-146498085-484308319-261374" providerId="AD"/>
      </p:ext>
    </p:extLst>
  </p:cmAuthor>
  <p:cmAuthor id="5" name="Mudritsyna, Tatyana" initials="MT" lastIdx="5" clrIdx="4">
    <p:extLst>
      <p:ext uri="{19B8F6BF-5375-455C-9EA6-DF929625EA0E}">
        <p15:presenceInfo xmlns:p15="http://schemas.microsoft.com/office/powerpoint/2012/main" userId="S-1-5-21-2800664165-146498085-484308319-26289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14BC"/>
    <a:srgbClr val="2112AE"/>
    <a:srgbClr val="004BD2"/>
    <a:srgbClr val="49A9F6"/>
    <a:srgbClr val="1BD7D3"/>
    <a:srgbClr val="00338D"/>
    <a:srgbClr val="2DDFDB"/>
    <a:srgbClr val="3A07DF"/>
    <a:srgbClr val="3B302F"/>
    <a:srgbClr val="F9F9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04" autoAdjust="0"/>
    <p:restoredTop sz="93484" autoAdjust="0"/>
  </p:normalViewPr>
  <p:slideViewPr>
    <p:cSldViewPr snapToGrid="0">
      <p:cViewPr varScale="1">
        <p:scale>
          <a:sx n="73" d="100"/>
          <a:sy n="73" d="100"/>
        </p:scale>
        <p:origin x="989" y="6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74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581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commentAuthors" Target="commentAuthors.xml"/><Relationship Id="rId68" Type="http://schemas.microsoft.com/office/2016/11/relationships/changesInfo" Target="changesInfos/changesInfo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jiev, Iskandar" userId="11483d6b-a813-4423-a6a6-f2b1aed4f54c" providerId="ADAL" clId="{BA984D90-8702-47F4-8983-40BC364BD66A}"/>
    <pc:docChg chg="undo custSel delSld modSld">
      <pc:chgData name="Tojiev, Iskandar" userId="11483d6b-a813-4423-a6a6-f2b1aed4f54c" providerId="ADAL" clId="{BA984D90-8702-47F4-8983-40BC364BD66A}" dt="2023-03-14T05:50:45.496" v="88" actId="20577"/>
      <pc:docMkLst>
        <pc:docMk/>
      </pc:docMkLst>
      <pc:sldChg chg="del">
        <pc:chgData name="Tojiev, Iskandar" userId="11483d6b-a813-4423-a6a6-f2b1aed4f54c" providerId="ADAL" clId="{BA984D90-8702-47F4-8983-40BC364BD66A}" dt="2023-03-14T05:46:52.036" v="74" actId="47"/>
        <pc:sldMkLst>
          <pc:docMk/>
          <pc:sldMk cId="361626413" sldId="2545"/>
        </pc:sldMkLst>
      </pc:sldChg>
      <pc:sldChg chg="modSp mod">
        <pc:chgData name="Tojiev, Iskandar" userId="11483d6b-a813-4423-a6a6-f2b1aed4f54c" providerId="ADAL" clId="{BA984D90-8702-47F4-8983-40BC364BD66A}" dt="2023-03-14T05:45:04.648" v="3" actId="6549"/>
        <pc:sldMkLst>
          <pc:docMk/>
          <pc:sldMk cId="3759866238" sldId="2546"/>
        </pc:sldMkLst>
        <pc:spChg chg="mod">
          <ac:chgData name="Tojiev, Iskandar" userId="11483d6b-a813-4423-a6a6-f2b1aed4f54c" providerId="ADAL" clId="{BA984D90-8702-47F4-8983-40BC364BD66A}" dt="2023-03-14T05:45:04.648" v="3" actId="6549"/>
          <ac:spMkLst>
            <pc:docMk/>
            <pc:sldMk cId="3759866238" sldId="2546"/>
            <ac:spMk id="3" creationId="{882C6541-2A31-4E7F-B834-4CE389EA3AD4}"/>
          </ac:spMkLst>
        </pc:spChg>
      </pc:sldChg>
      <pc:sldChg chg="modSp mod">
        <pc:chgData name="Tojiev, Iskandar" userId="11483d6b-a813-4423-a6a6-f2b1aed4f54c" providerId="ADAL" clId="{BA984D90-8702-47F4-8983-40BC364BD66A}" dt="2023-03-14T05:50:45.496" v="88" actId="20577"/>
        <pc:sldMkLst>
          <pc:docMk/>
          <pc:sldMk cId="3053002446" sldId="2571"/>
        </pc:sldMkLst>
        <pc:spChg chg="mod">
          <ac:chgData name="Tojiev, Iskandar" userId="11483d6b-a813-4423-a6a6-f2b1aed4f54c" providerId="ADAL" clId="{BA984D90-8702-47F4-8983-40BC364BD66A}" dt="2023-03-14T05:46:24.722" v="73" actId="20577"/>
          <ac:spMkLst>
            <pc:docMk/>
            <pc:sldMk cId="3053002446" sldId="2571"/>
            <ac:spMk id="3" creationId="{9152FD75-7C48-42A8-B2AB-975B84D3A956}"/>
          </ac:spMkLst>
        </pc:spChg>
        <pc:spChg chg="mod">
          <ac:chgData name="Tojiev, Iskandar" userId="11483d6b-a813-4423-a6a6-f2b1aed4f54c" providerId="ADAL" clId="{BA984D90-8702-47F4-8983-40BC364BD66A}" dt="2023-03-14T05:46:23.097" v="72" actId="20577"/>
          <ac:spMkLst>
            <pc:docMk/>
            <pc:sldMk cId="3053002446" sldId="2571"/>
            <ac:spMk id="4" creationId="{B49B6DAE-A3E3-4BF8-955D-64915719C866}"/>
          </ac:spMkLst>
        </pc:spChg>
        <pc:spChg chg="mod">
          <ac:chgData name="Tojiev, Iskandar" userId="11483d6b-a813-4423-a6a6-f2b1aed4f54c" providerId="ADAL" clId="{BA984D90-8702-47F4-8983-40BC364BD66A}" dt="2023-03-14T05:46:13.914" v="68" actId="6549"/>
          <ac:spMkLst>
            <pc:docMk/>
            <pc:sldMk cId="3053002446" sldId="2571"/>
            <ac:spMk id="5" creationId="{E9D96815-1EE7-4B9D-8131-E5BE98185CCA}"/>
          </ac:spMkLst>
        </pc:spChg>
        <pc:spChg chg="mod">
          <ac:chgData name="Tojiev, Iskandar" userId="11483d6b-a813-4423-a6a6-f2b1aed4f54c" providerId="ADAL" clId="{BA984D90-8702-47F4-8983-40BC364BD66A}" dt="2023-03-14T05:46:15.435" v="69" actId="6549"/>
          <ac:spMkLst>
            <pc:docMk/>
            <pc:sldMk cId="3053002446" sldId="2571"/>
            <ac:spMk id="6" creationId="{B1AC0DE1-2D98-4838-886E-D7268B22037D}"/>
          </ac:spMkLst>
        </pc:spChg>
        <pc:spChg chg="mod">
          <ac:chgData name="Tojiev, Iskandar" userId="11483d6b-a813-4423-a6a6-f2b1aed4f54c" providerId="ADAL" clId="{BA984D90-8702-47F4-8983-40BC364BD66A}" dt="2023-03-14T05:45:35.690" v="57" actId="20577"/>
          <ac:spMkLst>
            <pc:docMk/>
            <pc:sldMk cId="3053002446" sldId="2571"/>
            <ac:spMk id="7" creationId="{7800CE79-DD29-4BF8-9669-9E5C5E0376B3}"/>
          </ac:spMkLst>
        </pc:spChg>
        <pc:spChg chg="mod">
          <ac:chgData name="Tojiev, Iskandar" userId="11483d6b-a813-4423-a6a6-f2b1aed4f54c" providerId="ADAL" clId="{BA984D90-8702-47F4-8983-40BC364BD66A}" dt="2023-03-14T05:45:34.058" v="56" actId="20577"/>
          <ac:spMkLst>
            <pc:docMk/>
            <pc:sldMk cId="3053002446" sldId="2571"/>
            <ac:spMk id="8" creationId="{7DCDEDCB-654D-459A-98C8-689C83E75E49}"/>
          </ac:spMkLst>
        </pc:spChg>
        <pc:spChg chg="mod">
          <ac:chgData name="Tojiev, Iskandar" userId="11483d6b-a813-4423-a6a6-f2b1aed4f54c" providerId="ADAL" clId="{BA984D90-8702-47F4-8983-40BC364BD66A}" dt="2023-03-14T05:45:21.318" v="41" actId="20577"/>
          <ac:spMkLst>
            <pc:docMk/>
            <pc:sldMk cId="3053002446" sldId="2571"/>
            <ac:spMk id="11" creationId="{66EB961E-1260-47D0-8A20-2FAAFADE55C3}"/>
          </ac:spMkLst>
        </pc:spChg>
        <pc:spChg chg="mod">
          <ac:chgData name="Tojiev, Iskandar" userId="11483d6b-a813-4423-a6a6-f2b1aed4f54c" providerId="ADAL" clId="{BA984D90-8702-47F4-8983-40BC364BD66A}" dt="2023-03-14T05:50:33.183" v="78" actId="6549"/>
          <ac:spMkLst>
            <pc:docMk/>
            <pc:sldMk cId="3053002446" sldId="2571"/>
            <ac:spMk id="12" creationId="{A8AF59A8-C941-4E05-86EE-D2EC3725CA3E}"/>
          </ac:spMkLst>
        </pc:spChg>
        <pc:spChg chg="mod">
          <ac:chgData name="Tojiev, Iskandar" userId="11483d6b-a813-4423-a6a6-f2b1aed4f54c" providerId="ADAL" clId="{BA984D90-8702-47F4-8983-40BC364BD66A}" dt="2023-03-14T05:50:40.761" v="84" actId="20577"/>
          <ac:spMkLst>
            <pc:docMk/>
            <pc:sldMk cId="3053002446" sldId="2571"/>
            <ac:spMk id="13" creationId="{BC4DFE58-BD33-4B38-B4CB-475B81D06B65}"/>
          </ac:spMkLst>
        </pc:spChg>
        <pc:spChg chg="mod">
          <ac:chgData name="Tojiev, Iskandar" userId="11483d6b-a813-4423-a6a6-f2b1aed4f54c" providerId="ADAL" clId="{BA984D90-8702-47F4-8983-40BC364BD66A}" dt="2023-03-14T05:50:43.047" v="86" actId="20577"/>
          <ac:spMkLst>
            <pc:docMk/>
            <pc:sldMk cId="3053002446" sldId="2571"/>
            <ac:spMk id="14" creationId="{4B98322A-47BB-4EB1-8642-142A22FE3852}"/>
          </ac:spMkLst>
        </pc:spChg>
        <pc:spChg chg="mod">
          <ac:chgData name="Tojiev, Iskandar" userId="11483d6b-a813-4423-a6a6-f2b1aed4f54c" providerId="ADAL" clId="{BA984D90-8702-47F4-8983-40BC364BD66A}" dt="2023-03-14T05:50:45.496" v="88" actId="20577"/>
          <ac:spMkLst>
            <pc:docMk/>
            <pc:sldMk cId="3053002446" sldId="2571"/>
            <ac:spMk id="15" creationId="{76E7C83F-575D-4D65-B179-B69AB3A0808A}"/>
          </ac:spMkLst>
        </pc:spChg>
        <pc:spChg chg="mod">
          <ac:chgData name="Tojiev, Iskandar" userId="11483d6b-a813-4423-a6a6-f2b1aed4f54c" providerId="ADAL" clId="{BA984D90-8702-47F4-8983-40BC364BD66A}" dt="2023-03-14T05:50:37.836" v="82" actId="6549"/>
          <ac:spMkLst>
            <pc:docMk/>
            <pc:sldMk cId="3053002446" sldId="2571"/>
            <ac:spMk id="16" creationId="{B3A07269-004B-406F-85DC-5D95810DCB89}"/>
          </ac:spMkLst>
        </pc:spChg>
      </pc:sldChg>
      <pc:sldChg chg="del">
        <pc:chgData name="Tojiev, Iskandar" userId="11483d6b-a813-4423-a6a6-f2b1aed4f54c" providerId="ADAL" clId="{BA984D90-8702-47F4-8983-40BC364BD66A}" dt="2023-03-14T05:46:52.036" v="74" actId="47"/>
        <pc:sldMkLst>
          <pc:docMk/>
          <pc:sldMk cId="3346916144" sldId="257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4844066858346852"/>
          <c:y val="3.8710115898243448E-2"/>
          <c:w val="0.40049007176560514"/>
          <c:h val="0.901331808696714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1BD7D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rgbClr val="00338D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200" dirty="0">
                        <a:solidFill>
                          <a:srgbClr val="00338D"/>
                        </a:solidFill>
                      </a:rPr>
                      <a:t>1 741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rgbClr val="00338D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5995-411B-8849-3A427E5FAD8F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rgbClr val="00338D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AE60314-102C-4747-B514-AC8C23F584B3}" type="VALUE">
                      <a:rPr lang="en-US" sz="1200">
                        <a:solidFill>
                          <a:srgbClr val="00338D"/>
                        </a:solidFill>
                      </a:rPr>
                      <a:pPr>
                        <a:defRPr sz="1200" b="1">
                          <a:solidFill>
                            <a:srgbClr val="00338D"/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rgbClr val="00338D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995-411B-8849-3A427E5FAD8F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rgbClr val="00338D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BF405A2-4AD0-4EAC-8D48-5CBAC21DFB24}" type="VALUE">
                      <a:rPr lang="en-US" sz="1200">
                        <a:solidFill>
                          <a:srgbClr val="00338D"/>
                        </a:solidFill>
                      </a:rPr>
                      <a:pPr>
                        <a:defRPr sz="1200" b="1">
                          <a:solidFill>
                            <a:srgbClr val="00338D"/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rgbClr val="00338D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5995-411B-8849-3A427E5FAD8F}"/>
                </c:ext>
              </c:extLst>
            </c:dLbl>
            <c:dLbl>
              <c:idx val="3"/>
              <c:layout>
                <c:manualLayout>
                  <c:x val="-8.9785658649570679E-17"/>
                  <c:y val="0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rgbClr val="00338D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D9FD807-1B54-45A8-B95D-9B6175AC5B78}" type="VALUE">
                      <a:rPr lang="en-US" sz="1200">
                        <a:solidFill>
                          <a:srgbClr val="00338D"/>
                        </a:solidFill>
                      </a:rPr>
                      <a:pPr>
                        <a:defRPr sz="1200" b="1">
                          <a:solidFill>
                            <a:srgbClr val="00338D"/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rgbClr val="00338D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995-411B-8849-3A427E5FAD8F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1" i="0" u="none" strike="noStrike" kern="1200" baseline="0">
                        <a:solidFill>
                          <a:srgbClr val="00338D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9C9D279-6199-4803-8509-04117494FAC8}" type="VALUE">
                      <a:rPr lang="en-US" sz="1200">
                        <a:solidFill>
                          <a:srgbClr val="00338D"/>
                        </a:solidFill>
                      </a:rPr>
                      <a:pPr>
                        <a:defRPr sz="1200" b="1">
                          <a:solidFill>
                            <a:srgbClr val="00338D"/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1" i="0" u="none" strike="noStrike" kern="1200" baseline="0">
                      <a:solidFill>
                        <a:srgbClr val="00338D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995-411B-8849-3A427E5FAD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rgbClr val="00338D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Мулкни ўғирлаш</c:v>
                </c:pt>
                <c:pt idx="1">
                  <c:v>Фирибгарлик</c:v>
                </c:pt>
                <c:pt idx="2">
                  <c:v>Хизмат лавозимини суиистеъмол қилиниши</c:v>
                </c:pt>
                <c:pt idx="3">
                  <c:v>Коррупцион жиноятлар</c:v>
                </c:pt>
                <c:pt idx="4">
                  <c:v>Бошқа жиноятлар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741</c:v>
                </c:pt>
                <c:pt idx="1">
                  <c:v>269</c:v>
                </c:pt>
                <c:pt idx="2">
                  <c:v>168</c:v>
                </c:pt>
                <c:pt idx="3">
                  <c:v>165</c:v>
                </c:pt>
                <c:pt idx="4">
                  <c:v>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995-411B-8849-3A427E5FAD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2"/>
        <c:axId val="141364608"/>
        <c:axId val="141370496"/>
      </c:barChart>
      <c:catAx>
        <c:axId val="1413646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1370496"/>
        <c:crosses val="autoZero"/>
        <c:auto val="1"/>
        <c:lblAlgn val="ctr"/>
        <c:lblOffset val="100"/>
        <c:noMultiLvlLbl val="0"/>
      </c:catAx>
      <c:valAx>
        <c:axId val="141370496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141364608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2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tx2"/>
                </a:solidFill>
              </a:rPr>
              <a:t>Transparency International</a:t>
            </a:r>
            <a:r>
              <a:rPr lang="uz-Cyrl-UZ" sz="1400" b="1" dirty="0">
                <a:solidFill>
                  <a:schemeClr val="tx2"/>
                </a:solidFill>
              </a:rPr>
              <a:t> рейтингидаги баллар динамикаси</a:t>
            </a:r>
            <a:r>
              <a:rPr lang="en-US" sz="1400" b="1" dirty="0">
                <a:solidFill>
                  <a:schemeClr val="tx2"/>
                </a:solidFill>
              </a:rPr>
              <a:t>.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smoothMarker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Казахстан</c:v>
                </c:pt>
              </c:strCache>
            </c:strRef>
          </c:tx>
          <c:spPr>
            <a:ln w="19050" cap="rnd">
              <a:solidFill>
                <a:srgbClr val="7740F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740FF"/>
              </a:solidFill>
              <a:ln w="9525">
                <a:solidFill>
                  <a:srgbClr val="7740FF"/>
                </a:solidFill>
              </a:ln>
              <a:effectLst/>
            </c:spPr>
          </c:marker>
          <c:xVal>
            <c:numRef>
              <c:f>Sheet1!$B$1:$K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B$2:$K$2</c:f>
              <c:numCache>
                <c:formatCode>General</c:formatCode>
                <c:ptCount val="10"/>
                <c:pt idx="0">
                  <c:v>28</c:v>
                </c:pt>
                <c:pt idx="1">
                  <c:v>26</c:v>
                </c:pt>
                <c:pt idx="2">
                  <c:v>29</c:v>
                </c:pt>
                <c:pt idx="3">
                  <c:v>28</c:v>
                </c:pt>
                <c:pt idx="4">
                  <c:v>29</c:v>
                </c:pt>
                <c:pt idx="5">
                  <c:v>31</c:v>
                </c:pt>
                <c:pt idx="6">
                  <c:v>31</c:v>
                </c:pt>
                <c:pt idx="7">
                  <c:v>34</c:v>
                </c:pt>
                <c:pt idx="8">
                  <c:v>38</c:v>
                </c:pt>
                <c:pt idx="9">
                  <c:v>3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E57D-46E8-BF50-C8E247EBE56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Россия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xVal>
            <c:numRef>
              <c:f>Sheet1!$B$1:$K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B$3:$K$3</c:f>
              <c:numCache>
                <c:formatCode>General</c:formatCode>
                <c:ptCount val="10"/>
                <c:pt idx="0">
                  <c:v>28</c:v>
                </c:pt>
                <c:pt idx="1">
                  <c:v>28</c:v>
                </c:pt>
                <c:pt idx="2">
                  <c:v>27</c:v>
                </c:pt>
                <c:pt idx="3">
                  <c:v>29</c:v>
                </c:pt>
                <c:pt idx="4">
                  <c:v>29</c:v>
                </c:pt>
                <c:pt idx="5">
                  <c:v>29</c:v>
                </c:pt>
                <c:pt idx="6">
                  <c:v>28</c:v>
                </c:pt>
                <c:pt idx="7">
                  <c:v>28</c:v>
                </c:pt>
                <c:pt idx="8">
                  <c:v>30</c:v>
                </c:pt>
                <c:pt idx="9">
                  <c:v>2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E57D-46E8-BF50-C8E247EBE561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Узбекистан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xVal>
            <c:numRef>
              <c:f>Sheet1!$B$1:$K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B$4:$K$4</c:f>
              <c:numCache>
                <c:formatCode>General</c:formatCode>
                <c:ptCount val="10"/>
                <c:pt idx="0">
                  <c:v>17</c:v>
                </c:pt>
                <c:pt idx="1">
                  <c:v>17</c:v>
                </c:pt>
                <c:pt idx="2">
                  <c:v>18</c:v>
                </c:pt>
                <c:pt idx="3">
                  <c:v>19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E57D-46E8-BF50-C8E247EBE5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07634832"/>
        <c:axId val="407636008"/>
      </c:scatterChart>
      <c:valAx>
        <c:axId val="4076348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2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636008"/>
        <c:crosses val="autoZero"/>
        <c:crossBetween val="midCat"/>
      </c:valAx>
      <c:valAx>
        <c:axId val="407636008"/>
        <c:scaling>
          <c:orientation val="minMax"/>
          <c:min val="15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634832"/>
        <c:crosses val="autoZero"/>
        <c:crossBetween val="midCat"/>
      </c:valAx>
      <c:spPr>
        <a:noFill/>
        <a:ln>
          <a:solidFill>
            <a:schemeClr val="bg2"/>
          </a:solidFill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Обнаружения мошенничества</c:v>
                </c:pt>
              </c:strCache>
            </c:strRef>
          </c:tx>
          <c:dPt>
            <c:idx val="0"/>
            <c:bubble3D val="0"/>
            <c:spPr>
              <a:solidFill>
                <a:srgbClr val="004BD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12F-4802-B9AF-77CD001F6026}"/>
              </c:ext>
            </c:extLst>
          </c:dPt>
          <c:dPt>
            <c:idx val="1"/>
            <c:bubble3D val="0"/>
            <c:spPr>
              <a:solidFill>
                <a:srgbClr val="2DDFDB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C12F-4802-B9AF-77CD001F602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625-4C58-9F0F-25EF7B4BC9BD}"/>
              </c:ext>
            </c:extLst>
          </c:dPt>
          <c:dPt>
            <c:idx val="3"/>
            <c:bubble3D val="0"/>
            <c:spPr>
              <a:solidFill>
                <a:srgbClr val="49A9F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625-4C58-9F0F-25EF7B4BC9BD}"/>
              </c:ext>
            </c:extLst>
          </c:dPt>
          <c:cat>
            <c:strRef>
              <c:f>Sheet1!$A$2:$A$5</c:f>
              <c:strCache>
                <c:ptCount val="4"/>
                <c:pt idx="0">
                  <c:v>Осведомители</c:v>
                </c:pt>
                <c:pt idx="1">
                  <c:v>Внутренний аудит</c:v>
                </c:pt>
                <c:pt idx="2">
                  <c:v>Проверка руководства</c:v>
                </c:pt>
                <c:pt idx="3">
                  <c:v>Прочие методы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2</c:v>
                </c:pt>
                <c:pt idx="1">
                  <c:v>16</c:v>
                </c:pt>
                <c:pt idx="2">
                  <c:v>12</c:v>
                </c:pt>
                <c:pt idx="3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2F-4802-B9AF-77CD001F60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9763FD-7D6E-4F23-AF32-E6A82B2C4A61}" type="datetimeFigureOut">
              <a:rPr lang="en-US" smtClean="0"/>
              <a:t>5/3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A9F04-E808-4984-8439-FD0A87A3E3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219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erriam-webster.com/dictionary/corruption" TargetMode="External"/><Relationship Id="rId7" Type="http://schemas.openxmlformats.org/officeDocument/2006/relationships/hyperlink" Target="https://www.britannica.com/topic/corruption-law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worldbank.org/en/news/factsheet/2020/02/19/anticorruption-fact-sheet" TargetMode="External"/><Relationship Id="rId5" Type="http://schemas.openxmlformats.org/officeDocument/2006/relationships/hyperlink" Target="https://www.oxfordlearnersdictionaries.com/definition/english/corruption?q=corruption" TargetMode="External"/><Relationship Id="rId4" Type="http://schemas.openxmlformats.org/officeDocument/2006/relationships/hyperlink" Target="https://www.transparency.org/en/what-is-corruption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n.org/ru/documents/decl_conv/conventions/corruption.shtml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un.org/ru/documents/decl_conv/conventions/code_of_conduct.shtml" TargetMode="External"/><Relationship Id="rId4" Type="http://schemas.openxmlformats.org/officeDocument/2006/relationships/hyperlink" Target="https://rm.coe.int/168007f3f6" TargetMode="Externa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studbooks.net/1661654/pravo/modeli_korruptsii_sotsialnaya_lovushka?ysclid=l9hh2tqu6v263929139" TargetMode="External"/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www.researchgate.net/publication/290838276_Fraud_and_Corruption" TargetMode="External"/><Relationship Id="rId4" Type="http://schemas.openxmlformats.org/officeDocument/2006/relationships/hyperlink" Target="https://www.unodc.org/e4j/en/anti-corruption/module-4/key-issues/theories-that-explain-corruption.html" TargetMode="Externa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/>
              <a:t>Вопросы для обсуждения: </a:t>
            </a:r>
            <a:br>
              <a:rPr lang="en-US" dirty="0"/>
            </a:br>
            <a:r>
              <a:rPr lang="en-US" b="0" dirty="0"/>
              <a:t>1.</a:t>
            </a:r>
            <a:r>
              <a:rPr lang="ru-RU" b="0" dirty="0"/>
              <a:t> Какое из данных определений вам кажется наиболее подходящим? – дискуссия</a:t>
            </a:r>
          </a:p>
          <a:p>
            <a:r>
              <a:rPr lang="ru-RU" b="0" dirty="0"/>
              <a:t>2. Что объединяет данные определения? – получение выгоды, незаконное поведение</a:t>
            </a:r>
            <a:br>
              <a:rPr lang="en-US" b="0" dirty="0"/>
            </a:br>
            <a:r>
              <a:rPr lang="ru-RU" b="0" dirty="0"/>
              <a:t>3. Считаете ли вы, что данные определения точно и целиком отражают понятие коррупции? – дискуссия.</a:t>
            </a:r>
            <a:br>
              <a:rPr lang="ru-RU" dirty="0"/>
            </a:br>
            <a:br>
              <a:rPr lang="ru-RU" dirty="0"/>
            </a:br>
            <a:r>
              <a:rPr lang="ru-RU" dirty="0"/>
              <a:t>Ресурсы</a:t>
            </a:r>
            <a:r>
              <a:rPr lang="en-US" dirty="0"/>
              <a:t>:</a:t>
            </a:r>
          </a:p>
          <a:p>
            <a:r>
              <a:rPr lang="en-US" dirty="0">
                <a:hlinkClick r:id="rId3"/>
              </a:rPr>
              <a:t>Corruption Definition &amp; Meaning - Merriam-Webster</a:t>
            </a:r>
            <a:endParaRPr lang="en-US" dirty="0"/>
          </a:p>
          <a:p>
            <a:r>
              <a:rPr lang="en-US" dirty="0">
                <a:hlinkClick r:id="rId4"/>
              </a:rPr>
              <a:t>What is corruption? - Transparency.org</a:t>
            </a:r>
            <a:endParaRPr lang="en-US" dirty="0"/>
          </a:p>
          <a:p>
            <a:r>
              <a:rPr lang="en-US" dirty="0">
                <a:hlinkClick r:id="rId5"/>
              </a:rPr>
              <a:t>corruption noun - Definition, pictures, pronunciation and usage notes | Oxford Advanced Learner's Dictionary at OxfordLearnersDictionaries.com</a:t>
            </a:r>
            <a:endParaRPr lang="ru-RU" dirty="0"/>
          </a:p>
          <a:p>
            <a:r>
              <a:rPr lang="en-US" dirty="0">
                <a:hlinkClick r:id="rId6"/>
              </a:rPr>
              <a:t>Anticorruption Fact Sheet (worldbank.org)</a:t>
            </a:r>
            <a:endParaRPr lang="en-US" dirty="0"/>
          </a:p>
          <a:p>
            <a:r>
              <a:rPr lang="en-US" dirty="0">
                <a:hlinkClick r:id="rId7"/>
              </a:rPr>
              <a:t>corruption | law | Britannica</a:t>
            </a:r>
            <a:endParaRPr lang="en-US" dirty="0"/>
          </a:p>
          <a:p>
            <a:r>
              <a:rPr lang="ru-RU" dirty="0"/>
              <a:t>Толковый словарь Ожегова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2519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/>
              <a:t>Нужно провести параллель между Коррупцией и Мошенничеством</a:t>
            </a:r>
            <a:r>
              <a:rPr lang="en-US" b="1" dirty="0"/>
              <a:t>:</a:t>
            </a:r>
          </a:p>
          <a:p>
            <a:endParaRPr lang="en-US" dirty="0"/>
          </a:p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пределение Мошенничества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хищение чужого имущества или приобретение права на чужое имущество путём обмана или злоупотребления доверием.</a:t>
            </a:r>
          </a:p>
          <a:p>
            <a:r>
              <a:rPr lang="ru-RU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араллель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шенничество можно совершить злоупотребив своим должностным положением, тогда это становится коррупцией</a:t>
            </a:r>
            <a:endParaRPr lang="ru-RU" dirty="0"/>
          </a:p>
          <a:p>
            <a:endParaRPr lang="ru-RU" dirty="0"/>
          </a:p>
          <a:p>
            <a:r>
              <a:rPr lang="ru-RU" dirty="0"/>
              <a:t>Вопрос студентам</a:t>
            </a:r>
            <a:r>
              <a:rPr lang="en-US" dirty="0"/>
              <a:t>:</a:t>
            </a:r>
          </a:p>
          <a:p>
            <a:r>
              <a:rPr lang="ru-RU" b="1" dirty="0"/>
              <a:t>Какие мотивации могут быть у людей, идущих на Мошенничество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1289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i="1" dirty="0"/>
              <a:t>Из тренинга для гос. служащих</a:t>
            </a:r>
          </a:p>
          <a:p>
            <a:endParaRPr lang="ru-RU" dirty="0"/>
          </a:p>
          <a:p>
            <a:r>
              <a:rPr lang="ru-RU" dirty="0"/>
              <a:t>Вопрос студентам</a:t>
            </a:r>
            <a:r>
              <a:rPr lang="en-US" dirty="0"/>
              <a:t>: </a:t>
            </a:r>
            <a:r>
              <a:rPr lang="ru-RU" b="1" dirty="0"/>
              <a:t>Как данные формы и проявления согласуются с типами коррупционных нарушений из прошлого слайда?</a:t>
            </a:r>
          </a:p>
          <a:p>
            <a:r>
              <a:rPr lang="ru-RU" dirty="0"/>
              <a:t>Примеры</a:t>
            </a:r>
            <a:r>
              <a:rPr lang="en-US" dirty="0"/>
              <a:t>: </a:t>
            </a:r>
          </a:p>
          <a:p>
            <a:r>
              <a:rPr lang="ru-RU" dirty="0"/>
              <a:t>Непотизм</a:t>
            </a:r>
            <a:r>
              <a:rPr lang="en-US" dirty="0"/>
              <a:t>: </a:t>
            </a:r>
            <a:r>
              <a:rPr lang="ru-RU" dirty="0"/>
              <a:t>помощь родственникам (Например</a:t>
            </a:r>
            <a:r>
              <a:rPr lang="en-US" dirty="0"/>
              <a:t>: </a:t>
            </a:r>
            <a:r>
              <a:rPr lang="ru-RU" dirty="0"/>
              <a:t>устройство на работу)</a:t>
            </a:r>
          </a:p>
          <a:p>
            <a:r>
              <a:rPr lang="ru-RU" dirty="0"/>
              <a:t>Кража</a:t>
            </a:r>
            <a:r>
              <a:rPr lang="en-US" dirty="0"/>
              <a:t>:</a:t>
            </a:r>
            <a:r>
              <a:rPr lang="ru-RU" dirty="0"/>
              <a:t> Завышение комиссионных выплат, воровство из кассы</a:t>
            </a:r>
          </a:p>
          <a:p>
            <a:r>
              <a:rPr lang="ru-RU" dirty="0"/>
              <a:t>Взяточничество</a:t>
            </a:r>
            <a:r>
              <a:rPr lang="en-US" dirty="0"/>
              <a:t>: </a:t>
            </a:r>
            <a:r>
              <a:rPr lang="ru-RU" dirty="0"/>
              <a:t>Стимулирующие платежи, подарки, поддержка политических партий</a:t>
            </a:r>
          </a:p>
          <a:p>
            <a:r>
              <a:rPr lang="ru-RU" dirty="0"/>
              <a:t>Вымогательство</a:t>
            </a:r>
            <a:r>
              <a:rPr lang="en-US" dirty="0"/>
              <a:t>: </a:t>
            </a:r>
            <a:r>
              <a:rPr lang="ru-RU" dirty="0"/>
              <a:t>Денежные средства (Например</a:t>
            </a:r>
            <a:r>
              <a:rPr lang="en-US" dirty="0"/>
              <a:t>: </a:t>
            </a:r>
            <a:r>
              <a:rPr lang="ru-RU" dirty="0"/>
              <a:t>учитель угрожает студенту завалить его на экзамене, если студент не будет платить регулярные суммы)</a:t>
            </a:r>
          </a:p>
          <a:p>
            <a:r>
              <a:rPr lang="ru-RU" dirty="0"/>
              <a:t>Растрата</a:t>
            </a:r>
            <a:r>
              <a:rPr lang="en-US" dirty="0"/>
              <a:t>: </a:t>
            </a:r>
            <a:r>
              <a:rPr lang="ru-RU" dirty="0"/>
              <a:t>Денежные средства (Например</a:t>
            </a:r>
            <a:r>
              <a:rPr lang="en-US" dirty="0"/>
              <a:t>: </a:t>
            </a:r>
            <a:r>
              <a:rPr lang="ru-RU" dirty="0"/>
              <a:t>сотрудник банка, несущий материальную ответственность за денежные средства, присвоил денежные средства и воспользовался ими для покупки машины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9675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F72A72-22A0-411A-A6B9-CBC6151703AE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9535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i="1" dirty="0"/>
              <a:t>Из тренинга для гос. служащи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Вопросы для студентов</a:t>
            </a:r>
            <a:r>
              <a:rPr lang="en-US" dirty="0"/>
              <a:t>: </a:t>
            </a:r>
            <a:r>
              <a:rPr lang="ru-RU" b="1" dirty="0"/>
              <a:t>С какими факторами может быть связана разница восприятия коррупции в разных странах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/>
              <a:t>Почему, по вашему мнению, Узбекистан занимает только 140 место?</a:t>
            </a:r>
            <a:endParaRPr lang="en-US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61721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1355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36027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8301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6994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9002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опросы студентам: </a:t>
            </a:r>
            <a:br>
              <a:rPr lang="ru-RU" dirty="0"/>
            </a:br>
            <a:r>
              <a:rPr lang="ru-RU" b="1" dirty="0"/>
              <a:t>Как вы думаете, почему не выработано единое международное определение «коррупции»?</a:t>
            </a:r>
            <a:r>
              <a:rPr lang="ru-RU" dirty="0"/>
              <a:t>  </a:t>
            </a:r>
          </a:p>
          <a:p>
            <a:r>
              <a:rPr lang="ru-RU" b="1" dirty="0"/>
              <a:t>Как данные определения отличаются от тех, что мы видели на прошлом слайде?</a:t>
            </a:r>
          </a:p>
          <a:p>
            <a:endParaRPr lang="ru-RU" b="1" dirty="0"/>
          </a:p>
          <a:p>
            <a:r>
              <a:rPr lang="ru-RU" b="0" dirty="0"/>
              <a:t>Ресурсы</a:t>
            </a:r>
            <a:r>
              <a:rPr lang="en-US" b="0" dirty="0"/>
              <a:t>:</a:t>
            </a:r>
            <a:endParaRPr lang="ru-RU" b="0" dirty="0"/>
          </a:p>
          <a:p>
            <a:r>
              <a:rPr lang="ru-RU" dirty="0">
                <a:hlinkClick r:id="rId3"/>
              </a:rPr>
              <a:t>Конвенция Организации Объединенных Наций против коррупции — Конвенции и соглашения — Декларации, конвенции, соглашения и другие правовые материалы (un.org)</a:t>
            </a:r>
            <a:endParaRPr lang="en-US" dirty="0"/>
          </a:p>
          <a:p>
            <a:r>
              <a:rPr lang="en-US" dirty="0">
                <a:hlinkClick r:id="rId4"/>
              </a:rPr>
              <a:t>CETS 174 - Civil Law Convention on Corruption (coe.int)</a:t>
            </a:r>
            <a:r>
              <a:rPr lang="en-US" dirty="0"/>
              <a:t> Article 2</a:t>
            </a:r>
            <a:endParaRPr lang="ru-RU" dirty="0"/>
          </a:p>
          <a:p>
            <a:r>
              <a:rPr lang="ru-RU" dirty="0">
                <a:hlinkClick r:id="rId5"/>
              </a:rPr>
              <a:t>Кодекс поведения должностных лиц по поддержанию правопорядка — Конвенции и соглашения — Декларации, конвенции, соглашения и другие правовые материалы (un.org)</a:t>
            </a:r>
            <a:r>
              <a:rPr lang="ru-RU" dirty="0"/>
              <a:t> , статья 7</a:t>
            </a:r>
          </a:p>
          <a:p>
            <a:endParaRPr lang="ru-RU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57258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59445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287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372796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954721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stainable Development Goals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DG) –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рқарор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ивожланиш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қсадлари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2015-йилда БМТ Бош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ссамблеяси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омонидан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“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рча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чун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хшироқ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рқарор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лажакка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ришиш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чун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шлаб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иқилган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7 та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қсаддан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борат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i="0" kern="1200" dirty="0">
              <a:solidFill>
                <a:srgbClr val="531A56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малий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опшириқ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лабалар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5-10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қиқа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чида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лайдда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ўрсатилганлардан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ҳар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ндай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қибатларга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либ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лиши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умкин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ўлган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лабалар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нловига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ўра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коррупция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ҳолатларига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оллар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лтиришлари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йтиб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ришлари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sz="1200" b="0" i="0" kern="1200" dirty="0" err="1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рак</a:t>
            </a:r>
            <a:r>
              <a:rPr lang="ru-RU" sz="1200" b="0" i="0" kern="1200" dirty="0">
                <a:solidFill>
                  <a:srgbClr val="531A5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2451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>
                <a:hlinkClick r:id="rId3"/>
              </a:rPr>
              <a:t>Модели коррупции и «социальная ловушка» - Теоретические подходы к методическому обеспечению антикоррупционной политики (studbooks.net)</a:t>
            </a:r>
            <a:endParaRPr lang="en-US" dirty="0"/>
          </a:p>
          <a:p>
            <a:r>
              <a:rPr lang="en-US" sz="1200" dirty="0">
                <a:hlinkClick r:id="rId4"/>
              </a:rPr>
              <a:t>https://www.unodc.org/e4j/en/anti-corruption/module-4/key-issues/theories-that-explain-corruption.html</a:t>
            </a:r>
            <a:endParaRPr lang="en-US" sz="1200" dirty="0"/>
          </a:p>
          <a:p>
            <a:r>
              <a:rPr lang="en-US" dirty="0">
                <a:hlinkClick r:id="rId5"/>
              </a:rPr>
              <a:t>(PDF) Fraud and Corruption (researchgate.net)</a:t>
            </a:r>
            <a:endParaRPr lang="ru-RU" dirty="0"/>
          </a:p>
          <a:p>
            <a:endParaRPr lang="ru-RU" dirty="0"/>
          </a:p>
          <a:p>
            <a:r>
              <a:rPr lang="ru-RU" dirty="0"/>
              <a:t>Вопросы для студентов</a:t>
            </a:r>
            <a:r>
              <a:rPr lang="en-US" dirty="0"/>
              <a:t>: </a:t>
            </a:r>
          </a:p>
          <a:p>
            <a:r>
              <a:rPr lang="ru-RU" b="1" dirty="0"/>
              <a:t>Какие могут быть ограничения у модели Принципал-Агента</a:t>
            </a:r>
            <a:r>
              <a:rPr lang="ru-RU" dirty="0"/>
              <a:t>? Ответ</a:t>
            </a:r>
            <a:r>
              <a:rPr lang="en-US" dirty="0"/>
              <a:t>: </a:t>
            </a:r>
            <a:r>
              <a:rPr lang="ru-RU" dirty="0"/>
              <a:t>не учитывается влияние внешних факторов, таких как приемлемость коррупции в обществе</a:t>
            </a:r>
          </a:p>
          <a:p>
            <a:r>
              <a:rPr lang="ru-RU" b="1" dirty="0"/>
              <a:t>После данного вопроса можно начать рассказывать про Модель Теории коллективного действия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3765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/>
              <a:t>Нужно провести параллель между Коррупцией и Мошенничеством</a:t>
            </a:r>
            <a:r>
              <a:rPr lang="en-US" b="1" dirty="0"/>
              <a:t>:</a:t>
            </a:r>
          </a:p>
          <a:p>
            <a:endParaRPr lang="en-US" dirty="0"/>
          </a:p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пределение Мошенничества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хищение чужого имущества или приобретение права на чужое имущество путём обмана или злоупотребления доверием.</a:t>
            </a:r>
          </a:p>
          <a:p>
            <a:r>
              <a:rPr lang="ru-RU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араллель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шенничество можно совершить злоупотребив своим должностным положением, тогда это становится коррупцией</a:t>
            </a:r>
            <a:endParaRPr lang="ru-RU" dirty="0"/>
          </a:p>
          <a:p>
            <a:endParaRPr lang="ru-RU" dirty="0"/>
          </a:p>
          <a:p>
            <a:r>
              <a:rPr lang="ru-RU" dirty="0"/>
              <a:t>Вопрос студентам</a:t>
            </a:r>
            <a:r>
              <a:rPr lang="en-US" dirty="0"/>
              <a:t>:</a:t>
            </a:r>
          </a:p>
          <a:p>
            <a:r>
              <a:rPr lang="ru-RU" b="1" dirty="0"/>
              <a:t>Какие мотивации могут быть у людей, идущих на Мошенничество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962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4990376-C681-43B1-A327-6F286227C438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7253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150" y="438150"/>
            <a:ext cx="4685587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0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5155EF4-978E-4862-B2A8-A4D37DE948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7439" y="438150"/>
            <a:ext cx="5581650" cy="58356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D0DC41D-DEF1-16A4-C1FF-70F3387C2C99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 Title 4f">
            <a:extLst>
              <a:ext uri="{FF2B5EF4-FFF2-40B4-BE49-F238E27FC236}">
                <a16:creationId xmlns:a16="http://schemas.microsoft.com/office/drawing/2014/main" id="{666FBB86-A6F5-7E8E-8023-CC755D99F204}"/>
              </a:ext>
            </a:extLst>
          </p:cNvPr>
          <p:cNvGrpSpPr/>
          <p:nvPr userDrawn="1"/>
        </p:nvGrpSpPr>
        <p:grpSpPr>
          <a:xfrm>
            <a:off x="611952" y="504678"/>
            <a:ext cx="5435496" cy="1779245"/>
            <a:chOff x="611952" y="504678"/>
            <a:chExt cx="5435496" cy="1779245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B54B084-9320-45BF-7B01-6471ADC4B7CF}"/>
                </a:ext>
              </a:extLst>
            </p:cNvPr>
            <p:cNvGrpSpPr/>
            <p:nvPr userDrawn="1"/>
          </p:nvGrpSpPr>
          <p:grpSpPr>
            <a:xfrm>
              <a:off x="3375570" y="504678"/>
              <a:ext cx="1537418" cy="1779245"/>
              <a:chOff x="443521" y="49468"/>
              <a:chExt cx="1537418" cy="1779245"/>
            </a:xfrm>
          </p:grpSpPr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BB6764CC-8A15-6BC4-5583-2906AF9A9EE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04" b="804"/>
              <a:stretch/>
            </p:blipFill>
            <p:spPr>
              <a:xfrm>
                <a:off x="601980" y="49468"/>
                <a:ext cx="1223074" cy="1221871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45" name="TextBox 2">
                <a:extLst>
                  <a:ext uri="{FF2B5EF4-FFF2-40B4-BE49-F238E27FC236}">
                    <a16:creationId xmlns:a16="http://schemas.microsoft.com/office/drawing/2014/main" id="{94EAF4B9-1ECE-BCA8-B2BB-EC898F1EC532}"/>
                  </a:ext>
                </a:extLst>
              </p:cNvPr>
              <p:cNvSpPr txBox="1"/>
              <p:nvPr userDrawn="1"/>
            </p:nvSpPr>
            <p:spPr>
              <a:xfrm>
                <a:off x="443521" y="1300730"/>
                <a:ext cx="1537418" cy="5279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ru-RU" dirty="0" err="1"/>
                  <a:t>Ўзбекистон</a:t>
                </a:r>
                <a:r>
                  <a:rPr lang="ru-RU" dirty="0"/>
                  <a:t> </a:t>
                </a:r>
                <a:r>
                  <a:rPr lang="ru-RU" dirty="0" err="1"/>
                  <a:t>Республикаси</a:t>
                </a:r>
                <a:r>
                  <a:rPr lang="ru-RU" dirty="0"/>
                  <a:t> </a:t>
                </a:r>
                <a:r>
                  <a:rPr lang="ru-RU" dirty="0" err="1"/>
                  <a:t>коррупцияга</a:t>
                </a:r>
                <a:r>
                  <a:rPr lang="ru-RU" dirty="0"/>
                  <a:t> </a:t>
                </a:r>
                <a:r>
                  <a:rPr lang="ru-RU" dirty="0" err="1"/>
                  <a:t>қарши</a:t>
                </a:r>
                <a:r>
                  <a:rPr lang="ru-RU" dirty="0"/>
                  <a:t> </a:t>
                </a:r>
                <a:r>
                  <a:rPr lang="ru-RU" dirty="0" err="1"/>
                  <a:t>курашиш</a:t>
                </a:r>
                <a:r>
                  <a:rPr lang="ru-RU" dirty="0"/>
                  <a:t> </a:t>
                </a:r>
                <a:r>
                  <a:rPr lang="ru-RU" dirty="0" err="1"/>
                  <a:t>агентлиги</a:t>
                </a:r>
                <a:endParaRPr lang="en-US" dirty="0" err="1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E3DC40B-8286-79C9-8F1E-7A75C547E4A8}"/>
                </a:ext>
              </a:extLst>
            </p:cNvPr>
            <p:cNvGrpSpPr/>
            <p:nvPr userDrawn="1"/>
          </p:nvGrpSpPr>
          <p:grpSpPr>
            <a:xfrm>
              <a:off x="611952" y="504678"/>
              <a:ext cx="1169846" cy="1687167"/>
              <a:chOff x="2231230" y="50939"/>
              <a:chExt cx="1169846" cy="1687167"/>
            </a:xfrm>
          </p:grpSpPr>
          <p:sp>
            <p:nvSpPr>
              <p:cNvPr id="42" name="TextBox 4">
                <a:extLst>
                  <a:ext uri="{FF2B5EF4-FFF2-40B4-BE49-F238E27FC236}">
                    <a16:creationId xmlns:a16="http://schemas.microsoft.com/office/drawing/2014/main" id="{21460AB5-363B-2CCD-D15E-0CBEA72D89B5}"/>
                  </a:ext>
                </a:extLst>
              </p:cNvPr>
              <p:cNvSpPr txBox="1"/>
              <p:nvPr userDrawn="1"/>
            </p:nvSpPr>
            <p:spPr>
              <a:xfrm>
                <a:off x="2231230" y="1366475"/>
                <a:ext cx="1169846" cy="371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lvl="0"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ru-RU" dirty="0" err="1"/>
                  <a:t>Ўзбекистон</a:t>
                </a:r>
                <a:r>
                  <a:rPr lang="ru-RU" dirty="0"/>
                  <a:t> Республикаси Адлия вазирлиги</a:t>
                </a:r>
                <a:endParaRPr lang="en-US" dirty="0"/>
              </a:p>
            </p:txBody>
          </p:sp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28B93B6E-15C8-AC5B-697C-AA367766F68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376" t="4959" r="8599" b="3778"/>
              <a:stretch/>
            </p:blipFill>
            <p:spPr>
              <a:xfrm>
                <a:off x="2245180" y="50939"/>
                <a:ext cx="1126874" cy="1253784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CD92B31-2EEB-CB84-5258-8774A7DE9D65}"/>
                </a:ext>
              </a:extLst>
            </p:cNvPr>
            <p:cNvGrpSpPr/>
            <p:nvPr userDrawn="1"/>
          </p:nvGrpSpPr>
          <p:grpSpPr>
            <a:xfrm>
              <a:off x="2096502" y="504678"/>
              <a:ext cx="1074049" cy="1685830"/>
              <a:chOff x="3768308" y="41911"/>
              <a:chExt cx="1074049" cy="1685830"/>
            </a:xfrm>
          </p:grpSpPr>
          <p:pic>
            <p:nvPicPr>
              <p:cNvPr id="40" name="Picture 39">
                <a:extLst>
                  <a:ext uri="{FF2B5EF4-FFF2-40B4-BE49-F238E27FC236}">
                    <a16:creationId xmlns:a16="http://schemas.microsoft.com/office/drawing/2014/main" id="{BE1FA4B5-862E-F51E-D6C5-435855C10D5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23927" y="41911"/>
                <a:ext cx="952353" cy="1242586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41" name="TextBox 9">
                <a:extLst>
                  <a:ext uri="{FF2B5EF4-FFF2-40B4-BE49-F238E27FC236}">
                    <a16:creationId xmlns:a16="http://schemas.microsoft.com/office/drawing/2014/main" id="{18E3CBCC-E2E9-F653-171B-46C3F9927CA1}"/>
                  </a:ext>
                </a:extLst>
              </p:cNvPr>
              <p:cNvSpPr txBox="1"/>
              <p:nvPr userDrawn="1"/>
            </p:nvSpPr>
            <p:spPr>
              <a:xfrm>
                <a:off x="3768308" y="1356110"/>
                <a:ext cx="1074049" cy="371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lvl="0"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uz-Cyrl-UZ" dirty="0"/>
                  <a:t>Ўзбекистон Республикаси бош прокуратураси</a:t>
                </a:r>
                <a:endParaRPr lang="en-US" dirty="0"/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E9ACEA37-8E78-2D8A-1EF1-3CCA624A932C}"/>
                </a:ext>
              </a:extLst>
            </p:cNvPr>
            <p:cNvGrpSpPr/>
            <p:nvPr userDrawn="1"/>
          </p:nvGrpSpPr>
          <p:grpSpPr>
            <a:xfrm>
              <a:off x="4979347" y="504678"/>
              <a:ext cx="1068101" cy="1776874"/>
              <a:chOff x="4948867" y="41911"/>
              <a:chExt cx="1068101" cy="1776874"/>
            </a:xfrm>
          </p:grpSpPr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7E53EF22-D879-9AD4-8EEE-6478D29B686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486" t="16259" r="24461" b="15945"/>
              <a:stretch/>
            </p:blipFill>
            <p:spPr>
              <a:xfrm>
                <a:off x="5175551" y="41911"/>
                <a:ext cx="614734" cy="1242586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39" name="TextBox 4">
                <a:extLst>
                  <a:ext uri="{FF2B5EF4-FFF2-40B4-BE49-F238E27FC236}">
                    <a16:creationId xmlns:a16="http://schemas.microsoft.com/office/drawing/2014/main" id="{B876D29D-A1D2-F165-58CA-EF7330A15953}"/>
                  </a:ext>
                </a:extLst>
              </p:cNvPr>
              <p:cNvSpPr txBox="1"/>
              <p:nvPr userDrawn="1"/>
            </p:nvSpPr>
            <p:spPr>
              <a:xfrm>
                <a:off x="4948867" y="1293173"/>
                <a:ext cx="1068101" cy="5256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600"/>
                  </a:spcAft>
                </a:pPr>
                <a:r>
                  <a:rPr lang="ru-RU" sz="800" b="1" dirty="0">
                    <a:solidFill>
                      <a:schemeClr val="bg2">
                        <a:lumMod val="25000"/>
                      </a:schemeClr>
                    </a:solidFill>
                  </a:rPr>
                  <a:t>Бирлашган Миллатлар Ташкилотининг Тараққиёт Дастури</a:t>
                </a:r>
                <a:endParaRPr lang="en-US" sz="800" b="1" dirty="0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970969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Обложка">
    <p:bg>
      <p:bgPr>
        <a:gradFill>
          <a:gsLst>
            <a:gs pos="0">
              <a:srgbClr val="1BD7D3"/>
            </a:gs>
            <a:gs pos="100000">
              <a:srgbClr val="49A9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424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C3AE8B56-F4E9-4B3F-AB37-8927229D8D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150" y="438150"/>
            <a:ext cx="4907501" cy="469867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09C22A94-1B5D-C43B-266A-69FDAEE7EA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503769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0BBE79C-5B52-9686-CE6A-F238D4F9B527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LOGO_4F">
            <a:extLst>
              <a:ext uri="{FF2B5EF4-FFF2-40B4-BE49-F238E27FC236}">
                <a16:creationId xmlns:a16="http://schemas.microsoft.com/office/drawing/2014/main" id="{86EE1562-EF61-B68A-E855-8F9B0353258B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CBBB3FD-9CFD-F836-72A4-B5B0DE21678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FAD1022-D011-DE0E-4675-FF89EA828BA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3B505271-15B9-8ECD-7F59-95F3C380BB3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84B91591-D086-8159-32B4-E0E5E395AB2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8301169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Обложка">
    <p:bg>
      <p:bgPr>
        <a:gradFill>
          <a:gsLst>
            <a:gs pos="0">
              <a:srgbClr val="1BD7D3"/>
            </a:gs>
            <a:gs pos="100000">
              <a:srgbClr val="49A9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424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AA6FDEF4-F519-438C-8A8D-D94DDD80C2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149" y="456023"/>
            <a:ext cx="4907502" cy="469867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80998B14-B924-D6E9-E80C-9E0B0F69C7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503769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2C57CB3-45F6-E679-00EF-AFBCE1BDE4B8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LOGO_4F">
            <a:extLst>
              <a:ext uri="{FF2B5EF4-FFF2-40B4-BE49-F238E27FC236}">
                <a16:creationId xmlns:a16="http://schemas.microsoft.com/office/drawing/2014/main" id="{78B72C59-7F22-717B-314C-897E6CAE2D40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445EDDFA-10D4-735E-FF2F-D9D8C7D2EB0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9C482EA6-44BA-2535-7D75-DE4160A563A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DA1524CF-977B-24BE-F2CA-FC0E4C2EF47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4F81A016-B952-4E37-D2CD-56A0FF929C0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508588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8150"/>
            <a:ext cx="10461288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0A0CAD5-FA22-A0A5-A062-4F03ABE7C0AF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7CC5A1F9-7A89-FAA0-A427-D46D08D598DF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7B12670-C067-8BC6-5E0C-860E72D4A6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45E9C12-486E-9170-F40B-BD4BB68241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F2A08AF-27B3-5EDA-BB62-D9F3262733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B8E82967-AABA-6B49-BCA2-92C584B281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497217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EE97859-5979-483C-A756-181886276A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0819097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8998CAB-B102-564A-9606-415CB2D88E1D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CDD44501-A3FE-8EF3-D475-7EB15E1DBADF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72A6372-32B0-C8B1-886E-0C1997FB51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8E955A3-C8F5-782F-4831-96C9E270757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6804DBF3-9C1F-B8BB-F0FA-5839F11F46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728A2CCE-3C3E-6B71-4A0F-4D0A9E8C36B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288988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691808E-75B7-4CC1-907A-215D579FBF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9473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0610375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83A57A-817C-93C2-FBF6-4C66021C3515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769E1D1B-2FC8-B034-2AC1-7954A75906AC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7A2F65C-7C20-8780-4483-62E307CFB9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21EB016-C5F3-A13E-C0A8-8672F379F7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17C3085-04AA-4ABD-790A-1DAC01E9F6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FB33AB42-EA17-0A86-C09C-EBC166920BC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19489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45DFE0-9E29-41CD-8814-BFEA920809FA}"/>
              </a:ext>
            </a:extLst>
          </p:cNvPr>
          <p:cNvSpPr/>
          <p:nvPr userDrawn="1"/>
        </p:nvSpPr>
        <p:spPr>
          <a:xfrm>
            <a:off x="-1" y="0"/>
            <a:ext cx="348904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98" y="438150"/>
            <a:ext cx="7376845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94630" y="221942"/>
            <a:ext cx="737684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grpSp>
        <p:nvGrpSpPr>
          <p:cNvPr id="6" name="Graphic 169">
            <a:extLst>
              <a:ext uri="{FF2B5EF4-FFF2-40B4-BE49-F238E27FC236}">
                <a16:creationId xmlns:a16="http://schemas.microsoft.com/office/drawing/2014/main" id="{9EEE69B6-C43D-4F84-B584-10B5CEB264F4}"/>
              </a:ext>
            </a:extLst>
          </p:cNvPr>
          <p:cNvGrpSpPr/>
          <p:nvPr userDrawn="1"/>
        </p:nvGrpSpPr>
        <p:grpSpPr>
          <a:xfrm>
            <a:off x="-424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D1BB6AA-036A-430F-B8FB-844D38B02EC8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5427424-5AA3-447E-9316-45247C447F6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73A88C2-D9B2-402D-A11D-EB5CB5C2C524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3378AE4-79FB-475B-8AA3-28C53CD53F03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6C77E00-EB39-499B-84D3-D4BE88DF5889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DBEBA0B-5417-4605-8DD6-EC22A04DADB7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8C355CC-12BC-4970-963B-273A37F4AE72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81BB2F1-BE4F-4A2F-A117-0D32AE9C492E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8BC4B50-EA3B-4E45-8E42-2FEEDB3C653E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7255F05-822B-4A77-96FB-3870FE37DA92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9920A06-35DB-4773-B624-CBEDE3509235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8C4E244-1407-4AC4-8F9C-FE9AB50CF9AD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1B1721F-BD43-409A-87E6-058764FDA512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6B8C18B-A504-4780-9F2D-C5C44E326E05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C8639B-1AF4-4D6A-BB40-2323952FF091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C8E7C64-A4A0-4C93-B2AC-2854C0C8D4EF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75CC45-BA7F-49B5-B199-7655E3E9FFD6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89BFB3-D90F-4CF8-B1B1-54AFB6722CE3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273901B-C0E0-4685-A57D-F1289D60A4C6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3A9F9C2-5E3C-4242-93F1-82556A06223C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4ADB496-BCD4-48BD-8638-BF8054870BE0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8A7203-EB10-46D3-8595-0B665BEC0B42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2D94A98-3A7B-4A6B-BF56-6CAC55BB7ABA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AE6838E-E0B9-47AA-B765-C1FBEFE4C2E8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8E67119E-EB4A-6E81-B374-A7A1F3F0B8E9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75542550-5AA4-3516-B9A5-A92BA923E1AA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2ED590EE-D5D5-3FBF-3556-C0AEE40B06D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DB5E40A8-6CFE-267D-ACFF-1731B066A82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8C53B335-303A-151C-B12A-2A192AB87C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587E9CEE-F19D-79CE-CA0D-FD1CE192ED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7174988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82845E31-8768-4B26-ABCE-E2EF1AB3DE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613"/>
            <a:ext cx="3489044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98" y="438150"/>
            <a:ext cx="6939524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94630" y="221942"/>
            <a:ext cx="6939524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grpSp>
        <p:nvGrpSpPr>
          <p:cNvPr id="6" name="Graphic 169">
            <a:extLst>
              <a:ext uri="{FF2B5EF4-FFF2-40B4-BE49-F238E27FC236}">
                <a16:creationId xmlns:a16="http://schemas.microsoft.com/office/drawing/2014/main" id="{9EEE69B6-C43D-4F84-B584-10B5CEB264F4}"/>
              </a:ext>
            </a:extLst>
          </p:cNvPr>
          <p:cNvGrpSpPr/>
          <p:nvPr userDrawn="1"/>
        </p:nvGrpSpPr>
        <p:grpSpPr>
          <a:xfrm>
            <a:off x="1" y="2211143"/>
            <a:ext cx="3489044" cy="4646244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D1BB6AA-036A-430F-B8FB-844D38B02EC8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5427424-5AA3-447E-9316-45247C447F6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73A88C2-D9B2-402D-A11D-EB5CB5C2C524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3378AE4-79FB-475B-8AA3-28C53CD53F03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6C77E00-EB39-499B-84D3-D4BE88DF5889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DBEBA0B-5417-4605-8DD6-EC22A04DADB7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8C355CC-12BC-4970-963B-273A37F4AE72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81BB2F1-BE4F-4A2F-A117-0D32AE9C492E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8BC4B50-EA3B-4E45-8E42-2FEEDB3C653E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7255F05-822B-4A77-96FB-3870FE37DA92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9920A06-35DB-4773-B624-CBEDE3509235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8C4E244-1407-4AC4-8F9C-FE9AB50CF9AD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1B1721F-BD43-409A-87E6-058764FDA512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6B8C18B-A504-4780-9F2D-C5C44E326E05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C8639B-1AF4-4D6A-BB40-2323952FF091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C8E7C64-A4A0-4C93-B2AC-2854C0C8D4EF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75CC45-BA7F-49B5-B199-7655E3E9FFD6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89BFB3-D90F-4CF8-B1B1-54AFB6722CE3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273901B-C0E0-4685-A57D-F1289D60A4C6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3A9F9C2-5E3C-4242-93F1-82556A06223C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4ADB496-BCD4-48BD-8638-BF8054870BE0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8A7203-EB10-46D3-8595-0B665BEC0B42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2D94A98-3A7B-4A6B-BF56-6CAC55BB7ABA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AE6838E-E0B9-47AA-B765-C1FBEFE4C2E8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94D85D1E-41C0-F412-BB98-07A83CD5B4B7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61E30448-58C8-A57E-0681-0AE123979B2D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CD3ABC29-2B1F-3108-ECB0-82154258DA6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FB8B1B2-B162-9E9C-5398-57A899D532D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6ED2D23-A556-F8E2-13EF-05E8C8DEEA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C78533F2-6B4F-774B-B5D3-F46DF730C76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563506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0610375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7222E7-7CED-D01B-C7A3-5B1C20041FF4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8D400794-AEDC-95E9-60C8-83A126A5D4BF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7CECAEE-087E-0477-1320-FD2CE607AB1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086B6C62-3AAB-635A-D9A0-884AC6CDA1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F6F3D43-B80D-58FB-95AA-9E7BF61D4A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7769572-83F7-BDAC-333F-CE205A9218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9520112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23258C-5CDD-48F3-A917-08811068E6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DB8E60E-D74E-4562-9AF2-351F704A18A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chemeClr val="bg1">
              <a:alpha val="64000"/>
            </a:schemeClr>
          </a:soli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8150"/>
            <a:ext cx="10920086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EC5C10F6-3471-4F40-BD00-4DEFCD511E52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69B6D4-A1F9-38F4-F746-7755E3686562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DA696DEA-780E-9047-E4D5-8EAFE05E3A1B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EDF0520-E338-D8ED-778D-4347A050C0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014DF48-A7A2-6D63-9CAE-C1BC815949D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0D26128-980E-956D-DF78-3D822C96F3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A92DD173-B0B2-F962-6899-470EA4D2FE3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6461229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23258C-5CDD-48F3-A917-08811068E6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DB8E60E-D74E-4562-9AF2-351F704A18A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chemeClr val="bg1">
              <a:alpha val="64000"/>
            </a:schemeClr>
          </a:soli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EC5C10F6-3471-4F40-BD00-4DEFCD511E52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grpSp>
        <p:nvGrpSpPr>
          <p:cNvPr id="8" name="LOGO_4F">
            <a:extLst>
              <a:ext uri="{FF2B5EF4-FFF2-40B4-BE49-F238E27FC236}">
                <a16:creationId xmlns:a16="http://schemas.microsoft.com/office/drawing/2014/main" id="{4928F8D3-7DA6-F79C-B2C0-9950B66C8A55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8E90334-FD5B-30E3-584F-868E861CF79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88C4A5A-BD73-E871-2B56-7AB189E231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0FB5D78-2340-0154-A52F-0210EE6CB1E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2F57DD6-9757-283D-FAA2-91E3D6BEED0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567526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Обложка">
    <p:bg>
      <p:bgPr>
        <a:gradFill>
          <a:gsLst>
            <a:gs pos="0">
              <a:srgbClr val="1BD7D3"/>
            </a:gs>
            <a:gs pos="100000">
              <a:srgbClr val="49A9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424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32206955-15D6-4E30-9BBC-0C8C4C2FD6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6" y="438150"/>
            <a:ext cx="4895851" cy="469867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D4BC62C9-1229-4993-468D-277B4ED190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503769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687B97-4461-7EAF-D78A-C7E0E88538B4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91CFE508-63DC-3633-9156-13F5D5679665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A9B9737-608C-AD6F-E068-7FA2D57B028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E20B5BD-AB2A-A6C0-7FA3-F0EB4E95B28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773EE2C-EF8F-A8CD-2F2A-C0DB48D729C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4A3C10C-C59C-8830-A64C-63369B4B94A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5977346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Обложка">
    <p:bg>
      <p:bgPr>
        <a:gradFill>
          <a:gsLst>
            <a:gs pos="0">
              <a:srgbClr val="1BD7D3"/>
            </a:gs>
            <a:gs pos="100000">
              <a:srgbClr val="49A9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424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38" name="Picture 37">
            <a:extLst>
              <a:ext uri="{FF2B5EF4-FFF2-40B4-BE49-F238E27FC236}">
                <a16:creationId xmlns:a16="http://schemas.microsoft.com/office/drawing/2014/main" id="{8F838135-1A40-4249-8CEE-4E90EB90C9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68" r="12738"/>
          <a:stretch/>
        </p:blipFill>
        <p:spPr>
          <a:xfrm>
            <a:off x="463547" y="438150"/>
            <a:ext cx="4895850" cy="469867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492E96B-480F-3409-D84F-68693B0F4B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503769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DCCD53-8DAB-3C96-6227-AEDF2318888D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4EECB4AA-9EBB-7820-5A38-928F3C78AA46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48027F4-E539-2C92-5B5B-6A2A5D1D45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026C6943-F1C0-88F4-F781-96AE9A5174A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1BD5A317-E54C-BF4F-35E1-AB396B4C148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8DD2867E-A87B-E68D-C129-36A6224EF17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556271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Обложка">
    <p:bg>
      <p:bgPr>
        <a:gradFill>
          <a:gsLst>
            <a:gs pos="0">
              <a:srgbClr val="1BD7D3"/>
            </a:gs>
            <a:gs pos="100000">
              <a:srgbClr val="49A9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424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A72F1B67-1106-4794-A1C6-1C54A9EF54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6" y="428423"/>
            <a:ext cx="4895851" cy="469867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6D7159F6-D2F0-7578-2B2F-E0FE98EE0E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503769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805759-684E-2EF2-FEC6-1FF4DA0A3F7D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D01E28F0-536E-4F45-46F0-971DBE92BCE5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EEBA6CFD-FED1-B4EB-D5D2-D27796716A4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A69E7F4-F816-A092-9043-2DA45D26472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ADAB87E-2B88-D461-154F-925CB7AF983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4403F55-2F89-9422-257E-683F338955F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7983765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Обложка">
    <p:bg>
      <p:bgPr>
        <a:gradFill>
          <a:gsLst>
            <a:gs pos="0">
              <a:srgbClr val="1BD7D3"/>
            </a:gs>
            <a:gs pos="100000">
              <a:srgbClr val="49A9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424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376B1325-49AB-4C81-82BC-306EBF1B39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9798" y="428423"/>
            <a:ext cx="4895852" cy="469867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042ABB2-6DEE-CFF4-860F-65068B165565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F3666CC8-825E-BD25-3D48-0694443776C1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95B6421-E43F-7626-E758-393750504CC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5CC8DAB-C266-4B25-A768-518C1084C05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29A2672-35D4-0F06-8FCC-CA173C31305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E33CADC-9FFC-9CD0-92A1-E953E96000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704185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Обложка">
    <p:bg>
      <p:bgPr>
        <a:gradFill>
          <a:gsLst>
            <a:gs pos="0">
              <a:srgbClr val="1BD7D3"/>
            </a:gs>
            <a:gs pos="100000">
              <a:srgbClr val="49A9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424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8D75D7EA-CDE1-43E7-818F-C87096E2AB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150" y="438150"/>
            <a:ext cx="4907501" cy="469867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29035DA5-1803-CB93-F5C0-0CA74753D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503769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B68E2F-5620-918C-84BA-9B5A6CDBCC15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50CC3714-04EF-84BE-50F3-1F3588051AAF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5F739D0-3351-75DC-B291-4FDBC5BC745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31D2665-64FB-4B50-D711-AE5ABB4BA18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72C84C-A494-AAC1-AFC9-448D8FE7A6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996FC3B-77FE-0418-38C6-41DD929FCA0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9033179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Обложка">
    <p:bg>
      <p:bgPr>
        <a:gradFill>
          <a:gsLst>
            <a:gs pos="0">
              <a:srgbClr val="1BD7D3"/>
            </a:gs>
            <a:gs pos="100000">
              <a:srgbClr val="49A9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424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C6A65648-9C07-4A6F-B09B-BCC55B9DF3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896" y="438150"/>
            <a:ext cx="4907501" cy="469867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A373942-833D-8F4A-3F2A-8DBFC1B54D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503769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21889C-02A3-C4B7-6B30-82D4D3626249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A61C7A28-8110-A0CB-A858-188393E7EBCB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D1A162A-DEFE-14B7-4B70-D4D0696F515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22C331F-087E-C351-403D-95E3F908EE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A0C43CA-55F8-6ACE-ED0A-2B04534BA5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C2DA9C6-C930-785E-3E75-6A41851A7F1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427379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Обложка">
    <p:bg>
      <p:bgPr>
        <a:gradFill>
          <a:gsLst>
            <a:gs pos="0">
              <a:srgbClr val="1BD7D3"/>
            </a:gs>
            <a:gs pos="100000">
              <a:srgbClr val="49A9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424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4C8A1974-4D03-4D93-B3B3-723250558A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898" y="456023"/>
            <a:ext cx="4907500" cy="469867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E05E246C-635E-4DED-96FC-955486FB9B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503769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ED1CD7-F97A-30A6-6B83-C73B7ECA4B96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LOGO_4F">
            <a:extLst>
              <a:ext uri="{FF2B5EF4-FFF2-40B4-BE49-F238E27FC236}">
                <a16:creationId xmlns:a16="http://schemas.microsoft.com/office/drawing/2014/main" id="{C6DC3348-DF52-9576-E111-73A244D3E22E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56F67B70-18E5-23C4-654C-BEC1F81EB68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F45AA384-8DDB-1EF3-4B74-4468E8F8366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EBC52F24-F574-B9BB-C6C3-49BAB3C6EBB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B0CEDA32-EAFD-66B4-839B-2969212AFB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1914454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Обложка">
    <p:bg>
      <p:bgPr>
        <a:gradFill>
          <a:gsLst>
            <a:gs pos="0">
              <a:srgbClr val="1BD7D3"/>
            </a:gs>
            <a:gs pos="100000">
              <a:srgbClr val="49A9F6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noFill/>
              </a:ln>
            </a:endParaRP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424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E8FFAB92-3AA5-40C5-80B5-198412FF0B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896" y="456023"/>
            <a:ext cx="4907501" cy="469867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003C77C-C64B-0569-0347-EEF73D3175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503769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3B0472D-2372-15BC-43B6-F4C9439A3949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LOGO_4F">
            <a:extLst>
              <a:ext uri="{FF2B5EF4-FFF2-40B4-BE49-F238E27FC236}">
                <a16:creationId xmlns:a16="http://schemas.microsoft.com/office/drawing/2014/main" id="{0F98687E-1BD6-B057-6591-F2775C22CB37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7B2A991E-9E6E-494E-FEC7-645C8B88B6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2AD8645-26BF-0636-4786-FF0F51D4FAF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E0FC6720-E192-9DC2-D3AC-2B63B8A23E6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AB2D431F-59E3-C729-1133-7DACED2FAFB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2593814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4D263D-C605-4939-85EC-2A61D03C2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0136" cy="434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Shape 8">
            <a:extLst>
              <a:ext uri="{FF2B5EF4-FFF2-40B4-BE49-F238E27FC236}">
                <a16:creationId xmlns:a16="http://schemas.microsoft.com/office/drawing/2014/main" id="{ECE98A82-66C1-4E45-965C-840A48B2EF6E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06C1BA0-20CE-43B3-BC4E-53F0456BB7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049" y="1296001"/>
            <a:ext cx="11318487" cy="497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ru-RU" dirty="0"/>
          </a:p>
          <a:p>
            <a:pPr lvl="4"/>
            <a:endParaRPr lang="ru-RU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89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bg2">
              <a:lumMod val="2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None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719138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6">
          <p15:clr>
            <a:srgbClr val="F26B43"/>
          </p15:clr>
        </p15:guide>
        <p15:guide id="2" orient="horz" pos="4052">
          <p15:clr>
            <a:srgbClr val="F26B43"/>
          </p15:clr>
        </p15:guide>
        <p15:guide id="3" pos="276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808">
          <p15:clr>
            <a:srgbClr val="F26B43"/>
          </p15:clr>
        </p15:guide>
        <p15:guide id="6" orient="horz" pos="550">
          <p15:clr>
            <a:srgbClr val="F26B43"/>
          </p15:clr>
        </p15:guide>
        <p15:guide id="7" orient="horz" pos="3952">
          <p15:clr>
            <a:srgbClr val="F26B43"/>
          </p15:clr>
        </p15:guide>
        <p15:guide id="8" pos="3795">
          <p15:clr>
            <a:srgbClr val="F26B43"/>
          </p15:clr>
        </p15:guide>
        <p15:guide id="9" pos="388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4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8.png"/><Relationship Id="rId18" Type="http://schemas.openxmlformats.org/officeDocument/2006/relationships/image" Target="../media/image43.svg"/><Relationship Id="rId3" Type="http://schemas.openxmlformats.org/officeDocument/2006/relationships/image" Target="../media/image28.png"/><Relationship Id="rId21" Type="http://schemas.openxmlformats.org/officeDocument/2006/relationships/image" Target="../media/image46.png"/><Relationship Id="rId7" Type="http://schemas.openxmlformats.org/officeDocument/2006/relationships/image" Target="../media/image32.png"/><Relationship Id="rId12" Type="http://schemas.openxmlformats.org/officeDocument/2006/relationships/image" Target="../media/image37.svg"/><Relationship Id="rId17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1.svg"/><Relationship Id="rId20" Type="http://schemas.openxmlformats.org/officeDocument/2006/relationships/image" Target="../media/image45.sv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1.svg"/><Relationship Id="rId11" Type="http://schemas.openxmlformats.org/officeDocument/2006/relationships/image" Target="../media/image36.png"/><Relationship Id="rId24" Type="http://schemas.openxmlformats.org/officeDocument/2006/relationships/image" Target="../media/image49.sv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23" Type="http://schemas.openxmlformats.org/officeDocument/2006/relationships/image" Target="../media/image48.png"/><Relationship Id="rId10" Type="http://schemas.openxmlformats.org/officeDocument/2006/relationships/image" Target="../media/image35.svg"/><Relationship Id="rId19" Type="http://schemas.openxmlformats.org/officeDocument/2006/relationships/image" Target="../media/image44.png"/><Relationship Id="rId4" Type="http://schemas.openxmlformats.org/officeDocument/2006/relationships/image" Target="../media/image29.svg"/><Relationship Id="rId9" Type="http://schemas.openxmlformats.org/officeDocument/2006/relationships/image" Target="../media/image34.png"/><Relationship Id="rId14" Type="http://schemas.openxmlformats.org/officeDocument/2006/relationships/image" Target="../media/image39.svg"/><Relationship Id="rId22" Type="http://schemas.openxmlformats.org/officeDocument/2006/relationships/image" Target="../media/image47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27.xml"/><Relationship Id="rId13" Type="http://schemas.openxmlformats.org/officeDocument/2006/relationships/slide" Target="slide39.xml"/><Relationship Id="rId3" Type="http://schemas.openxmlformats.org/officeDocument/2006/relationships/slide" Target="slide6.xml"/><Relationship Id="rId7" Type="http://schemas.openxmlformats.org/officeDocument/2006/relationships/slide" Target="slide24.xml"/><Relationship Id="rId12" Type="http://schemas.openxmlformats.org/officeDocument/2006/relationships/slide" Target="slide43.xml"/><Relationship Id="rId2" Type="http://schemas.openxmlformats.org/officeDocument/2006/relationships/slide" Target="slide3.xml"/><Relationship Id="rId1" Type="http://schemas.openxmlformats.org/officeDocument/2006/relationships/slideLayout" Target="../slideLayouts/slideLayout18.xml"/><Relationship Id="rId6" Type="http://schemas.openxmlformats.org/officeDocument/2006/relationships/slide" Target="slide20.xml"/><Relationship Id="rId11" Type="http://schemas.openxmlformats.org/officeDocument/2006/relationships/slide" Target="slide42.xml"/><Relationship Id="rId5" Type="http://schemas.openxmlformats.org/officeDocument/2006/relationships/slide" Target="slide12.xml"/><Relationship Id="rId10" Type="http://schemas.openxmlformats.org/officeDocument/2006/relationships/slide" Target="slide41.xml"/><Relationship Id="rId4" Type="http://schemas.openxmlformats.org/officeDocument/2006/relationships/slide" Target="slide9.xml"/><Relationship Id="rId9" Type="http://schemas.openxmlformats.org/officeDocument/2006/relationships/slide" Target="slide2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3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3.sv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5.sv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7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raceinternational.org/trace-matrix#147" TargetMode="External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hyperlink" Target="https://corruptionrisk.org/country/?country=UZB#transparency" TargetMode="External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anticorruption.uz/ru/item/2022/07/15/davlat-organlari-va-tashkilotlarida-korruptsiyaga-qarshi-kurashish-ishlarining-samaradorligini-rejting-baholash-ishlari-yakunlandi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1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sv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3.sv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hyperlink" Target="https://rm.coe.int/168007f3f6" TargetMode="External"/><Relationship Id="rId13" Type="http://schemas.openxmlformats.org/officeDocument/2006/relationships/hyperlink" Target="https://grace.unodc.org/grace/uploads/documents/academics/Anti-Corruption_Module_1_What_Is_Corruption_and_Why_Should_We_Care.pdf" TargetMode="External"/><Relationship Id="rId18" Type="http://schemas.openxmlformats.org/officeDocument/2006/relationships/hyperlink" Target="https://lex.uz/docs/97661" TargetMode="External"/><Relationship Id="rId3" Type="http://schemas.openxmlformats.org/officeDocument/2006/relationships/hyperlink" Target="https://www.transparency.org/en/what-is-corruption" TargetMode="External"/><Relationship Id="rId21" Type="http://schemas.openxmlformats.org/officeDocument/2006/relationships/hyperlink" Target="https://www.un.org/ru/documents/decl_conv/conventions/code_of_conduct.shtml" TargetMode="External"/><Relationship Id="rId7" Type="http://schemas.openxmlformats.org/officeDocument/2006/relationships/hyperlink" Target="https://www.un.org/ru/documents/decl_conv/conventions/corruption.shtml" TargetMode="External"/><Relationship Id="rId12" Type="http://schemas.openxmlformats.org/officeDocument/2006/relationships/hyperlink" Target="https://www.unodc.org/unodc/en/corruption/index.html?ref=menuside" TargetMode="External"/><Relationship Id="rId17" Type="http://schemas.openxmlformats.org/officeDocument/2006/relationships/hyperlink" Target="https://lex.uz/docs/111181" TargetMode="External"/><Relationship Id="rId2" Type="http://schemas.openxmlformats.org/officeDocument/2006/relationships/hyperlink" Target="https://www.merriam-webster.com/dictionary/corruption" TargetMode="External"/><Relationship Id="rId16" Type="http://schemas.openxmlformats.org/officeDocument/2006/relationships/hyperlink" Target="https://studbooks.net/1661654/pravo/modeli_korruptsii_sotsialnaya_lovushka?ysclid=l9hh2tqu6v263929139" TargetMode="External"/><Relationship Id="rId20" Type="http://schemas.openxmlformats.org/officeDocument/2006/relationships/hyperlink" Target="http://history.kemsu.ru/images/document/studentu/Korruptsiya_elektronnoe_posobie.pdf" TargetMode="Externa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www.britannica.com/topic/corruption-law" TargetMode="External"/><Relationship Id="rId11" Type="http://schemas.openxmlformats.org/officeDocument/2006/relationships/hyperlink" Target="https://rm.coe.int/16806efe97" TargetMode="External"/><Relationship Id="rId5" Type="http://schemas.openxmlformats.org/officeDocument/2006/relationships/hyperlink" Target="https://www.worldbank.org/en/news/factsheet/2020/02/19/anticorruption-fact-sheet" TargetMode="External"/><Relationship Id="rId15" Type="http://schemas.openxmlformats.org/officeDocument/2006/relationships/hyperlink" Target="https://www.researchgate.net/publication/290838276_Fraud_and_Corruption" TargetMode="External"/><Relationship Id="rId10" Type="http://schemas.openxmlformats.org/officeDocument/2006/relationships/hyperlink" Target="https://moluch.ru/archive/390/85996/?ysclid=l9ifh91xrx367802018" TargetMode="External"/><Relationship Id="rId19" Type="http://schemas.openxmlformats.org/officeDocument/2006/relationships/hyperlink" Target="https://lex.uz/docs/111457" TargetMode="External"/><Relationship Id="rId4" Type="http://schemas.openxmlformats.org/officeDocument/2006/relationships/hyperlink" Target="https://www.oxfordlearnersdictionaries.com/definition/english/corruption?q=corruption" TargetMode="External"/><Relationship Id="rId9" Type="http://schemas.openxmlformats.org/officeDocument/2006/relationships/hyperlink" Target="https://conflictofinterestblog.com/2014/11/conflicts-of-interest-corruption-and-fraud-what-are-the-connections.html" TargetMode="External"/><Relationship Id="rId14" Type="http://schemas.openxmlformats.org/officeDocument/2006/relationships/hyperlink" Target="https://grace.unodc.org/grace/uploads/documents/academics/Anti-Corruption_Module_4_Public_Sector_Corruption.pdf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D99B428-DB08-4054-8B70-F1BEBC5A0D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150" y="3434002"/>
            <a:ext cx="5454650" cy="1521626"/>
          </a:xfrm>
        </p:spPr>
        <p:txBody>
          <a:bodyPr>
            <a:noAutofit/>
          </a:bodyPr>
          <a:lstStyle/>
          <a:p>
            <a:r>
              <a:rPr lang="ru-RU" sz="4000" b="1" dirty="0"/>
              <a:t>1-Маъруза</a:t>
            </a:r>
            <a:endParaRPr lang="en-US" sz="40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556118-8652-422C-B258-8BB7A1736719}"/>
              </a:ext>
            </a:extLst>
          </p:cNvPr>
          <p:cNvSpPr txBox="1"/>
          <p:nvPr/>
        </p:nvSpPr>
        <p:spPr>
          <a:xfrm>
            <a:off x="438150" y="4278552"/>
            <a:ext cx="5586413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Коррупция </a:t>
            </a:r>
            <a:r>
              <a:rPr lang="ru-RU" sz="2800" dirty="0" err="1">
                <a:solidFill>
                  <a:schemeClr val="bg2">
                    <a:lumMod val="25000"/>
                  </a:schemeClr>
                </a:solidFill>
              </a:rPr>
              <a:t>ижтимоий-ҳуқуқий</a:t>
            </a:r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800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800" dirty="0" err="1">
                <a:solidFill>
                  <a:schemeClr val="bg2">
                    <a:lumMod val="25000"/>
                  </a:schemeClr>
                </a:solidFill>
              </a:rPr>
              <a:t>ижтимоий-иқтисодий</a:t>
            </a:r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800" dirty="0" err="1">
                <a:solidFill>
                  <a:schemeClr val="bg2">
                    <a:lumMod val="25000"/>
                  </a:schemeClr>
                </a:solidFill>
              </a:rPr>
              <a:t>ҳодиса</a:t>
            </a:r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800" dirty="0" err="1">
                <a:solidFill>
                  <a:schemeClr val="bg2">
                    <a:lumMod val="25000"/>
                  </a:schemeClr>
                </a:solidFill>
              </a:rPr>
              <a:t>сифатида</a:t>
            </a:r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: </a:t>
            </a:r>
            <a:r>
              <a:rPr lang="ru-RU" sz="2800" dirty="0" err="1">
                <a:solidFill>
                  <a:schemeClr val="bg2">
                    <a:lumMod val="25000"/>
                  </a:schemeClr>
                </a:solidFill>
              </a:rPr>
              <a:t>тушунчаси</a:t>
            </a:r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sz="2800" dirty="0" err="1">
                <a:solidFill>
                  <a:schemeClr val="bg2">
                    <a:lumMod val="25000"/>
                  </a:schemeClr>
                </a:solidFill>
              </a:rPr>
              <a:t>белгилари</a:t>
            </a:r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sz="2800" dirty="0" err="1">
                <a:solidFill>
                  <a:schemeClr val="bg2">
                    <a:lumMod val="25000"/>
                  </a:schemeClr>
                </a:solidFill>
              </a:rPr>
              <a:t>моҳияти</a:t>
            </a:r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sz="2800" dirty="0" err="1">
                <a:solidFill>
                  <a:schemeClr val="bg2">
                    <a:lumMod val="25000"/>
                  </a:schemeClr>
                </a:solidFill>
              </a:rPr>
              <a:t>оқибатлари</a:t>
            </a:r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800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800" dirty="0" err="1">
                <a:solidFill>
                  <a:schemeClr val="bg2">
                    <a:lumMod val="25000"/>
                  </a:schemeClr>
                </a:solidFill>
              </a:rPr>
              <a:t>жавобгарлиги</a:t>
            </a:r>
            <a:r>
              <a:rPr lang="ru-RU" sz="2800" dirty="0">
                <a:solidFill>
                  <a:schemeClr val="bg2">
                    <a:lumMod val="25000"/>
                  </a:schemeClr>
                </a:solidFill>
              </a:rPr>
              <a:t>.</a:t>
            </a:r>
            <a:endParaRPr lang="en-US" sz="2800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5230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AA3E15C-0D8C-49DC-B139-E2BB763A7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ижтимоий-ҳуқуқий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ижтимоий-иқтисодий</a:t>
            </a:r>
            <a:r>
              <a:rPr lang="ru-RU" dirty="0"/>
              <a:t> </a:t>
            </a:r>
            <a:r>
              <a:rPr lang="ru-RU" dirty="0" err="1"/>
              <a:t>ҳодиса</a:t>
            </a:r>
            <a:r>
              <a:rPr lang="ru-RU" dirty="0"/>
              <a:t> </a:t>
            </a:r>
            <a:r>
              <a:rPr lang="ru-RU" dirty="0" err="1"/>
              <a:t>сифатида</a:t>
            </a:r>
            <a:endParaRPr lang="en-US" dirty="0"/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EA36616F-DA86-487B-BC44-3D413E0F80CC}"/>
              </a:ext>
            </a:extLst>
          </p:cNvPr>
          <p:cNvSpPr txBox="1">
            <a:spLocks/>
          </p:cNvSpPr>
          <p:nvPr/>
        </p:nvSpPr>
        <p:spPr>
          <a:xfrm>
            <a:off x="826498" y="1801620"/>
            <a:ext cx="5198065" cy="2918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err="1">
                <a:solidFill>
                  <a:srgbClr val="2414BC"/>
                </a:solidFill>
              </a:rPr>
              <a:t>Коррупцион</a:t>
            </a:r>
            <a:r>
              <a:rPr lang="ru-RU" sz="1800" dirty="0">
                <a:solidFill>
                  <a:srgbClr val="2414BC"/>
                </a:solidFill>
              </a:rPr>
              <a:t> </a:t>
            </a:r>
            <a:r>
              <a:rPr lang="ru-RU" sz="1800" dirty="0" err="1">
                <a:solidFill>
                  <a:srgbClr val="2414BC"/>
                </a:solidFill>
              </a:rPr>
              <a:t>жиноят</a:t>
            </a:r>
            <a:r>
              <a:rPr lang="ru-RU" sz="1800" dirty="0">
                <a:solidFill>
                  <a:srgbClr val="2414BC"/>
                </a:solidFill>
              </a:rPr>
              <a:t> </a:t>
            </a:r>
            <a:r>
              <a:rPr lang="ru-RU" b="0" dirty="0">
                <a:solidFill>
                  <a:schemeClr val="tx2"/>
                </a:solidFill>
              </a:rPr>
              <a:t>— </a:t>
            </a:r>
            <a:r>
              <a:rPr lang="ru-RU" b="0" dirty="0" err="1">
                <a:solidFill>
                  <a:schemeClr val="tx2"/>
                </a:solidFill>
              </a:rPr>
              <a:t>бу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нисбатан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оммавий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жиноятлар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мажму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бўлиб</a:t>
            </a:r>
            <a:r>
              <a:rPr lang="ru-RU" b="0" dirty="0">
                <a:solidFill>
                  <a:schemeClr val="tx2"/>
                </a:solidFill>
              </a:rPr>
              <a:t>, </a:t>
            </a:r>
            <a:r>
              <a:rPr lang="ru-RU" b="0" dirty="0" err="1">
                <a:solidFill>
                  <a:schemeClr val="tx2"/>
                </a:solidFill>
              </a:rPr>
              <a:t>уларнинг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оқибатлар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жамият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ҳаётининг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турл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соҳаларига</a:t>
            </a:r>
            <a:r>
              <a:rPr lang="ru-RU" b="0" dirty="0">
                <a:solidFill>
                  <a:schemeClr val="tx2"/>
                </a:solidFill>
              </a:rPr>
              <a:t> - </a:t>
            </a:r>
            <a:r>
              <a:rPr lang="ru-RU" b="0" dirty="0" err="1">
                <a:solidFill>
                  <a:schemeClr val="tx2"/>
                </a:solidFill>
              </a:rPr>
              <a:t>иқтисодиётга</a:t>
            </a:r>
            <a:r>
              <a:rPr lang="ru-RU" b="0" dirty="0">
                <a:solidFill>
                  <a:schemeClr val="tx2"/>
                </a:solidFill>
              </a:rPr>
              <a:t>, </a:t>
            </a:r>
            <a:r>
              <a:rPr lang="ru-RU" b="0" dirty="0" err="1">
                <a:solidFill>
                  <a:schemeClr val="tx2"/>
                </a:solidFill>
              </a:rPr>
              <a:t>сиёсатга</a:t>
            </a:r>
            <a:r>
              <a:rPr lang="ru-RU" b="0" dirty="0">
                <a:solidFill>
                  <a:schemeClr val="tx2"/>
                </a:solidFill>
              </a:rPr>
              <a:t>, </a:t>
            </a:r>
            <a:r>
              <a:rPr lang="ru-RU" b="0" dirty="0" err="1">
                <a:solidFill>
                  <a:schemeClr val="tx2"/>
                </a:solidFill>
              </a:rPr>
              <a:t>ҳуқуққа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таъсир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қилади</a:t>
            </a:r>
            <a:r>
              <a:rPr lang="ru-RU" b="0" dirty="0">
                <a:solidFill>
                  <a:schemeClr val="tx2"/>
                </a:solidFill>
              </a:rPr>
              <a:t>. </a:t>
            </a:r>
            <a:r>
              <a:rPr lang="ru-RU" b="0" dirty="0" err="1">
                <a:solidFill>
                  <a:schemeClr val="tx2"/>
                </a:solidFill>
              </a:rPr>
              <a:t>Бинобарин</a:t>
            </a:r>
            <a:r>
              <a:rPr lang="ru-RU" b="0" dirty="0">
                <a:solidFill>
                  <a:schemeClr val="tx2"/>
                </a:solidFill>
              </a:rPr>
              <a:t>, коррупция </a:t>
            </a:r>
            <a:r>
              <a:rPr lang="ru-RU" b="0" dirty="0" err="1">
                <a:solidFill>
                  <a:schemeClr val="tx2"/>
                </a:solidFill>
              </a:rPr>
              <a:t>ижтимоий-ҳуқуқий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ва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ижтимоий-иқтисодий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ҳодисадир</a:t>
            </a:r>
            <a:r>
              <a:rPr lang="ru-RU" b="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5" name="Freeform 83">
            <a:extLst>
              <a:ext uri="{FF2B5EF4-FFF2-40B4-BE49-F238E27FC236}">
                <a16:creationId xmlns:a16="http://schemas.microsoft.com/office/drawing/2014/main" id="{A438E1E3-C0B4-4FA2-AEBB-662E98A08A25}"/>
              </a:ext>
            </a:extLst>
          </p:cNvPr>
          <p:cNvSpPr/>
          <p:nvPr/>
        </p:nvSpPr>
        <p:spPr>
          <a:xfrm>
            <a:off x="431999" y="1282700"/>
            <a:ext cx="1615876" cy="2153636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>
              <a:solidFill>
                <a:srgbClr val="1BD7D3"/>
              </a:solidFill>
              <a:latin typeface="Gotham Light" pitchFamily="50" charset="0"/>
            </a:endParaRPr>
          </a:p>
        </p:txBody>
      </p:sp>
      <p:sp>
        <p:nvSpPr>
          <p:cNvPr id="6" name="object 12">
            <a:extLst>
              <a:ext uri="{FF2B5EF4-FFF2-40B4-BE49-F238E27FC236}">
                <a16:creationId xmlns:a16="http://schemas.microsoft.com/office/drawing/2014/main" id="{29A14D93-EC76-4582-9ED0-D2704B8464B5}"/>
              </a:ext>
            </a:extLst>
          </p:cNvPr>
          <p:cNvSpPr/>
          <p:nvPr/>
        </p:nvSpPr>
        <p:spPr>
          <a:xfrm>
            <a:off x="6167438" y="1290607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EF73150-0F9D-4A52-AA01-C66DE0BCAE70}"/>
              </a:ext>
            </a:extLst>
          </p:cNvPr>
          <p:cNvSpPr/>
          <p:nvPr/>
        </p:nvSpPr>
        <p:spPr>
          <a:xfrm>
            <a:off x="7186410" y="1170135"/>
            <a:ext cx="45735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49A9F6"/>
                </a:solidFill>
              </a:rPr>
              <a:t>Коррупцияга</a:t>
            </a:r>
            <a:r>
              <a:rPr lang="ru-RU" b="1" dirty="0">
                <a:solidFill>
                  <a:srgbClr val="49A9F6"/>
                </a:solidFill>
              </a:rPr>
              <a:t> </a:t>
            </a:r>
            <a:r>
              <a:rPr lang="ru-RU" b="1" dirty="0" err="1">
                <a:solidFill>
                  <a:srgbClr val="49A9F6"/>
                </a:solidFill>
              </a:rPr>
              <a:t>оид</a:t>
            </a:r>
            <a:r>
              <a:rPr lang="ru-RU" b="1" dirty="0">
                <a:solidFill>
                  <a:srgbClr val="49A9F6"/>
                </a:solidFill>
              </a:rPr>
              <a:t> </a:t>
            </a:r>
            <a:r>
              <a:rPr lang="ru-RU" b="1" dirty="0" err="1">
                <a:solidFill>
                  <a:srgbClr val="49A9F6"/>
                </a:solidFill>
              </a:rPr>
              <a:t>жиноятларнинг</a:t>
            </a:r>
            <a:r>
              <a:rPr lang="ru-RU" b="1" dirty="0">
                <a:solidFill>
                  <a:srgbClr val="49A9F6"/>
                </a:solidFill>
              </a:rPr>
              <a:t> </a:t>
            </a:r>
            <a:r>
              <a:rPr lang="ru-RU" b="1" dirty="0" err="1">
                <a:solidFill>
                  <a:srgbClr val="49A9F6"/>
                </a:solidFill>
              </a:rPr>
              <a:t>белгилари</a:t>
            </a:r>
            <a:r>
              <a:rPr lang="ru-RU" b="1" dirty="0">
                <a:solidFill>
                  <a:srgbClr val="49A9F6"/>
                </a:solidFill>
              </a:rPr>
              <a:t> </a:t>
            </a:r>
            <a:r>
              <a:rPr lang="ru-RU" b="1" dirty="0" err="1">
                <a:solidFill>
                  <a:srgbClr val="49A9F6"/>
                </a:solidFill>
              </a:rPr>
              <a:t>қуйидагилардан</a:t>
            </a:r>
            <a:r>
              <a:rPr lang="ru-RU" b="1" dirty="0">
                <a:solidFill>
                  <a:srgbClr val="49A9F6"/>
                </a:solidFill>
              </a:rPr>
              <a:t> </a:t>
            </a:r>
            <a:r>
              <a:rPr lang="ru-RU" b="1" dirty="0" err="1">
                <a:solidFill>
                  <a:srgbClr val="49A9F6"/>
                </a:solidFill>
              </a:rPr>
              <a:t>иборат</a:t>
            </a:r>
            <a:r>
              <a:rPr lang="ru-RU" b="1" dirty="0">
                <a:solidFill>
                  <a:srgbClr val="49A9F6"/>
                </a:solidFill>
              </a:rPr>
              <a:t>: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B96FBC7-7CF2-42EF-A132-2270F688D0E1}"/>
              </a:ext>
            </a:extLst>
          </p:cNvPr>
          <p:cNvGrpSpPr/>
          <p:nvPr/>
        </p:nvGrpSpPr>
        <p:grpSpPr>
          <a:xfrm>
            <a:off x="6366674" y="1309844"/>
            <a:ext cx="711033" cy="657370"/>
            <a:chOff x="505619" y="1254919"/>
            <a:chExt cx="504825" cy="466725"/>
          </a:xfrm>
          <a:solidFill>
            <a:schemeClr val="bg2">
              <a:lumMod val="25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FFDE1FBB-0E23-4D79-895E-EAD792B4E893}"/>
                </a:ext>
              </a:extLst>
            </p:cNvPr>
            <p:cNvSpPr/>
            <p:nvPr/>
          </p:nvSpPr>
          <p:spPr>
            <a:xfrm>
              <a:off x="772319" y="1445419"/>
              <a:ext cx="238125" cy="238125"/>
            </a:xfrm>
            <a:custGeom>
              <a:avLst/>
              <a:gdLst>
                <a:gd name="connsiteX0" fmla="*/ 232981 w 238125"/>
                <a:gd name="connsiteY0" fmla="*/ 219456 h 238125"/>
                <a:gd name="connsiteX1" fmla="*/ 176117 w 238125"/>
                <a:gd name="connsiteY1" fmla="*/ 162592 h 238125"/>
                <a:gd name="connsiteX2" fmla="*/ 197644 w 238125"/>
                <a:gd name="connsiteY2" fmla="*/ 102394 h 238125"/>
                <a:gd name="connsiteX3" fmla="*/ 102394 w 238125"/>
                <a:gd name="connsiteY3" fmla="*/ 7144 h 238125"/>
                <a:gd name="connsiteX4" fmla="*/ 7144 w 238125"/>
                <a:gd name="connsiteY4" fmla="*/ 102394 h 238125"/>
                <a:gd name="connsiteX5" fmla="*/ 102394 w 238125"/>
                <a:gd name="connsiteY5" fmla="*/ 197644 h 238125"/>
                <a:gd name="connsiteX6" fmla="*/ 162592 w 238125"/>
                <a:gd name="connsiteY6" fmla="*/ 176117 h 238125"/>
                <a:gd name="connsiteX7" fmla="*/ 219456 w 238125"/>
                <a:gd name="connsiteY7" fmla="*/ 232982 h 238125"/>
                <a:gd name="connsiteX8" fmla="*/ 226219 w 238125"/>
                <a:gd name="connsiteY8" fmla="*/ 235744 h 238125"/>
                <a:gd name="connsiteX9" fmla="*/ 232981 w 238125"/>
                <a:gd name="connsiteY9" fmla="*/ 232982 h 238125"/>
                <a:gd name="connsiteX10" fmla="*/ 232981 w 238125"/>
                <a:gd name="connsiteY10" fmla="*/ 219551 h 238125"/>
                <a:gd name="connsiteX11" fmla="*/ 26194 w 238125"/>
                <a:gd name="connsiteY11" fmla="*/ 102394 h 238125"/>
                <a:gd name="connsiteX12" fmla="*/ 102394 w 238125"/>
                <a:gd name="connsiteY12" fmla="*/ 26194 h 238125"/>
                <a:gd name="connsiteX13" fmla="*/ 178594 w 238125"/>
                <a:gd name="connsiteY13" fmla="*/ 102394 h 238125"/>
                <a:gd name="connsiteX14" fmla="*/ 102394 w 238125"/>
                <a:gd name="connsiteY14" fmla="*/ 178594 h 238125"/>
                <a:gd name="connsiteX15" fmla="*/ 26194 w 238125"/>
                <a:gd name="connsiteY15" fmla="*/ 102394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8125" h="238125">
                  <a:moveTo>
                    <a:pt x="232981" y="219456"/>
                  </a:moveTo>
                  <a:lnTo>
                    <a:pt x="176117" y="162592"/>
                  </a:lnTo>
                  <a:cubicBezTo>
                    <a:pt x="189548" y="146209"/>
                    <a:pt x="197644" y="125158"/>
                    <a:pt x="197644" y="102394"/>
                  </a:cubicBezTo>
                  <a:cubicBezTo>
                    <a:pt x="197644" y="49911"/>
                    <a:pt x="154876" y="7144"/>
                    <a:pt x="102394" y="7144"/>
                  </a:cubicBezTo>
                  <a:cubicBezTo>
                    <a:pt x="49911" y="7144"/>
                    <a:pt x="7144" y="49911"/>
                    <a:pt x="7144" y="102394"/>
                  </a:cubicBezTo>
                  <a:cubicBezTo>
                    <a:pt x="7144" y="154877"/>
                    <a:pt x="49911" y="197644"/>
                    <a:pt x="102394" y="197644"/>
                  </a:cubicBezTo>
                  <a:cubicBezTo>
                    <a:pt x="125254" y="197644"/>
                    <a:pt x="146209" y="189548"/>
                    <a:pt x="162592" y="176117"/>
                  </a:cubicBezTo>
                  <a:lnTo>
                    <a:pt x="219456" y="232982"/>
                  </a:lnTo>
                  <a:cubicBezTo>
                    <a:pt x="221361" y="234887"/>
                    <a:pt x="223742" y="235744"/>
                    <a:pt x="226219" y="235744"/>
                  </a:cubicBezTo>
                  <a:cubicBezTo>
                    <a:pt x="228695" y="235744"/>
                    <a:pt x="231076" y="234791"/>
                    <a:pt x="232981" y="232982"/>
                  </a:cubicBezTo>
                  <a:cubicBezTo>
                    <a:pt x="236696" y="229267"/>
                    <a:pt x="236696" y="223266"/>
                    <a:pt x="232981" y="219551"/>
                  </a:cubicBezTo>
                  <a:close/>
                  <a:moveTo>
                    <a:pt x="26194" y="102394"/>
                  </a:moveTo>
                  <a:cubicBezTo>
                    <a:pt x="26194" y="60388"/>
                    <a:pt x="60389" y="26194"/>
                    <a:pt x="102394" y="26194"/>
                  </a:cubicBezTo>
                  <a:cubicBezTo>
                    <a:pt x="144399" y="26194"/>
                    <a:pt x="178594" y="60388"/>
                    <a:pt x="178594" y="102394"/>
                  </a:cubicBezTo>
                  <a:cubicBezTo>
                    <a:pt x="178594" y="144399"/>
                    <a:pt x="144399" y="178594"/>
                    <a:pt x="102394" y="178594"/>
                  </a:cubicBezTo>
                  <a:cubicBezTo>
                    <a:pt x="60389" y="178594"/>
                    <a:pt x="26194" y="144399"/>
                    <a:pt x="26194" y="1023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357D644-C27A-4DCA-8FEB-96A8FB749B83}"/>
                </a:ext>
              </a:extLst>
            </p:cNvPr>
            <p:cNvSpPr/>
            <p:nvPr/>
          </p:nvSpPr>
          <p:spPr>
            <a:xfrm>
              <a:off x="505619" y="1254919"/>
              <a:ext cx="466725" cy="466725"/>
            </a:xfrm>
            <a:custGeom>
              <a:avLst/>
              <a:gdLst>
                <a:gd name="connsiteX0" fmla="*/ 235744 w 466725"/>
                <a:gd name="connsiteY0" fmla="*/ 7144 h 466725"/>
                <a:gd name="connsiteX1" fmla="*/ 7144 w 466725"/>
                <a:gd name="connsiteY1" fmla="*/ 235744 h 466725"/>
                <a:gd name="connsiteX2" fmla="*/ 25241 w 466725"/>
                <a:gd name="connsiteY2" fmla="*/ 324898 h 466725"/>
                <a:gd name="connsiteX3" fmla="*/ 25527 w 466725"/>
                <a:gd name="connsiteY3" fmla="*/ 325469 h 466725"/>
                <a:gd name="connsiteX4" fmla="*/ 235744 w 466725"/>
                <a:gd name="connsiteY4" fmla="*/ 464344 h 466725"/>
                <a:gd name="connsiteX5" fmla="*/ 365284 w 466725"/>
                <a:gd name="connsiteY5" fmla="*/ 424053 h 466725"/>
                <a:gd name="connsiteX6" fmla="*/ 367760 w 466725"/>
                <a:gd name="connsiteY6" fmla="*/ 410813 h 466725"/>
                <a:gd name="connsiteX7" fmla="*/ 354521 w 466725"/>
                <a:gd name="connsiteY7" fmla="*/ 408337 h 466725"/>
                <a:gd name="connsiteX8" fmla="*/ 289465 w 466725"/>
                <a:gd name="connsiteY8" fmla="*/ 438150 h 466725"/>
                <a:gd name="connsiteX9" fmla="*/ 314039 w 466725"/>
                <a:gd name="connsiteY9" fmla="*/ 403479 h 466725"/>
                <a:gd name="connsiteX10" fmla="*/ 310134 w 466725"/>
                <a:gd name="connsiteY10" fmla="*/ 390620 h 466725"/>
                <a:gd name="connsiteX11" fmla="*/ 297275 w 466725"/>
                <a:gd name="connsiteY11" fmla="*/ 394525 h 466725"/>
                <a:gd name="connsiteX12" fmla="*/ 235839 w 466725"/>
                <a:gd name="connsiteY12" fmla="*/ 445294 h 466725"/>
                <a:gd name="connsiteX13" fmla="*/ 151448 w 466725"/>
                <a:gd name="connsiteY13" fmla="*/ 330994 h 466725"/>
                <a:gd name="connsiteX14" fmla="*/ 248888 w 466725"/>
                <a:gd name="connsiteY14" fmla="*/ 330994 h 466725"/>
                <a:gd name="connsiteX15" fmla="*/ 258413 w 466725"/>
                <a:gd name="connsiteY15" fmla="*/ 321469 h 466725"/>
                <a:gd name="connsiteX16" fmla="*/ 248888 w 466725"/>
                <a:gd name="connsiteY16" fmla="*/ 311944 h 466725"/>
                <a:gd name="connsiteX17" fmla="*/ 147447 w 466725"/>
                <a:gd name="connsiteY17" fmla="*/ 311944 h 466725"/>
                <a:gd name="connsiteX18" fmla="*/ 140684 w 466725"/>
                <a:gd name="connsiteY18" fmla="*/ 235744 h 466725"/>
                <a:gd name="connsiteX19" fmla="*/ 147447 w 466725"/>
                <a:gd name="connsiteY19" fmla="*/ 159544 h 466725"/>
                <a:gd name="connsiteX20" fmla="*/ 324422 w 466725"/>
                <a:gd name="connsiteY20" fmla="*/ 159544 h 466725"/>
                <a:gd name="connsiteX21" fmla="*/ 326898 w 466725"/>
                <a:gd name="connsiteY21" fmla="*/ 174974 h 466725"/>
                <a:gd name="connsiteX22" fmla="*/ 337661 w 466725"/>
                <a:gd name="connsiteY22" fmla="*/ 183071 h 466725"/>
                <a:gd name="connsiteX23" fmla="*/ 345758 w 466725"/>
                <a:gd name="connsiteY23" fmla="*/ 172307 h 466725"/>
                <a:gd name="connsiteX24" fmla="*/ 343662 w 466725"/>
                <a:gd name="connsiteY24" fmla="*/ 159544 h 466725"/>
                <a:gd name="connsiteX25" fmla="*/ 431006 w 466725"/>
                <a:gd name="connsiteY25" fmla="*/ 159544 h 466725"/>
                <a:gd name="connsiteX26" fmla="*/ 442817 w 466725"/>
                <a:gd name="connsiteY26" fmla="*/ 202692 h 466725"/>
                <a:gd name="connsiteX27" fmla="*/ 453676 w 466725"/>
                <a:gd name="connsiteY27" fmla="*/ 210598 h 466725"/>
                <a:gd name="connsiteX28" fmla="*/ 461582 w 466725"/>
                <a:gd name="connsiteY28" fmla="*/ 199739 h 466725"/>
                <a:gd name="connsiteX29" fmla="*/ 235839 w 466725"/>
                <a:gd name="connsiteY29" fmla="*/ 7239 h 466725"/>
                <a:gd name="connsiteX30" fmla="*/ 181928 w 466725"/>
                <a:gd name="connsiteY30" fmla="*/ 33242 h 466725"/>
                <a:gd name="connsiteX31" fmla="*/ 131540 w 466725"/>
                <a:gd name="connsiteY31" fmla="*/ 140494 h 466725"/>
                <a:gd name="connsiteX32" fmla="*/ 49149 w 466725"/>
                <a:gd name="connsiteY32" fmla="*/ 140494 h 466725"/>
                <a:gd name="connsiteX33" fmla="*/ 181928 w 466725"/>
                <a:gd name="connsiteY33" fmla="*/ 33242 h 466725"/>
                <a:gd name="connsiteX34" fmla="*/ 181928 w 466725"/>
                <a:gd name="connsiteY34" fmla="*/ 438245 h 466725"/>
                <a:gd name="connsiteX35" fmla="*/ 49149 w 466725"/>
                <a:gd name="connsiteY35" fmla="*/ 330994 h 466725"/>
                <a:gd name="connsiteX36" fmla="*/ 131540 w 466725"/>
                <a:gd name="connsiteY36" fmla="*/ 330994 h 466725"/>
                <a:gd name="connsiteX37" fmla="*/ 181928 w 466725"/>
                <a:gd name="connsiteY37" fmla="*/ 438245 h 466725"/>
                <a:gd name="connsiteX38" fmla="*/ 127730 w 466725"/>
                <a:gd name="connsiteY38" fmla="*/ 311944 h 466725"/>
                <a:gd name="connsiteX39" fmla="*/ 40577 w 466725"/>
                <a:gd name="connsiteY39" fmla="*/ 311944 h 466725"/>
                <a:gd name="connsiteX40" fmla="*/ 26194 w 466725"/>
                <a:gd name="connsiteY40" fmla="*/ 235744 h 466725"/>
                <a:gd name="connsiteX41" fmla="*/ 40577 w 466725"/>
                <a:gd name="connsiteY41" fmla="*/ 159544 h 466725"/>
                <a:gd name="connsiteX42" fmla="*/ 127730 w 466725"/>
                <a:gd name="connsiteY42" fmla="*/ 159544 h 466725"/>
                <a:gd name="connsiteX43" fmla="*/ 121444 w 466725"/>
                <a:gd name="connsiteY43" fmla="*/ 235744 h 466725"/>
                <a:gd name="connsiteX44" fmla="*/ 127730 w 466725"/>
                <a:gd name="connsiteY44" fmla="*/ 311944 h 466725"/>
                <a:gd name="connsiteX45" fmla="*/ 151257 w 466725"/>
                <a:gd name="connsiteY45" fmla="*/ 140494 h 466725"/>
                <a:gd name="connsiteX46" fmla="*/ 235649 w 466725"/>
                <a:gd name="connsiteY46" fmla="*/ 26194 h 466725"/>
                <a:gd name="connsiteX47" fmla="*/ 320231 w 466725"/>
                <a:gd name="connsiteY47" fmla="*/ 140494 h 466725"/>
                <a:gd name="connsiteX48" fmla="*/ 151352 w 466725"/>
                <a:gd name="connsiteY48" fmla="*/ 140494 h 466725"/>
                <a:gd name="connsiteX49" fmla="*/ 339757 w 466725"/>
                <a:gd name="connsiteY49" fmla="*/ 140494 h 466725"/>
                <a:gd name="connsiteX50" fmla="*/ 289274 w 466725"/>
                <a:gd name="connsiteY50" fmla="*/ 33147 h 466725"/>
                <a:gd name="connsiteX51" fmla="*/ 422339 w 466725"/>
                <a:gd name="connsiteY51" fmla="*/ 140494 h 466725"/>
                <a:gd name="connsiteX52" fmla="*/ 339757 w 466725"/>
                <a:gd name="connsiteY52" fmla="*/ 140494 h 466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466725" h="466725">
                  <a:moveTo>
                    <a:pt x="235744" y="7144"/>
                  </a:moveTo>
                  <a:cubicBezTo>
                    <a:pt x="109728" y="7144"/>
                    <a:pt x="7144" y="109728"/>
                    <a:pt x="7144" y="235744"/>
                  </a:cubicBezTo>
                  <a:cubicBezTo>
                    <a:pt x="7144" y="267367"/>
                    <a:pt x="13621" y="297466"/>
                    <a:pt x="25241" y="324898"/>
                  </a:cubicBezTo>
                  <a:cubicBezTo>
                    <a:pt x="25241" y="325088"/>
                    <a:pt x="25432" y="325279"/>
                    <a:pt x="25527" y="325469"/>
                  </a:cubicBezTo>
                  <a:cubicBezTo>
                    <a:pt x="60484" y="407003"/>
                    <a:pt x="141542" y="464344"/>
                    <a:pt x="235744" y="464344"/>
                  </a:cubicBezTo>
                  <a:cubicBezTo>
                    <a:pt x="282226" y="464344"/>
                    <a:pt x="326993" y="450437"/>
                    <a:pt x="365284" y="424053"/>
                  </a:cubicBezTo>
                  <a:cubicBezTo>
                    <a:pt x="369570" y="421100"/>
                    <a:pt x="370713" y="415100"/>
                    <a:pt x="367760" y="410813"/>
                  </a:cubicBezTo>
                  <a:cubicBezTo>
                    <a:pt x="364808" y="406527"/>
                    <a:pt x="358807" y="405384"/>
                    <a:pt x="354521" y="408337"/>
                  </a:cubicBezTo>
                  <a:cubicBezTo>
                    <a:pt x="334518" y="422148"/>
                    <a:pt x="312515" y="432054"/>
                    <a:pt x="289465" y="438150"/>
                  </a:cubicBezTo>
                  <a:cubicBezTo>
                    <a:pt x="298323" y="428911"/>
                    <a:pt x="306610" y="417290"/>
                    <a:pt x="314039" y="403479"/>
                  </a:cubicBezTo>
                  <a:cubicBezTo>
                    <a:pt x="316516" y="398812"/>
                    <a:pt x="314801" y="393097"/>
                    <a:pt x="310134" y="390620"/>
                  </a:cubicBezTo>
                  <a:cubicBezTo>
                    <a:pt x="305467" y="388144"/>
                    <a:pt x="299752" y="389858"/>
                    <a:pt x="297275" y="394525"/>
                  </a:cubicBezTo>
                  <a:cubicBezTo>
                    <a:pt x="279749" y="427292"/>
                    <a:pt x="257937" y="445294"/>
                    <a:pt x="235839" y="445294"/>
                  </a:cubicBezTo>
                  <a:cubicBezTo>
                    <a:pt x="199644" y="445294"/>
                    <a:pt x="167450" y="398240"/>
                    <a:pt x="151448" y="330994"/>
                  </a:cubicBezTo>
                  <a:lnTo>
                    <a:pt x="248888" y="330994"/>
                  </a:lnTo>
                  <a:cubicBezTo>
                    <a:pt x="254127" y="330994"/>
                    <a:pt x="258413" y="326708"/>
                    <a:pt x="258413" y="321469"/>
                  </a:cubicBezTo>
                  <a:cubicBezTo>
                    <a:pt x="258413" y="316230"/>
                    <a:pt x="254127" y="311944"/>
                    <a:pt x="248888" y="311944"/>
                  </a:cubicBezTo>
                  <a:lnTo>
                    <a:pt x="147447" y="311944"/>
                  </a:lnTo>
                  <a:cubicBezTo>
                    <a:pt x="143066" y="288227"/>
                    <a:pt x="140684" y="262509"/>
                    <a:pt x="140684" y="235744"/>
                  </a:cubicBezTo>
                  <a:cubicBezTo>
                    <a:pt x="140684" y="208979"/>
                    <a:pt x="143161" y="183261"/>
                    <a:pt x="147447" y="159544"/>
                  </a:cubicBezTo>
                  <a:lnTo>
                    <a:pt x="324422" y="159544"/>
                  </a:lnTo>
                  <a:cubicBezTo>
                    <a:pt x="325374" y="164592"/>
                    <a:pt x="326136" y="169736"/>
                    <a:pt x="326898" y="174974"/>
                  </a:cubicBezTo>
                  <a:cubicBezTo>
                    <a:pt x="327660" y="180213"/>
                    <a:pt x="332518" y="183833"/>
                    <a:pt x="337661" y="183071"/>
                  </a:cubicBezTo>
                  <a:cubicBezTo>
                    <a:pt x="342900" y="182309"/>
                    <a:pt x="346520" y="177546"/>
                    <a:pt x="345758" y="172307"/>
                  </a:cubicBezTo>
                  <a:cubicBezTo>
                    <a:pt x="345186" y="167926"/>
                    <a:pt x="344424" y="163735"/>
                    <a:pt x="343662" y="159544"/>
                  </a:cubicBezTo>
                  <a:lnTo>
                    <a:pt x="431006" y="159544"/>
                  </a:lnTo>
                  <a:cubicBezTo>
                    <a:pt x="436340" y="173260"/>
                    <a:pt x="440436" y="187642"/>
                    <a:pt x="442817" y="202692"/>
                  </a:cubicBezTo>
                  <a:cubicBezTo>
                    <a:pt x="443675" y="207931"/>
                    <a:pt x="448532" y="211455"/>
                    <a:pt x="453676" y="210598"/>
                  </a:cubicBezTo>
                  <a:cubicBezTo>
                    <a:pt x="458915" y="209740"/>
                    <a:pt x="462439" y="204883"/>
                    <a:pt x="461582" y="199739"/>
                  </a:cubicBezTo>
                  <a:cubicBezTo>
                    <a:pt x="443865" y="88202"/>
                    <a:pt x="348996" y="7239"/>
                    <a:pt x="235839" y="7239"/>
                  </a:cubicBezTo>
                  <a:close/>
                  <a:moveTo>
                    <a:pt x="181928" y="33242"/>
                  </a:moveTo>
                  <a:cubicBezTo>
                    <a:pt x="159639" y="56579"/>
                    <a:pt x="141827" y="94202"/>
                    <a:pt x="131540" y="140494"/>
                  </a:cubicBezTo>
                  <a:lnTo>
                    <a:pt x="49149" y="140494"/>
                  </a:lnTo>
                  <a:cubicBezTo>
                    <a:pt x="75914" y="88202"/>
                    <a:pt x="124016" y="48577"/>
                    <a:pt x="181928" y="33242"/>
                  </a:cubicBezTo>
                  <a:close/>
                  <a:moveTo>
                    <a:pt x="181928" y="438245"/>
                  </a:moveTo>
                  <a:cubicBezTo>
                    <a:pt x="124016" y="422815"/>
                    <a:pt x="76009" y="383286"/>
                    <a:pt x="49149" y="330994"/>
                  </a:cubicBezTo>
                  <a:lnTo>
                    <a:pt x="131540" y="330994"/>
                  </a:lnTo>
                  <a:cubicBezTo>
                    <a:pt x="141923" y="377285"/>
                    <a:pt x="159639" y="414909"/>
                    <a:pt x="181928" y="438245"/>
                  </a:cubicBezTo>
                  <a:close/>
                  <a:moveTo>
                    <a:pt x="127730" y="311944"/>
                  </a:moveTo>
                  <a:lnTo>
                    <a:pt x="40577" y="311944"/>
                  </a:lnTo>
                  <a:cubicBezTo>
                    <a:pt x="31337" y="288322"/>
                    <a:pt x="26194" y="262604"/>
                    <a:pt x="26194" y="235744"/>
                  </a:cubicBezTo>
                  <a:cubicBezTo>
                    <a:pt x="26194" y="208883"/>
                    <a:pt x="31337" y="183166"/>
                    <a:pt x="40577" y="159544"/>
                  </a:cubicBezTo>
                  <a:lnTo>
                    <a:pt x="127730" y="159544"/>
                  </a:lnTo>
                  <a:cubicBezTo>
                    <a:pt x="123634" y="183261"/>
                    <a:pt x="121444" y="208883"/>
                    <a:pt x="121444" y="235744"/>
                  </a:cubicBezTo>
                  <a:cubicBezTo>
                    <a:pt x="121444" y="262604"/>
                    <a:pt x="123634" y="288227"/>
                    <a:pt x="127730" y="311944"/>
                  </a:cubicBezTo>
                  <a:close/>
                  <a:moveTo>
                    <a:pt x="151257" y="140494"/>
                  </a:moveTo>
                  <a:cubicBezTo>
                    <a:pt x="167354" y="73247"/>
                    <a:pt x="199549" y="26194"/>
                    <a:pt x="235649" y="26194"/>
                  </a:cubicBezTo>
                  <a:cubicBezTo>
                    <a:pt x="271748" y="26194"/>
                    <a:pt x="303943" y="71723"/>
                    <a:pt x="320231" y="140494"/>
                  </a:cubicBezTo>
                  <a:lnTo>
                    <a:pt x="151352" y="140494"/>
                  </a:lnTo>
                  <a:close/>
                  <a:moveTo>
                    <a:pt x="339757" y="140494"/>
                  </a:moveTo>
                  <a:cubicBezTo>
                    <a:pt x="329279" y="93536"/>
                    <a:pt x="311468" y="56198"/>
                    <a:pt x="289274" y="33147"/>
                  </a:cubicBezTo>
                  <a:cubicBezTo>
                    <a:pt x="347282" y="48292"/>
                    <a:pt x="395478" y="87440"/>
                    <a:pt x="422339" y="140494"/>
                  </a:cubicBezTo>
                  <a:lnTo>
                    <a:pt x="339757" y="14049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1A42A388-2B31-49C6-B64D-14F151A0FF7A}"/>
              </a:ext>
            </a:extLst>
          </p:cNvPr>
          <p:cNvSpPr/>
          <p:nvPr/>
        </p:nvSpPr>
        <p:spPr>
          <a:xfrm>
            <a:off x="6572250" y="2252175"/>
            <a:ext cx="5187752" cy="30469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жиноят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ақ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восит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сд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д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иш</a:t>
            </a:r>
            <a:r>
              <a:rPr lang="ru-RU" sz="1400" dirty="0">
                <a:solidFill>
                  <a:schemeClr val="tx2"/>
                </a:solidFill>
              </a:rPr>
              <a:t>;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ғараз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шқ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нфа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нун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илоф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ак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ият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вжудлиги</a:t>
            </a:r>
            <a:r>
              <a:rPr lang="ru-RU" sz="1400" dirty="0">
                <a:solidFill>
                  <a:schemeClr val="tx2"/>
                </a:solidFill>
              </a:rPr>
              <a:t>;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жамият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лмоқ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сми</a:t>
            </a:r>
            <a:r>
              <a:rPr lang="ru-RU" sz="1400" dirty="0">
                <a:solidFill>
                  <a:schemeClr val="tx2"/>
                </a:solidFill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</a:rPr>
              <a:t>жиноят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д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иш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тиро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иши</a:t>
            </a:r>
            <a:r>
              <a:rPr lang="ru-RU" sz="1400" dirty="0">
                <a:solidFill>
                  <a:schemeClr val="tx2"/>
                </a:solidFill>
              </a:rPr>
              <a:t>;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жамият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ид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иноятлар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кса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ънавиятлаштирилиши</a:t>
            </a:r>
            <a:r>
              <a:rPr lang="ru-RU" sz="1400" dirty="0">
                <a:solidFill>
                  <a:schemeClr val="tx2"/>
                </a:solidFill>
              </a:rPr>
              <a:t>;</a:t>
            </a:r>
          </a:p>
          <a:p>
            <a:pPr>
              <a:spcBef>
                <a:spcPts val="600"/>
              </a:spcBef>
              <a:spcAft>
                <a:spcPts val="3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ошкоралик</a:t>
            </a:r>
            <a:r>
              <a:rPr lang="ru-RU" sz="1400" dirty="0">
                <a:solidFill>
                  <a:schemeClr val="tx2"/>
                </a:solidFill>
              </a:rPr>
              <a:t> й</a:t>
            </a:r>
            <a:r>
              <a:rPr lang="uz-Cyrl-UZ" sz="1400" dirty="0">
                <a:solidFill>
                  <a:schemeClr val="tx2"/>
                </a:solidFill>
              </a:rPr>
              <a:t>ў</a:t>
            </a:r>
            <a:r>
              <a:rPr lang="ru-RU" sz="1400" dirty="0" err="1">
                <a:solidFill>
                  <a:schemeClr val="tx2"/>
                </a:solidFill>
              </a:rPr>
              <a:t>қли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м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йрим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акат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ежалаштир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мал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шир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ғрисида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нда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ълумот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инч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яшириш</a:t>
            </a:r>
            <a:r>
              <a:rPr lang="ru-RU" sz="1400" dirty="0">
                <a:solidFill>
                  <a:schemeClr val="tx2"/>
                </a:solidFill>
              </a:rPr>
              <a:t> (шу </a:t>
            </a:r>
            <a:r>
              <a:rPr lang="ru-RU" sz="1400" dirty="0" err="1">
                <a:solidFill>
                  <a:schemeClr val="tx2"/>
                </a:solidFill>
              </a:rPr>
              <a:t>жумла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ужжат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лбакилаштир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йўқ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йў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)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фодалан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тимлар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хфийлиг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D8A4025-ED0B-43AA-8D31-941278E97976}"/>
              </a:ext>
            </a:extLst>
          </p:cNvPr>
          <p:cNvSpPr/>
          <p:nvPr/>
        </p:nvSpPr>
        <p:spPr>
          <a:xfrm>
            <a:off x="431998" y="3667947"/>
            <a:ext cx="5592565" cy="25160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 err="1">
                <a:solidFill>
                  <a:schemeClr val="tx2"/>
                </a:solidFill>
              </a:rPr>
              <a:t>Кундалик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майда</a:t>
            </a:r>
            <a:r>
              <a:rPr lang="ru-RU" sz="1200" b="1" dirty="0">
                <a:solidFill>
                  <a:schemeClr val="tx2"/>
                </a:solidFill>
              </a:rPr>
              <a:t> коррупция </a:t>
            </a:r>
            <a:r>
              <a:rPr lang="ru-RU" sz="1200" b="1" dirty="0" err="1">
                <a:solidFill>
                  <a:schemeClr val="tx2"/>
                </a:solidFill>
              </a:rPr>
              <a:t>жиноятларининг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зарарсизлиги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ўзининг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оммавий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кўринишид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глобал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миқёсд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ҳалокатли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таъсир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кўрсатади</a:t>
            </a:r>
            <a:r>
              <a:rPr lang="ru-RU" sz="1200" b="1" dirty="0">
                <a:solidFill>
                  <a:schemeClr val="tx2"/>
                </a:solidFill>
              </a:rPr>
              <a:t>, </a:t>
            </a:r>
            <a:r>
              <a:rPr lang="ru-RU" sz="1200" b="1" dirty="0" err="1">
                <a:solidFill>
                  <a:schemeClr val="tx2"/>
                </a:solidFill>
              </a:rPr>
              <a:t>чунки</a:t>
            </a:r>
            <a:r>
              <a:rPr lang="ru-RU" sz="1200" b="1" dirty="0">
                <a:solidFill>
                  <a:schemeClr val="tx2"/>
                </a:solidFill>
              </a:rPr>
              <a:t> у </a:t>
            </a:r>
            <a:r>
              <a:rPr lang="ru-RU" sz="1200" b="1" dirty="0" err="1">
                <a:solidFill>
                  <a:schemeClr val="tx2"/>
                </a:solidFill>
              </a:rPr>
              <a:t>давлат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ҳаётининг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барч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соҳалариг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вайронкор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таъсириг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эг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в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кутилмаган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шакллард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намоён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бўлади</a:t>
            </a:r>
            <a:r>
              <a:rPr lang="ru-RU" sz="1200" b="1" dirty="0">
                <a:solidFill>
                  <a:schemeClr val="tx2"/>
                </a:solidFill>
              </a:rPr>
              <a:t>, </a:t>
            </a:r>
            <a:r>
              <a:rPr lang="ru-RU" sz="1200" b="1" dirty="0" err="1">
                <a:solidFill>
                  <a:schemeClr val="tx2"/>
                </a:solidFill>
              </a:rPr>
              <a:t>масалан</a:t>
            </a:r>
            <a:r>
              <a:rPr lang="ru-RU" sz="1200" b="1" dirty="0">
                <a:solidFill>
                  <a:schemeClr val="tx2"/>
                </a:solidFill>
              </a:rPr>
              <a:t>: 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соғлиқ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ақла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жамо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ртиб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ъминла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аб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вл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ларидаги</a:t>
            </a:r>
            <a:r>
              <a:rPr lang="ru-RU" sz="1200" dirty="0">
                <a:solidFill>
                  <a:schemeClr val="tx2"/>
                </a:solidFill>
              </a:rPr>
              <a:t> коррупция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амарасизл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алб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емограф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қибатлар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и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елади</a:t>
            </a:r>
            <a:r>
              <a:rPr lang="ru-RU" sz="1200" dirty="0">
                <a:solidFill>
                  <a:schemeClr val="tx2"/>
                </a:solidFill>
              </a:rPr>
              <a:t>;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давл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ппаратидаги</a:t>
            </a:r>
            <a:r>
              <a:rPr lang="ru-RU" sz="1200" dirty="0">
                <a:solidFill>
                  <a:schemeClr val="tx2"/>
                </a:solidFill>
              </a:rPr>
              <a:t> коррупция </a:t>
            </a:r>
            <a:r>
              <a:rPr lang="ru-RU" sz="1200" dirty="0" err="1">
                <a:solidFill>
                  <a:schemeClr val="tx2"/>
                </a:solidFill>
              </a:rPr>
              <a:t>давлат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ивожланти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юқор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ражада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жтимо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мтиёз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е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еханизм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узади</a:t>
            </a:r>
            <a:r>
              <a:rPr lang="ru-RU" sz="1200" dirty="0">
                <a:solidFill>
                  <a:schemeClr val="tx2"/>
                </a:solidFill>
              </a:rPr>
              <a:t>;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хусус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ектордаги</a:t>
            </a:r>
            <a:r>
              <a:rPr lang="ru-RU" sz="1200" dirty="0">
                <a:solidFill>
                  <a:schemeClr val="tx2"/>
                </a:solidFill>
              </a:rPr>
              <a:t> коррупция </a:t>
            </a:r>
            <a:r>
              <a:rPr lang="ru-RU" sz="1200" dirty="0" err="1">
                <a:solidFill>
                  <a:schemeClr val="tx2"/>
                </a:solidFill>
              </a:rPr>
              <a:t>мамлакатда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ақоб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зо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носабатлар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ражас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пасайтиради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бу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влат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нвестицио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жозибадорлиг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уқаролар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одд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аровонлиг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алб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ъси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ўрсатади</a:t>
            </a:r>
            <a:r>
              <a:rPr lang="ru-RU" sz="1200" dirty="0">
                <a:solidFill>
                  <a:schemeClr val="tx2"/>
                </a:solidFill>
              </a:rPr>
              <a:t>..</a:t>
            </a:r>
          </a:p>
        </p:txBody>
      </p:sp>
      <p:grpSp>
        <p:nvGrpSpPr>
          <p:cNvPr id="13" name="Group 1589">
            <a:extLst>
              <a:ext uri="{FF2B5EF4-FFF2-40B4-BE49-F238E27FC236}">
                <a16:creationId xmlns:a16="http://schemas.microsoft.com/office/drawing/2014/main" id="{8D992661-D85A-42ED-AF3D-14024779D46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67438" y="2251571"/>
            <a:ext cx="283062" cy="284689"/>
            <a:chOff x="2384" y="844"/>
            <a:chExt cx="174" cy="175"/>
          </a:xfrm>
          <a:solidFill>
            <a:srgbClr val="1BD7D3"/>
          </a:solidFill>
        </p:grpSpPr>
        <p:sp>
          <p:nvSpPr>
            <p:cNvPr id="14" name="Freeform 1590">
              <a:extLst>
                <a:ext uri="{FF2B5EF4-FFF2-40B4-BE49-F238E27FC236}">
                  <a16:creationId xmlns:a16="http://schemas.microsoft.com/office/drawing/2014/main" id="{06C00EB4-0D48-403F-A57C-A94115EEEF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591">
              <a:extLst>
                <a:ext uri="{FF2B5EF4-FFF2-40B4-BE49-F238E27FC236}">
                  <a16:creationId xmlns:a16="http://schemas.microsoft.com/office/drawing/2014/main" id="{0B5694F5-AC20-4DB7-BFFF-33A4D1B9BA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592">
              <a:extLst>
                <a:ext uri="{FF2B5EF4-FFF2-40B4-BE49-F238E27FC236}">
                  <a16:creationId xmlns:a16="http://schemas.microsoft.com/office/drawing/2014/main" id="{1B3C076B-2070-4FC1-8147-534526B29E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" name="Group 1589">
            <a:extLst>
              <a:ext uri="{FF2B5EF4-FFF2-40B4-BE49-F238E27FC236}">
                <a16:creationId xmlns:a16="http://schemas.microsoft.com/office/drawing/2014/main" id="{45BF570A-BBC8-4BD7-BF90-8902F890F3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67438" y="2669303"/>
            <a:ext cx="283062" cy="284689"/>
            <a:chOff x="2384" y="844"/>
            <a:chExt cx="174" cy="175"/>
          </a:xfrm>
          <a:solidFill>
            <a:srgbClr val="1BD7D3"/>
          </a:solidFill>
        </p:grpSpPr>
        <p:sp>
          <p:nvSpPr>
            <p:cNvPr id="18" name="Freeform 1590">
              <a:extLst>
                <a:ext uri="{FF2B5EF4-FFF2-40B4-BE49-F238E27FC236}">
                  <a16:creationId xmlns:a16="http://schemas.microsoft.com/office/drawing/2014/main" id="{A6E06B9F-24F7-40C0-AB7A-4A523AA47C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591">
              <a:extLst>
                <a:ext uri="{FF2B5EF4-FFF2-40B4-BE49-F238E27FC236}">
                  <a16:creationId xmlns:a16="http://schemas.microsoft.com/office/drawing/2014/main" id="{5ABBBFDB-D3F4-4567-97FC-C699BEC790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592">
              <a:extLst>
                <a:ext uri="{FF2B5EF4-FFF2-40B4-BE49-F238E27FC236}">
                  <a16:creationId xmlns:a16="http://schemas.microsoft.com/office/drawing/2014/main" id="{2A55ADD6-1EB2-40E3-9BE5-8528269D40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1" name="Group 1589">
            <a:extLst>
              <a:ext uri="{FF2B5EF4-FFF2-40B4-BE49-F238E27FC236}">
                <a16:creationId xmlns:a16="http://schemas.microsoft.com/office/drawing/2014/main" id="{93ACBF53-728B-4450-8076-38CD86D076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67438" y="3209493"/>
            <a:ext cx="283062" cy="284689"/>
            <a:chOff x="2384" y="844"/>
            <a:chExt cx="174" cy="175"/>
          </a:xfrm>
          <a:solidFill>
            <a:srgbClr val="1BD7D3"/>
          </a:solidFill>
        </p:grpSpPr>
        <p:sp>
          <p:nvSpPr>
            <p:cNvPr id="22" name="Freeform 1590">
              <a:extLst>
                <a:ext uri="{FF2B5EF4-FFF2-40B4-BE49-F238E27FC236}">
                  <a16:creationId xmlns:a16="http://schemas.microsoft.com/office/drawing/2014/main" id="{2A4ED95D-01A4-43C3-8C79-4BCA249AB1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591">
              <a:extLst>
                <a:ext uri="{FF2B5EF4-FFF2-40B4-BE49-F238E27FC236}">
                  <a16:creationId xmlns:a16="http://schemas.microsoft.com/office/drawing/2014/main" id="{2FEEACD6-F9BE-483F-886C-7A791BFDBF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592">
              <a:extLst>
                <a:ext uri="{FF2B5EF4-FFF2-40B4-BE49-F238E27FC236}">
                  <a16:creationId xmlns:a16="http://schemas.microsoft.com/office/drawing/2014/main" id="{C7566418-3DFC-43D5-8870-6EA68DC1F3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5" name="Group 1589">
            <a:extLst>
              <a:ext uri="{FF2B5EF4-FFF2-40B4-BE49-F238E27FC236}">
                <a16:creationId xmlns:a16="http://schemas.microsoft.com/office/drawing/2014/main" id="{28B558FF-A9E8-4C40-A0EA-ABFDB77838D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67438" y="3761664"/>
            <a:ext cx="283062" cy="284689"/>
            <a:chOff x="2384" y="844"/>
            <a:chExt cx="174" cy="175"/>
          </a:xfrm>
          <a:solidFill>
            <a:srgbClr val="1BD7D3"/>
          </a:solidFill>
        </p:grpSpPr>
        <p:sp>
          <p:nvSpPr>
            <p:cNvPr id="26" name="Freeform 1590">
              <a:extLst>
                <a:ext uri="{FF2B5EF4-FFF2-40B4-BE49-F238E27FC236}">
                  <a16:creationId xmlns:a16="http://schemas.microsoft.com/office/drawing/2014/main" id="{F90F25EE-C117-4622-82CA-2832C13542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591">
              <a:extLst>
                <a:ext uri="{FF2B5EF4-FFF2-40B4-BE49-F238E27FC236}">
                  <a16:creationId xmlns:a16="http://schemas.microsoft.com/office/drawing/2014/main" id="{1C1E7AEF-58CD-464E-8E20-042B1FAF86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592">
              <a:extLst>
                <a:ext uri="{FF2B5EF4-FFF2-40B4-BE49-F238E27FC236}">
                  <a16:creationId xmlns:a16="http://schemas.microsoft.com/office/drawing/2014/main" id="{282DD001-19FE-4B19-B49F-79A4E152D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9" name="Group 1589">
            <a:extLst>
              <a:ext uri="{FF2B5EF4-FFF2-40B4-BE49-F238E27FC236}">
                <a16:creationId xmlns:a16="http://schemas.microsoft.com/office/drawing/2014/main" id="{E64EE37A-1A46-4F84-8C5C-99515CD745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67438" y="4248692"/>
            <a:ext cx="283062" cy="284689"/>
            <a:chOff x="2384" y="844"/>
            <a:chExt cx="174" cy="175"/>
          </a:xfrm>
          <a:solidFill>
            <a:srgbClr val="1BD7D3"/>
          </a:solidFill>
        </p:grpSpPr>
        <p:sp>
          <p:nvSpPr>
            <p:cNvPr id="30" name="Freeform 1590">
              <a:extLst>
                <a:ext uri="{FF2B5EF4-FFF2-40B4-BE49-F238E27FC236}">
                  <a16:creationId xmlns:a16="http://schemas.microsoft.com/office/drawing/2014/main" id="{10262610-5B7F-4D69-BB89-F6894CB51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591">
              <a:extLst>
                <a:ext uri="{FF2B5EF4-FFF2-40B4-BE49-F238E27FC236}">
                  <a16:creationId xmlns:a16="http://schemas.microsoft.com/office/drawing/2014/main" id="{A6A27496-ABF5-4059-977E-06E19763F4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1592">
              <a:extLst>
                <a:ext uri="{FF2B5EF4-FFF2-40B4-BE49-F238E27FC236}">
                  <a16:creationId xmlns:a16="http://schemas.microsoft.com/office/drawing/2014/main" id="{9B2EA55B-4FF3-4127-A10E-4155A4C68E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927992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A4F894-78B7-46F2-BDDF-83E6957BD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оррупцияга</a:t>
            </a:r>
            <a:r>
              <a:rPr lang="ru-RU" dirty="0"/>
              <a:t> </a:t>
            </a:r>
            <a:r>
              <a:rPr lang="ru-RU" dirty="0" err="1"/>
              <a:t>оид</a:t>
            </a:r>
            <a:r>
              <a:rPr lang="ru-RU" dirty="0"/>
              <a:t> </a:t>
            </a:r>
            <a:r>
              <a:rPr lang="ru-RU" dirty="0" err="1"/>
              <a:t>жиноятларнинг</a:t>
            </a:r>
            <a:r>
              <a:rPr lang="ru-RU" dirty="0"/>
              <a:t> </a:t>
            </a:r>
            <a:r>
              <a:rPr lang="ru-RU" dirty="0" err="1"/>
              <a:t>тоифалари</a:t>
            </a:r>
            <a:endParaRPr lang="en-US" dirty="0"/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7F47D85A-9312-45D2-9B3F-ECBE7E302DEF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9F73531-AAED-4C3E-AD85-9B0755FF0E76}"/>
              </a:ext>
            </a:extLst>
          </p:cNvPr>
          <p:cNvSpPr/>
          <p:nvPr/>
        </p:nvSpPr>
        <p:spPr>
          <a:xfrm>
            <a:off x="1410444" y="1456336"/>
            <a:ext cx="92488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000" b="1" dirty="0">
                <a:solidFill>
                  <a:srgbClr val="49A9F6"/>
                </a:solidFill>
              </a:rPr>
              <a:t>Коррупция </a:t>
            </a:r>
            <a:r>
              <a:rPr lang="ru-RU" sz="2000" b="1" dirty="0" err="1">
                <a:solidFill>
                  <a:srgbClr val="49A9F6"/>
                </a:solidFill>
              </a:rPr>
              <a:t>жиноятларининг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қуйидаг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тоифалар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ажратилади</a:t>
            </a:r>
            <a:r>
              <a:rPr lang="ru-RU" sz="2000" b="1" dirty="0">
                <a:solidFill>
                  <a:srgbClr val="49A9F6"/>
                </a:solidFill>
              </a:rPr>
              <a:t>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ADFAA28-0ADC-434A-8F0B-1E7740AE51D5}"/>
              </a:ext>
            </a:extLst>
          </p:cNvPr>
          <p:cNvGrpSpPr/>
          <p:nvPr/>
        </p:nvGrpSpPr>
        <p:grpSpPr>
          <a:xfrm>
            <a:off x="771084" y="1364852"/>
            <a:ext cx="519740" cy="521521"/>
            <a:chOff x="5707256" y="5502558"/>
            <a:chExt cx="519740" cy="521521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9050913C-B432-449B-A0BF-87C3D34C3E5E}"/>
                </a:ext>
              </a:extLst>
            </p:cNvPr>
            <p:cNvSpPr/>
            <p:nvPr/>
          </p:nvSpPr>
          <p:spPr>
            <a:xfrm>
              <a:off x="5933587" y="5656200"/>
              <a:ext cx="291624" cy="315926"/>
            </a:xfrm>
            <a:custGeom>
              <a:avLst/>
              <a:gdLst>
                <a:gd name="connsiteX0" fmla="*/ 53533 w 291624"/>
                <a:gd name="connsiteY0" fmla="*/ 304043 h 315926"/>
                <a:gd name="connsiteX1" fmla="*/ 17153 w 291624"/>
                <a:gd name="connsiteY1" fmla="*/ 271811 h 315926"/>
                <a:gd name="connsiteX2" fmla="*/ 242773 w 291624"/>
                <a:gd name="connsiteY2" fmla="*/ 17153 h 315926"/>
                <a:gd name="connsiteX3" fmla="*/ 279152 w 291624"/>
                <a:gd name="connsiteY3" fmla="*/ 49384 h 31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1624" h="315926">
                  <a:moveTo>
                    <a:pt x="53533" y="304043"/>
                  </a:moveTo>
                  <a:lnTo>
                    <a:pt x="17153" y="271811"/>
                  </a:lnTo>
                  <a:lnTo>
                    <a:pt x="242773" y="17153"/>
                  </a:lnTo>
                  <a:lnTo>
                    <a:pt x="279152" y="49384"/>
                  </a:ln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831EA8D-8D66-4693-99A4-18AE96EA852B}"/>
                </a:ext>
              </a:extLst>
            </p:cNvPr>
            <p:cNvSpPr/>
            <p:nvPr/>
          </p:nvSpPr>
          <p:spPr>
            <a:xfrm>
              <a:off x="5892357" y="5915854"/>
              <a:ext cx="105309" cy="105309"/>
            </a:xfrm>
            <a:custGeom>
              <a:avLst/>
              <a:gdLst>
                <a:gd name="connsiteX0" fmla="*/ 12151 w 105308"/>
                <a:gd name="connsiteY0" fmla="*/ 101096 h 105308"/>
                <a:gd name="connsiteX1" fmla="*/ 12151 w 105308"/>
                <a:gd name="connsiteY1" fmla="*/ 101096 h 105308"/>
                <a:gd name="connsiteX2" fmla="*/ 94778 w 105308"/>
                <a:gd name="connsiteY2" fmla="*/ 44392 h 105308"/>
                <a:gd name="connsiteX3" fmla="*/ 58406 w 105308"/>
                <a:gd name="connsiteY3" fmla="*/ 12151 h 105308"/>
                <a:gd name="connsiteX4" fmla="*/ 12151 w 105308"/>
                <a:gd name="connsiteY4" fmla="*/ 101096 h 1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308" h="105308">
                  <a:moveTo>
                    <a:pt x="12151" y="101096"/>
                  </a:moveTo>
                  <a:lnTo>
                    <a:pt x="12151" y="101096"/>
                  </a:lnTo>
                  <a:lnTo>
                    <a:pt x="94778" y="44392"/>
                  </a:lnTo>
                  <a:lnTo>
                    <a:pt x="58406" y="12151"/>
                  </a:lnTo>
                  <a:lnTo>
                    <a:pt x="12151" y="101096"/>
                  </a:ln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DD8BDE4-D1F4-4F79-9ADE-4F611E82C140}"/>
                </a:ext>
              </a:extLst>
            </p:cNvPr>
            <p:cNvSpPr/>
            <p:nvPr/>
          </p:nvSpPr>
          <p:spPr>
            <a:xfrm>
              <a:off x="6170291" y="5648990"/>
              <a:ext cx="56705" cy="56705"/>
            </a:xfrm>
            <a:custGeom>
              <a:avLst/>
              <a:gdLst>
                <a:gd name="connsiteX0" fmla="*/ 12151 w 56704"/>
                <a:gd name="connsiteY0" fmla="*/ 29757 h 56704"/>
                <a:gd name="connsiteX1" fmla="*/ 36372 w 56704"/>
                <a:gd name="connsiteY1" fmla="*/ 51224 h 56704"/>
                <a:gd name="connsiteX2" fmla="*/ 47146 w 56704"/>
                <a:gd name="connsiteY2" fmla="*/ 39073 h 56704"/>
                <a:gd name="connsiteX3" fmla="*/ 45769 w 56704"/>
                <a:gd name="connsiteY3" fmla="*/ 16229 h 56704"/>
                <a:gd name="connsiteX4" fmla="*/ 45769 w 56704"/>
                <a:gd name="connsiteY4" fmla="*/ 16229 h 56704"/>
                <a:gd name="connsiteX5" fmla="*/ 22925 w 56704"/>
                <a:gd name="connsiteY5" fmla="*/ 17606 h 56704"/>
                <a:gd name="connsiteX6" fmla="*/ 12151 w 56704"/>
                <a:gd name="connsiteY6" fmla="*/ 29757 h 56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704" h="56704">
                  <a:moveTo>
                    <a:pt x="12151" y="29757"/>
                  </a:moveTo>
                  <a:lnTo>
                    <a:pt x="36372" y="51224"/>
                  </a:lnTo>
                  <a:lnTo>
                    <a:pt x="47146" y="39073"/>
                  </a:lnTo>
                  <a:cubicBezTo>
                    <a:pt x="53059" y="32350"/>
                    <a:pt x="52492" y="22143"/>
                    <a:pt x="45769" y="16229"/>
                  </a:cubicBezTo>
                  <a:lnTo>
                    <a:pt x="45769" y="16229"/>
                  </a:lnTo>
                  <a:cubicBezTo>
                    <a:pt x="39045" y="10316"/>
                    <a:pt x="28838" y="10883"/>
                    <a:pt x="22925" y="17606"/>
                  </a:cubicBezTo>
                  <a:lnTo>
                    <a:pt x="12151" y="29757"/>
                  </a:ln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7F8B9BD1-E860-4883-9CDA-DFA9DAA2D29A}"/>
                </a:ext>
              </a:extLst>
            </p:cNvPr>
            <p:cNvSpPr/>
            <p:nvPr/>
          </p:nvSpPr>
          <p:spPr>
            <a:xfrm>
              <a:off x="6117474" y="5691546"/>
              <a:ext cx="89107" cy="162013"/>
            </a:xfrm>
            <a:custGeom>
              <a:avLst/>
              <a:gdLst>
                <a:gd name="connsiteX0" fmla="*/ 12151 w 89107"/>
                <a:gd name="connsiteY0" fmla="*/ 156829 h 162013"/>
                <a:gd name="connsiteX1" fmla="*/ 71205 w 89107"/>
                <a:gd name="connsiteY1" fmla="*/ 90161 h 162013"/>
                <a:gd name="connsiteX2" fmla="*/ 68451 w 89107"/>
                <a:gd name="connsiteY2" fmla="*/ 44392 h 162013"/>
                <a:gd name="connsiteX3" fmla="*/ 68451 w 89107"/>
                <a:gd name="connsiteY3" fmla="*/ 44392 h 162013"/>
                <a:gd name="connsiteX4" fmla="*/ 32079 w 89107"/>
                <a:gd name="connsiteY4" fmla="*/ 12151 h 162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9107" h="162013">
                  <a:moveTo>
                    <a:pt x="12151" y="156829"/>
                  </a:moveTo>
                  <a:lnTo>
                    <a:pt x="71205" y="90161"/>
                  </a:lnTo>
                  <a:cubicBezTo>
                    <a:pt x="83032" y="76794"/>
                    <a:pt x="81817" y="56300"/>
                    <a:pt x="68451" y="44392"/>
                  </a:cubicBezTo>
                  <a:lnTo>
                    <a:pt x="68451" y="44392"/>
                  </a:lnTo>
                  <a:lnTo>
                    <a:pt x="32079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7D8B14B9-F009-4927-9CBF-3428EF38B8EA}"/>
                </a:ext>
              </a:extLst>
            </p:cNvPr>
            <p:cNvSpPr/>
            <p:nvPr/>
          </p:nvSpPr>
          <p:spPr>
            <a:xfrm>
              <a:off x="5890331" y="5668621"/>
              <a:ext cx="137711" cy="24302"/>
            </a:xfrm>
            <a:custGeom>
              <a:avLst/>
              <a:gdLst>
                <a:gd name="connsiteX0" fmla="*/ 12151 w 137711"/>
                <a:gd name="connsiteY0" fmla="*/ 12151 h 24302"/>
                <a:gd name="connsiteX1" fmla="*/ 128801 w 137711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711" h="24302">
                  <a:moveTo>
                    <a:pt x="12151" y="12151"/>
                  </a:moveTo>
                  <a:lnTo>
                    <a:pt x="12880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DD1D8A8A-72A6-4FB9-AED7-4E8EAE989517}"/>
                </a:ext>
              </a:extLst>
            </p:cNvPr>
            <p:cNvSpPr/>
            <p:nvPr/>
          </p:nvSpPr>
          <p:spPr>
            <a:xfrm>
              <a:off x="5890331" y="5765830"/>
              <a:ext cx="137711" cy="24302"/>
            </a:xfrm>
            <a:custGeom>
              <a:avLst/>
              <a:gdLst>
                <a:gd name="connsiteX0" fmla="*/ 12151 w 137711"/>
                <a:gd name="connsiteY0" fmla="*/ 12151 h 24302"/>
                <a:gd name="connsiteX1" fmla="*/ 128801 w 137711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711" h="24302">
                  <a:moveTo>
                    <a:pt x="12151" y="12151"/>
                  </a:moveTo>
                  <a:lnTo>
                    <a:pt x="12880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F848405-E51F-4430-8E94-E3CDAFC441E5}"/>
                </a:ext>
              </a:extLst>
            </p:cNvPr>
            <p:cNvSpPr/>
            <p:nvPr/>
          </p:nvSpPr>
          <p:spPr>
            <a:xfrm>
              <a:off x="5890331" y="5863038"/>
              <a:ext cx="72906" cy="24302"/>
            </a:xfrm>
            <a:custGeom>
              <a:avLst/>
              <a:gdLst>
                <a:gd name="connsiteX0" fmla="*/ 12151 w 72906"/>
                <a:gd name="connsiteY0" fmla="*/ 12151 h 24302"/>
                <a:gd name="connsiteX1" fmla="*/ 66912 w 72906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906" h="24302">
                  <a:moveTo>
                    <a:pt x="12151" y="12151"/>
                  </a:moveTo>
                  <a:lnTo>
                    <a:pt x="66912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27119C8-E088-4BC9-BE04-005CA1ED42D2}"/>
                </a:ext>
              </a:extLst>
            </p:cNvPr>
            <p:cNvSpPr/>
            <p:nvPr/>
          </p:nvSpPr>
          <p:spPr>
            <a:xfrm>
              <a:off x="5890331" y="5701024"/>
              <a:ext cx="105309" cy="24302"/>
            </a:xfrm>
            <a:custGeom>
              <a:avLst/>
              <a:gdLst>
                <a:gd name="connsiteX0" fmla="*/ 12151 w 105308"/>
                <a:gd name="connsiteY0" fmla="*/ 12151 h 24302"/>
                <a:gd name="connsiteX1" fmla="*/ 93158 w 105308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308" h="24302">
                  <a:moveTo>
                    <a:pt x="12151" y="12151"/>
                  </a:moveTo>
                  <a:lnTo>
                    <a:pt x="93158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86F9F6C-C30A-4E47-902C-4E642F1C142C}"/>
                </a:ext>
              </a:extLst>
            </p:cNvPr>
            <p:cNvSpPr/>
            <p:nvPr/>
          </p:nvSpPr>
          <p:spPr>
            <a:xfrm>
              <a:off x="5890331" y="5798232"/>
              <a:ext cx="105309" cy="24302"/>
            </a:xfrm>
            <a:custGeom>
              <a:avLst/>
              <a:gdLst>
                <a:gd name="connsiteX0" fmla="*/ 12151 w 105308"/>
                <a:gd name="connsiteY0" fmla="*/ 12151 h 24302"/>
                <a:gd name="connsiteX1" fmla="*/ 93158 w 105308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5308" h="24302">
                  <a:moveTo>
                    <a:pt x="12151" y="12151"/>
                  </a:moveTo>
                  <a:lnTo>
                    <a:pt x="93158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3C3AF0D1-B120-47FA-860E-4B4A9AA8A0C1}"/>
                </a:ext>
              </a:extLst>
            </p:cNvPr>
            <p:cNvSpPr/>
            <p:nvPr/>
          </p:nvSpPr>
          <p:spPr>
            <a:xfrm>
              <a:off x="5890331" y="5895440"/>
              <a:ext cx="48604" cy="24302"/>
            </a:xfrm>
            <a:custGeom>
              <a:avLst/>
              <a:gdLst>
                <a:gd name="connsiteX0" fmla="*/ 12151 w 48604"/>
                <a:gd name="connsiteY0" fmla="*/ 12151 h 24302"/>
                <a:gd name="connsiteX1" fmla="*/ 38235 w 48604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8604" h="24302">
                  <a:moveTo>
                    <a:pt x="12151" y="12151"/>
                  </a:moveTo>
                  <a:lnTo>
                    <a:pt x="38235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5CB5D38B-7B97-4AAD-ABC8-EA8F64347680}"/>
                </a:ext>
              </a:extLst>
            </p:cNvPr>
            <p:cNvSpPr/>
            <p:nvPr/>
          </p:nvSpPr>
          <p:spPr>
            <a:xfrm>
              <a:off x="5782998" y="5659792"/>
              <a:ext cx="81007" cy="72906"/>
            </a:xfrm>
            <a:custGeom>
              <a:avLst/>
              <a:gdLst>
                <a:gd name="connsiteX0" fmla="*/ 12151 w 81006"/>
                <a:gd name="connsiteY0" fmla="*/ 44635 h 72906"/>
                <a:gd name="connsiteX1" fmla="*/ 34509 w 81006"/>
                <a:gd name="connsiteY1" fmla="*/ 62051 h 72906"/>
                <a:gd name="connsiteX2" fmla="*/ 74445 w 81006"/>
                <a:gd name="connsiteY2" fmla="*/ 12151 h 7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006" h="72906">
                  <a:moveTo>
                    <a:pt x="12151" y="44635"/>
                  </a:moveTo>
                  <a:lnTo>
                    <a:pt x="34509" y="62051"/>
                  </a:lnTo>
                  <a:lnTo>
                    <a:pt x="74445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52DBCB3-6F87-4E75-AA13-BD0D022822AF}"/>
                </a:ext>
              </a:extLst>
            </p:cNvPr>
            <p:cNvSpPr/>
            <p:nvPr/>
          </p:nvSpPr>
          <p:spPr>
            <a:xfrm>
              <a:off x="5782998" y="5757000"/>
              <a:ext cx="81007" cy="72906"/>
            </a:xfrm>
            <a:custGeom>
              <a:avLst/>
              <a:gdLst>
                <a:gd name="connsiteX0" fmla="*/ 12151 w 81006"/>
                <a:gd name="connsiteY0" fmla="*/ 44635 h 72906"/>
                <a:gd name="connsiteX1" fmla="*/ 34509 w 81006"/>
                <a:gd name="connsiteY1" fmla="*/ 62051 h 72906"/>
                <a:gd name="connsiteX2" fmla="*/ 74445 w 81006"/>
                <a:gd name="connsiteY2" fmla="*/ 12151 h 7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006" h="72906">
                  <a:moveTo>
                    <a:pt x="12151" y="44635"/>
                  </a:moveTo>
                  <a:lnTo>
                    <a:pt x="34509" y="62051"/>
                  </a:lnTo>
                  <a:lnTo>
                    <a:pt x="74445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3012AA-A84E-45B5-AB84-72DEF6E78197}"/>
                </a:ext>
              </a:extLst>
            </p:cNvPr>
            <p:cNvSpPr/>
            <p:nvPr/>
          </p:nvSpPr>
          <p:spPr>
            <a:xfrm>
              <a:off x="5782998" y="5854208"/>
              <a:ext cx="81007" cy="72906"/>
            </a:xfrm>
            <a:custGeom>
              <a:avLst/>
              <a:gdLst>
                <a:gd name="connsiteX0" fmla="*/ 12151 w 81006"/>
                <a:gd name="connsiteY0" fmla="*/ 44635 h 72906"/>
                <a:gd name="connsiteX1" fmla="*/ 34509 w 81006"/>
                <a:gd name="connsiteY1" fmla="*/ 62051 h 72906"/>
                <a:gd name="connsiteX2" fmla="*/ 74445 w 81006"/>
                <a:gd name="connsiteY2" fmla="*/ 12151 h 7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006" h="72906">
                  <a:moveTo>
                    <a:pt x="12151" y="44635"/>
                  </a:moveTo>
                  <a:lnTo>
                    <a:pt x="34509" y="62051"/>
                  </a:lnTo>
                  <a:lnTo>
                    <a:pt x="74445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2874E98-760B-4E55-B601-99EEE5F899AB}"/>
                </a:ext>
              </a:extLst>
            </p:cNvPr>
            <p:cNvSpPr/>
            <p:nvPr/>
          </p:nvSpPr>
          <p:spPr>
            <a:xfrm>
              <a:off x="5873482" y="5533178"/>
              <a:ext cx="56705" cy="56705"/>
            </a:xfrm>
            <a:custGeom>
              <a:avLst/>
              <a:gdLst>
                <a:gd name="connsiteX0" fmla="*/ 51844 w 56704"/>
                <a:gd name="connsiteY0" fmla="*/ 31998 h 56704"/>
                <a:gd name="connsiteX1" fmla="*/ 31998 w 56704"/>
                <a:gd name="connsiteY1" fmla="*/ 51844 h 56704"/>
                <a:gd name="connsiteX2" fmla="*/ 12151 w 56704"/>
                <a:gd name="connsiteY2" fmla="*/ 31998 h 56704"/>
                <a:gd name="connsiteX3" fmla="*/ 31998 w 56704"/>
                <a:gd name="connsiteY3" fmla="*/ 12151 h 56704"/>
                <a:gd name="connsiteX4" fmla="*/ 51844 w 56704"/>
                <a:gd name="connsiteY4" fmla="*/ 31998 h 56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04" h="56704">
                  <a:moveTo>
                    <a:pt x="51844" y="31998"/>
                  </a:moveTo>
                  <a:cubicBezTo>
                    <a:pt x="51844" y="43015"/>
                    <a:pt x="42934" y="51844"/>
                    <a:pt x="31998" y="51844"/>
                  </a:cubicBezTo>
                  <a:cubicBezTo>
                    <a:pt x="21062" y="51844"/>
                    <a:pt x="12151" y="42933"/>
                    <a:pt x="12151" y="31998"/>
                  </a:cubicBezTo>
                  <a:cubicBezTo>
                    <a:pt x="12151" y="21062"/>
                    <a:pt x="21062" y="12151"/>
                    <a:pt x="31998" y="12151"/>
                  </a:cubicBezTo>
                  <a:cubicBezTo>
                    <a:pt x="42934" y="12151"/>
                    <a:pt x="51844" y="21062"/>
                    <a:pt x="51844" y="31998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D1D1761-E136-44E5-B0B5-623BC7362B33}"/>
                </a:ext>
              </a:extLst>
            </p:cNvPr>
            <p:cNvSpPr/>
            <p:nvPr/>
          </p:nvSpPr>
          <p:spPr>
            <a:xfrm>
              <a:off x="5783753" y="5502558"/>
              <a:ext cx="243020" cy="121510"/>
            </a:xfrm>
            <a:custGeom>
              <a:avLst/>
              <a:gdLst>
                <a:gd name="connsiteX0" fmla="*/ 231086 w 243020"/>
                <a:gd name="connsiteY0" fmla="*/ 111546 h 121510"/>
                <a:gd name="connsiteX1" fmla="*/ 12287 w 243020"/>
                <a:gd name="connsiteY1" fmla="*/ 111546 h 121510"/>
                <a:gd name="connsiteX2" fmla="*/ 28002 w 243020"/>
                <a:gd name="connsiteY2" fmla="*/ 67965 h 121510"/>
                <a:gd name="connsiteX3" fmla="*/ 72961 w 243020"/>
                <a:gd name="connsiteY3" fmla="*/ 51925 h 121510"/>
                <a:gd name="connsiteX4" fmla="*/ 121727 w 243020"/>
                <a:gd name="connsiteY4" fmla="*/ 12151 h 121510"/>
                <a:gd name="connsiteX5" fmla="*/ 170493 w 243020"/>
                <a:gd name="connsiteY5" fmla="*/ 51925 h 121510"/>
                <a:gd name="connsiteX6" fmla="*/ 216181 w 243020"/>
                <a:gd name="connsiteY6" fmla="*/ 67965 h 121510"/>
                <a:gd name="connsiteX7" fmla="*/ 231167 w 243020"/>
                <a:gd name="connsiteY7" fmla="*/ 111546 h 12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020" h="121510">
                  <a:moveTo>
                    <a:pt x="231086" y="111546"/>
                  </a:moveTo>
                  <a:lnTo>
                    <a:pt x="12287" y="111546"/>
                  </a:lnTo>
                  <a:cubicBezTo>
                    <a:pt x="12287" y="111546"/>
                    <a:pt x="9613" y="86596"/>
                    <a:pt x="28002" y="67965"/>
                  </a:cubicBezTo>
                  <a:cubicBezTo>
                    <a:pt x="47525" y="48199"/>
                    <a:pt x="72961" y="51925"/>
                    <a:pt x="72961" y="51925"/>
                  </a:cubicBezTo>
                  <a:cubicBezTo>
                    <a:pt x="77659" y="28838"/>
                    <a:pt x="98154" y="12151"/>
                    <a:pt x="121727" y="12151"/>
                  </a:cubicBezTo>
                  <a:cubicBezTo>
                    <a:pt x="145300" y="12151"/>
                    <a:pt x="165794" y="28919"/>
                    <a:pt x="170493" y="51925"/>
                  </a:cubicBezTo>
                  <a:cubicBezTo>
                    <a:pt x="170493" y="51925"/>
                    <a:pt x="198035" y="47146"/>
                    <a:pt x="216181" y="67965"/>
                  </a:cubicBezTo>
                  <a:cubicBezTo>
                    <a:pt x="236189" y="90971"/>
                    <a:pt x="231167" y="111546"/>
                    <a:pt x="231167" y="111546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F0ACC62-CD36-4B79-86D2-EDFCBE5F1958}"/>
                </a:ext>
              </a:extLst>
            </p:cNvPr>
            <p:cNvSpPr/>
            <p:nvPr/>
          </p:nvSpPr>
          <p:spPr>
            <a:xfrm>
              <a:off x="5981302" y="5552053"/>
              <a:ext cx="121510" cy="178215"/>
            </a:xfrm>
            <a:custGeom>
              <a:avLst/>
              <a:gdLst>
                <a:gd name="connsiteX0" fmla="*/ 12151 w 121510"/>
                <a:gd name="connsiteY0" fmla="*/ 12151 h 178214"/>
                <a:gd name="connsiteX1" fmla="*/ 81655 w 121510"/>
                <a:gd name="connsiteY1" fmla="*/ 12151 h 178214"/>
                <a:gd name="connsiteX2" fmla="*/ 110817 w 121510"/>
                <a:gd name="connsiteY2" fmla="*/ 41313 h 178214"/>
                <a:gd name="connsiteX3" fmla="*/ 110817 w 121510"/>
                <a:gd name="connsiteY3" fmla="*/ 174083 h 17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1510" h="178214">
                  <a:moveTo>
                    <a:pt x="12151" y="12151"/>
                  </a:moveTo>
                  <a:lnTo>
                    <a:pt x="81655" y="12151"/>
                  </a:lnTo>
                  <a:cubicBezTo>
                    <a:pt x="97775" y="12151"/>
                    <a:pt x="110817" y="25193"/>
                    <a:pt x="110817" y="41313"/>
                  </a:cubicBezTo>
                  <a:lnTo>
                    <a:pt x="110817" y="174083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CC52EB0-6AA1-44A0-AC0F-3A1EC9817C8B}"/>
                </a:ext>
              </a:extLst>
            </p:cNvPr>
            <p:cNvSpPr/>
            <p:nvPr/>
          </p:nvSpPr>
          <p:spPr>
            <a:xfrm>
              <a:off x="5747760" y="5592556"/>
              <a:ext cx="145812" cy="388832"/>
            </a:xfrm>
            <a:custGeom>
              <a:avLst/>
              <a:gdLst>
                <a:gd name="connsiteX0" fmla="*/ 137387 w 145812"/>
                <a:gd name="connsiteY0" fmla="*/ 383891 h 388832"/>
                <a:gd name="connsiteX1" fmla="*/ 12151 w 145812"/>
                <a:gd name="connsiteY1" fmla="*/ 383891 h 388832"/>
                <a:gd name="connsiteX2" fmla="*/ 12151 w 145812"/>
                <a:gd name="connsiteY2" fmla="*/ 12151 h 388832"/>
                <a:gd name="connsiteX3" fmla="*/ 48685 w 145812"/>
                <a:gd name="connsiteY3" fmla="*/ 12151 h 388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5812" h="388832">
                  <a:moveTo>
                    <a:pt x="137387" y="383891"/>
                  </a:moveTo>
                  <a:lnTo>
                    <a:pt x="12151" y="383891"/>
                  </a:lnTo>
                  <a:lnTo>
                    <a:pt x="12151" y="12151"/>
                  </a:lnTo>
                  <a:lnTo>
                    <a:pt x="48685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993E346-AF96-4CD5-A520-303C5BF01986}"/>
                </a:ext>
              </a:extLst>
            </p:cNvPr>
            <p:cNvSpPr/>
            <p:nvPr/>
          </p:nvSpPr>
          <p:spPr>
            <a:xfrm>
              <a:off x="6003903" y="5915854"/>
              <a:ext cx="56705" cy="64805"/>
            </a:xfrm>
            <a:custGeom>
              <a:avLst/>
              <a:gdLst>
                <a:gd name="connsiteX0" fmla="*/ 47632 w 56704"/>
                <a:gd name="connsiteY0" fmla="*/ 12151 h 64805"/>
                <a:gd name="connsiteX1" fmla="*/ 47632 w 56704"/>
                <a:gd name="connsiteY1" fmla="*/ 60593 h 64805"/>
                <a:gd name="connsiteX2" fmla="*/ 12151 w 56704"/>
                <a:gd name="connsiteY2" fmla="*/ 60593 h 64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704" h="64805">
                  <a:moveTo>
                    <a:pt x="47632" y="12151"/>
                  </a:moveTo>
                  <a:lnTo>
                    <a:pt x="47632" y="60593"/>
                  </a:lnTo>
                  <a:lnTo>
                    <a:pt x="12151" y="60593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B422E38-8BB2-4EB5-A971-BA22AD7DF113}"/>
                </a:ext>
              </a:extLst>
            </p:cNvPr>
            <p:cNvSpPr/>
            <p:nvPr/>
          </p:nvSpPr>
          <p:spPr>
            <a:xfrm>
              <a:off x="6003093" y="5592556"/>
              <a:ext cx="56705" cy="186315"/>
            </a:xfrm>
            <a:custGeom>
              <a:avLst/>
              <a:gdLst>
                <a:gd name="connsiteX0" fmla="*/ 12151 w 56704"/>
                <a:gd name="connsiteY0" fmla="*/ 12151 h 186315"/>
                <a:gd name="connsiteX1" fmla="*/ 48442 w 56704"/>
                <a:gd name="connsiteY1" fmla="*/ 12151 h 186315"/>
                <a:gd name="connsiteX2" fmla="*/ 48442 w 56704"/>
                <a:gd name="connsiteY2" fmla="*/ 178944 h 18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704" h="186315">
                  <a:moveTo>
                    <a:pt x="12151" y="12151"/>
                  </a:moveTo>
                  <a:lnTo>
                    <a:pt x="48442" y="12151"/>
                  </a:lnTo>
                  <a:lnTo>
                    <a:pt x="48442" y="178944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74C75E6-C7C2-42CD-BB01-B320DA7EC083}"/>
                </a:ext>
              </a:extLst>
            </p:cNvPr>
            <p:cNvSpPr/>
            <p:nvPr/>
          </p:nvSpPr>
          <p:spPr>
            <a:xfrm>
              <a:off x="5707256" y="5552053"/>
              <a:ext cx="162013" cy="469839"/>
            </a:xfrm>
            <a:custGeom>
              <a:avLst/>
              <a:gdLst>
                <a:gd name="connsiteX0" fmla="*/ 156829 w 162013"/>
                <a:gd name="connsiteY0" fmla="*/ 464897 h 469838"/>
                <a:gd name="connsiteX1" fmla="*/ 41313 w 162013"/>
                <a:gd name="connsiteY1" fmla="*/ 464897 h 469838"/>
                <a:gd name="connsiteX2" fmla="*/ 12151 w 162013"/>
                <a:gd name="connsiteY2" fmla="*/ 435735 h 469838"/>
                <a:gd name="connsiteX3" fmla="*/ 12151 w 162013"/>
                <a:gd name="connsiteY3" fmla="*/ 41313 h 469838"/>
                <a:gd name="connsiteX4" fmla="*/ 41313 w 162013"/>
                <a:gd name="connsiteY4" fmla="*/ 12151 h 469838"/>
                <a:gd name="connsiteX5" fmla="*/ 110898 w 162013"/>
                <a:gd name="connsiteY5" fmla="*/ 12151 h 469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2013" h="469838">
                  <a:moveTo>
                    <a:pt x="156829" y="464897"/>
                  </a:moveTo>
                  <a:lnTo>
                    <a:pt x="41313" y="464897"/>
                  </a:lnTo>
                  <a:cubicBezTo>
                    <a:pt x="25193" y="464897"/>
                    <a:pt x="12151" y="451855"/>
                    <a:pt x="12151" y="435735"/>
                  </a:cubicBezTo>
                  <a:lnTo>
                    <a:pt x="12151" y="41313"/>
                  </a:lnTo>
                  <a:cubicBezTo>
                    <a:pt x="12151" y="25193"/>
                    <a:pt x="25193" y="12151"/>
                    <a:pt x="41313" y="12151"/>
                  </a:cubicBezTo>
                  <a:lnTo>
                    <a:pt x="110898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78CDD2E9-9857-478A-B0E0-81A8B6977539}"/>
                </a:ext>
              </a:extLst>
            </p:cNvPr>
            <p:cNvSpPr/>
            <p:nvPr/>
          </p:nvSpPr>
          <p:spPr>
            <a:xfrm>
              <a:off x="5947684" y="5870166"/>
              <a:ext cx="153913" cy="153913"/>
            </a:xfrm>
            <a:custGeom>
              <a:avLst/>
              <a:gdLst>
                <a:gd name="connsiteX0" fmla="*/ 144354 w 153912"/>
                <a:gd name="connsiteY0" fmla="*/ 12151 h 153912"/>
                <a:gd name="connsiteX1" fmla="*/ 144354 w 153912"/>
                <a:gd name="connsiteY1" fmla="*/ 117541 h 153912"/>
                <a:gd name="connsiteX2" fmla="*/ 115192 w 153912"/>
                <a:gd name="connsiteY2" fmla="*/ 146703 h 153912"/>
                <a:gd name="connsiteX3" fmla="*/ 12151 w 153912"/>
                <a:gd name="connsiteY3" fmla="*/ 146703 h 15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3912" h="153912">
                  <a:moveTo>
                    <a:pt x="144354" y="12151"/>
                  </a:moveTo>
                  <a:lnTo>
                    <a:pt x="144354" y="117541"/>
                  </a:lnTo>
                  <a:cubicBezTo>
                    <a:pt x="144354" y="133661"/>
                    <a:pt x="131312" y="146703"/>
                    <a:pt x="115192" y="146703"/>
                  </a:cubicBezTo>
                  <a:lnTo>
                    <a:pt x="12151" y="146703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D76B6603-E5A8-48C7-A3A3-B8941E08E8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0305530"/>
              </p:ext>
            </p:extLst>
          </p:nvPr>
        </p:nvGraphicFramePr>
        <p:xfrm>
          <a:off x="438150" y="2131731"/>
          <a:ext cx="11310938" cy="4335780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17324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556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422770">
                  <a:extLst>
                    <a:ext uri="{9D8B030D-6E8A-4147-A177-3AD203B41FA5}">
                      <a16:colId xmlns:a16="http://schemas.microsoft.com/office/drawing/2014/main" val="79825979"/>
                    </a:ext>
                  </a:extLst>
                </a:gridCol>
              </a:tblGrid>
              <a:tr h="122049">
                <a:tc gridSpan="3">
                  <a:txBody>
                    <a:bodyPr/>
                    <a:lstStyle/>
                    <a:p>
                      <a:pPr algn="l"/>
                      <a:r>
                        <a:rPr lang="ru-RU" sz="11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рупцияга</a:t>
                      </a:r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ид</a:t>
                      </a:r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иноятларни</a:t>
                      </a:r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кумлаш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9A9F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EB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18000" marT="18000" marB="18000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EB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7249">
                <a:tc>
                  <a:txBody>
                    <a:bodyPr/>
                    <a:lstStyle/>
                    <a:p>
                      <a:pPr algn="l">
                        <a:spcAft>
                          <a:spcPts val="300"/>
                        </a:spcAft>
                      </a:pPr>
                      <a:r>
                        <a:rPr lang="ru-RU" sz="1100" b="1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ўламига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ўра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 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атта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оррупция,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одатд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ҳокимиятнинг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энг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юқор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поғонасид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ҳокимиятн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суиистеъмол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қилиш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шаклид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юзаг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елад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одамларнинг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енг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доирас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учун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бутун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жамиятг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таъсир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қиладиган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оқибатларг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олиб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елад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оррупциянинг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асосий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тури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атт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миқдорд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пора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беришн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ўз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ичига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олад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Ўзбекистон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Республикас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Жиноят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одексиг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мувофиқ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пора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миқдорин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тартибг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солиш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: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атта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бўлмаган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30-100 БҲМ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Сезиларли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00-300 БҲМ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атта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00 - 500 БҲМ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Жуда</a:t>
                      </a:r>
                      <a:r>
                        <a:rPr lang="ru-RU" sz="1100" b="1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1" kern="1200" baseline="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атта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500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ундан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юқор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БҲМ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300"/>
                        </a:spcAft>
                      </a:pPr>
                      <a:r>
                        <a:rPr lang="ru-RU" sz="1100" b="1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ичик</a:t>
                      </a:r>
                      <a:r>
                        <a:rPr lang="ru-RU" sz="11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оррупция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одатд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ундалик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ишлард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ўз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мажбуриятларин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жойлард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бажарувч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давлат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хизматчилар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даражасид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содир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бўлад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в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учинч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шахслар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учун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аниқ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салбий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оқибатларг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олиб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елмаслиг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мумкин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ичкин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коррупция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кичик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миқдорд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бериш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ёк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пора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шаклид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совға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беришн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ўз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ичига </a:t>
                      </a:r>
                      <a:r>
                        <a:rPr lang="ru-RU" sz="1100" b="0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олади</a:t>
                      </a:r>
                      <a:r>
                        <a:rPr lang="ru-RU" sz="1100" b="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1480">
                <a:tc>
                  <a:txBody>
                    <a:bodyPr/>
                    <a:lstStyle/>
                    <a:p>
                      <a:pPr algn="l">
                        <a:spcAft>
                          <a:spcPts val="300"/>
                        </a:spcAft>
                      </a:pP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Марказлаштириш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даражаси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:</a:t>
                      </a:r>
                      <a:endParaRPr lang="en-US" sz="11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300"/>
                        </a:spcAft>
                      </a:pP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Марказлаштирилган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коррупция пора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миқдорин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қуй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ходимлардан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юқор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ходимларга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тақсимлашн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назарда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тутад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(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юқоридан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пастгача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тескар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ҳаракат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ҳам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мавжуд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).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300"/>
                        </a:spcAft>
                      </a:pP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Марказлаштирилмаган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коррупция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ўз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ташаббус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билан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индивидуал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ҳаракатларн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ўз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ичига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олад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.</a:t>
                      </a:r>
                      <a:endParaRPr lang="en-US" sz="1100" b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49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шаббусига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ўра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algn="l">
                        <a:spcAft>
                          <a:spcPts val="300"/>
                        </a:spcAft>
                      </a:pPr>
                      <a:endParaRPr lang="en-US" sz="11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ол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рупция пора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клиф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ш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ёк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ришн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з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чига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ад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ссив 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рупция пора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ўраш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ёк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ишн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з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чига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ад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56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Мансабдор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шахснинг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кутилаётган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ҳаракатлари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бўйича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:</a:t>
                      </a:r>
                      <a:endParaRPr lang="en-US" sz="11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300"/>
                        </a:spcAft>
                      </a:pP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Ижобий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ҳаракат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-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мансабдор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шахс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томонидан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манфаатдор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шахснинг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манфаатларин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кўзлаб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қарорлар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ёк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ҳаракатларн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қабул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қилиш</a:t>
                      </a:r>
                      <a:endParaRPr lang="ru-RU" sz="1100" b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Пассив </a:t>
                      </a: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ҳаракат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-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бу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мансабдор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шахснинг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ўз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хизмат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вазифаларига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зид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бўлган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ҳаракатлар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қарорларининг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мавжуд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эмаслиг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.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5050223"/>
                  </a:ext>
                </a:extLst>
              </a:tr>
              <a:tr h="1735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имийлиги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ўйича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endParaRPr lang="en-US" sz="11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Бир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марталик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коррупция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ҳолатлар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одатда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марказлаштирилмаган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даражада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содир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бўлади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.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9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err="1">
                          <a:solidFill>
                            <a:schemeClr val="tx2"/>
                          </a:solidFill>
                        </a:rPr>
                        <a:t>Тизимли</a:t>
                      </a:r>
                      <a:r>
                        <a:rPr lang="ru-RU" sz="11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коррупция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институционал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хусусиятга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err="1">
                          <a:solidFill>
                            <a:schemeClr val="tx2"/>
                          </a:solidFill>
                        </a:rPr>
                        <a:t>эга</a:t>
                      </a:r>
                      <a:r>
                        <a:rPr lang="ru-RU" sz="1100" b="0" dirty="0">
                          <a:solidFill>
                            <a:schemeClr val="tx2"/>
                          </a:solidFill>
                        </a:rPr>
                        <a:t>.</a:t>
                      </a:r>
                    </a:p>
                  </a:txBody>
                  <a:tcPr marL="45720" marR="45720">
                    <a:lnL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BD7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19065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76600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2C6541-2A31-4E7F-B834-4CE389EA3A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sz="4800" dirty="0" err="1"/>
              <a:t>Коррупциянинг</a:t>
            </a:r>
            <a:r>
              <a:rPr lang="ru-RU" sz="4800" dirty="0"/>
              <a:t> </a:t>
            </a:r>
            <a:r>
              <a:rPr lang="ru-RU" sz="4800" dirty="0" err="1"/>
              <a:t>ижтимоий</a:t>
            </a:r>
            <a:r>
              <a:rPr lang="ru-RU" sz="4800" dirty="0"/>
              <a:t>, </a:t>
            </a:r>
            <a:r>
              <a:rPr lang="ru-RU" sz="4800" dirty="0" err="1"/>
              <a:t>иқтисодий</a:t>
            </a:r>
            <a:r>
              <a:rPr lang="ru-RU" sz="4800" dirty="0"/>
              <a:t> </a:t>
            </a:r>
            <a:r>
              <a:rPr lang="ru-RU" sz="4800" dirty="0" err="1"/>
              <a:t>ва</a:t>
            </a:r>
            <a:r>
              <a:rPr lang="ru-RU" sz="4800" dirty="0"/>
              <a:t> </a:t>
            </a:r>
            <a:r>
              <a:rPr lang="ru-RU" sz="4800" dirty="0" err="1"/>
              <a:t>сиёсий</a:t>
            </a:r>
            <a:r>
              <a:rPr lang="ru-RU" sz="4800" dirty="0"/>
              <a:t> </a:t>
            </a:r>
            <a:r>
              <a:rPr lang="ru-RU" sz="4800" dirty="0" err="1"/>
              <a:t>оқибатлари</a:t>
            </a:r>
            <a:r>
              <a:rPr lang="ru-RU" sz="4800" dirty="0"/>
              <a:t>: </a:t>
            </a:r>
            <a:r>
              <a:rPr lang="ru-RU" sz="4800" dirty="0" err="1"/>
              <a:t>фуқаролар</a:t>
            </a:r>
            <a:r>
              <a:rPr lang="ru-RU" sz="4800" dirty="0"/>
              <a:t>, </a:t>
            </a:r>
            <a:r>
              <a:rPr lang="ru-RU" sz="4800" dirty="0" err="1"/>
              <a:t>ташкилотлар</a:t>
            </a:r>
            <a:r>
              <a:rPr lang="ru-RU" sz="4800" dirty="0"/>
              <a:t> </a:t>
            </a:r>
            <a:r>
              <a:rPr lang="ru-RU" sz="4800" dirty="0" err="1"/>
              <a:t>ва</a:t>
            </a:r>
            <a:r>
              <a:rPr lang="ru-RU" sz="4800" dirty="0"/>
              <a:t> </a:t>
            </a:r>
            <a:r>
              <a:rPr lang="ru-RU" sz="4800" dirty="0" err="1"/>
              <a:t>бутун</a:t>
            </a:r>
            <a:r>
              <a:rPr lang="ru-RU" sz="4800" dirty="0"/>
              <a:t> </a:t>
            </a:r>
            <a:r>
              <a:rPr lang="ru-RU" sz="4800" dirty="0" err="1"/>
              <a:t>мамлакат</a:t>
            </a:r>
            <a:r>
              <a:rPr lang="ru-RU" sz="4800" dirty="0"/>
              <a:t> </a:t>
            </a:r>
            <a:r>
              <a:rPr lang="ru-RU" sz="4800" dirty="0" err="1"/>
              <a:t>учун</a:t>
            </a:r>
            <a:r>
              <a:rPr lang="ru-RU" sz="4800" dirty="0"/>
              <a:t> </a:t>
            </a:r>
            <a:r>
              <a:rPr lang="ru-RU" sz="4800" dirty="0" err="1"/>
              <a:t>оқибатлари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EE0174C-B42B-4279-A654-0497B7B9D41F}"/>
              </a:ext>
            </a:extLst>
          </p:cNvPr>
          <p:cNvSpPr txBox="1">
            <a:spLocks/>
          </p:cNvSpPr>
          <p:nvPr/>
        </p:nvSpPr>
        <p:spPr>
          <a:xfrm>
            <a:off x="350378" y="5223794"/>
            <a:ext cx="2020192" cy="15216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9600" b="1" dirty="0">
                <a:solidFill>
                  <a:srgbClr val="1BD7D3"/>
                </a:solidFill>
                <a:latin typeface="Arial Black" panose="020B0A04020102020204" pitchFamily="34" charset="0"/>
              </a:rPr>
              <a:t>4.</a:t>
            </a:r>
            <a:endParaRPr lang="en-US" sz="9600" b="1" dirty="0">
              <a:solidFill>
                <a:srgbClr val="1BD7D3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12520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CDAD5B9-820A-44FE-9587-FF04A470C4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763339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CDAD5B9-820A-44FE-9587-FF04A470C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itle 1">
            <a:extLst>
              <a:ext uri="{FF2B5EF4-FFF2-40B4-BE49-F238E27FC236}">
                <a16:creationId xmlns:a16="http://schemas.microsoft.com/office/drawing/2014/main" id="{D9D19B09-408C-4CBB-B775-48BDB0FCB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98" y="438150"/>
            <a:ext cx="7964290" cy="434975"/>
          </a:xfrm>
        </p:spPr>
        <p:txBody>
          <a:bodyPr>
            <a:noAutofit/>
          </a:bodyPr>
          <a:lstStyle/>
          <a:p>
            <a:r>
              <a:rPr lang="ru-RU" dirty="0" err="1"/>
              <a:t>Коррупциянинг</a:t>
            </a:r>
            <a:r>
              <a:rPr lang="ru-RU" dirty="0"/>
              <a:t> </a:t>
            </a:r>
            <a:r>
              <a:rPr lang="ru-RU" dirty="0" err="1"/>
              <a:t>оқибатлари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56C131-C139-49EF-8E37-4FC0093E8A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C385A1-EF72-4D98-97C1-0AA56B3ED161}"/>
              </a:ext>
            </a:extLst>
          </p:cNvPr>
          <p:cNvSpPr txBox="1">
            <a:spLocks/>
          </p:cNvSpPr>
          <p:nvPr/>
        </p:nvSpPr>
        <p:spPr>
          <a:xfrm>
            <a:off x="438149" y="1688638"/>
            <a:ext cx="2953239" cy="25317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dirty="0" err="1">
                <a:solidFill>
                  <a:schemeClr val="tx2"/>
                </a:solidFill>
              </a:rPr>
              <a:t>Афсуски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мамлак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раққиёти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урл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ўринишдаг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>
                <a:solidFill>
                  <a:srgbClr val="002060"/>
                </a:solidFill>
              </a:rPr>
              <a:t>коррупция </a:t>
            </a:r>
            <a:r>
              <a:rPr lang="ru-RU" sz="1600" dirty="0" err="1">
                <a:solidFill>
                  <a:srgbClr val="002060"/>
                </a:solidFill>
              </a:rPr>
              <a:t>тўсқинлик</a:t>
            </a:r>
            <a:r>
              <a:rPr lang="ru-RU" sz="1600" dirty="0">
                <a:solidFill>
                  <a:srgbClr val="002060"/>
                </a:solidFill>
              </a:rPr>
              <a:t> </a:t>
            </a:r>
            <a:r>
              <a:rPr lang="ru-RU" sz="1600" dirty="0" err="1">
                <a:solidFill>
                  <a:srgbClr val="002060"/>
                </a:solidFill>
              </a:rPr>
              <a:t>қилмоқда</a:t>
            </a:r>
            <a:r>
              <a:rPr lang="ru-RU" sz="1600" dirty="0">
                <a:solidFill>
                  <a:schemeClr val="tx2"/>
                </a:solidFill>
              </a:rPr>
              <a:t>. </a:t>
            </a:r>
            <a:r>
              <a:rPr lang="ru-RU" sz="1600" dirty="0" err="1">
                <a:solidFill>
                  <a:schemeClr val="tx2"/>
                </a:solidFill>
              </a:rPr>
              <a:t>Аг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из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у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иллат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арҳам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ермасак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чинакам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ула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ишбилармонлик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сармояви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уҳит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ярат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олмаймиз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жамиятимиз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ирорт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ам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соҳас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ривожланмайди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08050E7-A7CD-4E4E-90B0-D8860E0017D2}"/>
              </a:ext>
            </a:extLst>
          </p:cNvPr>
          <p:cNvGrpSpPr/>
          <p:nvPr/>
        </p:nvGrpSpPr>
        <p:grpSpPr>
          <a:xfrm>
            <a:off x="431999" y="1123489"/>
            <a:ext cx="481622" cy="599694"/>
            <a:chOff x="431999" y="1123489"/>
            <a:chExt cx="481622" cy="59969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44AA4830-39E8-4F01-848E-594C65165DC7}"/>
                </a:ext>
              </a:extLst>
            </p:cNvPr>
            <p:cNvSpPr/>
            <p:nvPr/>
          </p:nvSpPr>
          <p:spPr>
            <a:xfrm>
              <a:off x="481821" y="1158033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solidFill>
                    <a:schemeClr val="bg1">
                      <a:lumMod val="85000"/>
                    </a:schemeClr>
                  </a:solidFill>
                </a:rPr>
                <a:t>“</a:t>
              </a:r>
              <a:endParaRPr lang="ru-RU" sz="66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CF01AE9-B9B0-4694-AB55-D965FD03C8DE}"/>
                </a:ext>
              </a:extLst>
            </p:cNvPr>
            <p:cNvSpPr/>
            <p:nvPr/>
          </p:nvSpPr>
          <p:spPr>
            <a:xfrm>
              <a:off x="431999" y="1123489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ln>
                    <a:solidFill>
                      <a:srgbClr val="2112AE"/>
                    </a:solidFill>
                  </a:ln>
                  <a:solidFill>
                    <a:srgbClr val="1BD7D3"/>
                  </a:solidFill>
                </a:rPr>
                <a:t>“</a:t>
              </a:r>
              <a:endParaRPr lang="ru-RU" sz="6600" dirty="0">
                <a:ln>
                  <a:solidFill>
                    <a:srgbClr val="2112AE"/>
                  </a:solidFill>
                </a:ln>
                <a:solidFill>
                  <a:srgbClr val="1BD7D3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7A59BE8-0DE0-4F9C-B6D7-F65B081625D8}"/>
              </a:ext>
            </a:extLst>
          </p:cNvPr>
          <p:cNvGrpSpPr/>
          <p:nvPr/>
        </p:nvGrpSpPr>
        <p:grpSpPr>
          <a:xfrm>
            <a:off x="2959589" y="4112169"/>
            <a:ext cx="481622" cy="599694"/>
            <a:chOff x="2959589" y="4930589"/>
            <a:chExt cx="481622" cy="599694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4B60B08-FAA0-4229-8A7C-DCD951C4DA6A}"/>
                </a:ext>
              </a:extLst>
            </p:cNvPr>
            <p:cNvSpPr/>
            <p:nvPr/>
          </p:nvSpPr>
          <p:spPr>
            <a:xfrm flipV="1">
              <a:off x="3009411" y="4965133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solidFill>
                    <a:schemeClr val="bg1">
                      <a:lumMod val="85000"/>
                    </a:schemeClr>
                  </a:solidFill>
                </a:rPr>
                <a:t>“</a:t>
              </a:r>
              <a:endParaRPr lang="ru-RU" sz="66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B0DE85CB-2E5D-4602-B877-1DA757B7145C}"/>
                </a:ext>
              </a:extLst>
            </p:cNvPr>
            <p:cNvSpPr/>
            <p:nvPr/>
          </p:nvSpPr>
          <p:spPr>
            <a:xfrm flipV="1">
              <a:off x="2959589" y="4930589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ln>
                    <a:solidFill>
                      <a:srgbClr val="2112AE"/>
                    </a:solidFill>
                  </a:ln>
                  <a:solidFill>
                    <a:srgbClr val="1BD7D3"/>
                  </a:solidFill>
                </a:rPr>
                <a:t>“</a:t>
              </a:r>
              <a:endParaRPr lang="ru-RU" sz="6600" dirty="0">
                <a:ln>
                  <a:solidFill>
                    <a:srgbClr val="2112AE"/>
                  </a:solidFill>
                </a:ln>
                <a:solidFill>
                  <a:srgbClr val="1BD7D3"/>
                </a:solidFill>
              </a:endParaRPr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0CE6A720-F6DC-4F52-A2F3-61A2F70186A3}"/>
              </a:ext>
            </a:extLst>
          </p:cNvPr>
          <p:cNvSpPr txBox="1">
            <a:spLocks/>
          </p:cNvSpPr>
          <p:nvPr/>
        </p:nvSpPr>
        <p:spPr>
          <a:xfrm>
            <a:off x="431999" y="4670242"/>
            <a:ext cx="2853068" cy="565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400" i="1" dirty="0">
                <a:solidFill>
                  <a:schemeClr val="bg1">
                    <a:lumMod val="50000"/>
                  </a:schemeClr>
                </a:solidFill>
              </a:rPr>
              <a:t>Шавкат Миромонович Мирзиёев,</a:t>
            </a:r>
            <a:br>
              <a:rPr lang="ru-RU" sz="1400" i="1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1400" i="1" dirty="0">
                <a:solidFill>
                  <a:schemeClr val="bg1">
                    <a:lumMod val="50000"/>
                  </a:schemeClr>
                </a:solidFill>
              </a:rPr>
              <a:t>Президент Республики Узбекистан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EA35EC2-F800-4E8E-A9E9-E850AE730309}"/>
              </a:ext>
            </a:extLst>
          </p:cNvPr>
          <p:cNvCxnSpPr>
            <a:cxnSpLocks/>
          </p:cNvCxnSpPr>
          <p:nvPr/>
        </p:nvCxnSpPr>
        <p:spPr>
          <a:xfrm>
            <a:off x="3784798" y="3514107"/>
            <a:ext cx="7964290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0BC09883-9184-458E-BD8E-85FA44E43DB3}"/>
              </a:ext>
            </a:extLst>
          </p:cNvPr>
          <p:cNvSpPr/>
          <p:nvPr/>
        </p:nvSpPr>
        <p:spPr>
          <a:xfrm>
            <a:off x="3784797" y="1660111"/>
            <a:ext cx="7964290" cy="1723549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dirty="0">
                <a:solidFill>
                  <a:schemeClr val="tx2"/>
                </a:solidFill>
              </a:rPr>
              <a:t>Коррупция </a:t>
            </a:r>
            <a:r>
              <a:rPr lang="ru-RU" sz="1600" dirty="0" err="1">
                <a:solidFill>
                  <a:schemeClr val="tx2"/>
                </a:solidFill>
              </a:rPr>
              <a:t>оқибатла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амлак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ижтимоий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иқтисоди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сиёси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аёти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арч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осқичлари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намоё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ўлади</a:t>
            </a:r>
            <a:r>
              <a:rPr lang="ru-RU" sz="1600" dirty="0">
                <a:solidFill>
                  <a:schemeClr val="tx2"/>
                </a:solidFill>
              </a:rPr>
              <a:t>. Улар </a:t>
            </a:r>
            <a:r>
              <a:rPr lang="ru-RU" sz="1600" dirty="0" err="1">
                <a:solidFill>
                  <a:schemeClr val="tx2"/>
                </a:solidFill>
              </a:rPr>
              <a:t>нафақ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уту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жамия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ривожи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салби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ъси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ўрсатиши</a:t>
            </a:r>
            <a:r>
              <a:rPr lang="ru-RU" sz="1600" dirty="0">
                <a:solidFill>
                  <a:schemeClr val="tx2"/>
                </a:solidFill>
              </a:rPr>
              <a:t>, балки </a:t>
            </a:r>
            <a:r>
              <a:rPr lang="ru-RU" sz="1600" dirty="0" err="1">
                <a:solidFill>
                  <a:schemeClr val="tx2"/>
                </a:solidFill>
              </a:rPr>
              <a:t>мамлак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илли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хавфсизлиги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ам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ҳдид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солиш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умкин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ru-RU" sz="1600" b="1" dirty="0" err="1">
                <a:solidFill>
                  <a:srgbClr val="2112AE"/>
                </a:solidFill>
              </a:rPr>
              <a:t>Коррупциянинг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барча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оқибатлари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бир-бири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билан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чамбарчас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боғлиқ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бўлиб</a:t>
            </a:r>
            <a:r>
              <a:rPr lang="ru-RU" sz="1600" b="1" dirty="0">
                <a:solidFill>
                  <a:srgbClr val="2112AE"/>
                </a:solidFill>
              </a:rPr>
              <a:t>, </a:t>
            </a:r>
            <a:r>
              <a:rPr lang="ru-RU" sz="1600" b="1" dirty="0" err="1">
                <a:solidFill>
                  <a:srgbClr val="2112AE"/>
                </a:solidFill>
              </a:rPr>
              <a:t>уларни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учта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катта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гуруҳга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бўлиш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мумкин</a:t>
            </a:r>
            <a:r>
              <a:rPr lang="ru-RU" sz="1600" b="1" dirty="0">
                <a:solidFill>
                  <a:srgbClr val="2112AE"/>
                </a:solidFill>
              </a:rPr>
              <a:t>:</a:t>
            </a:r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C3FEB840-5616-4299-8FE2-4E14DDA1CEB7}"/>
              </a:ext>
            </a:extLst>
          </p:cNvPr>
          <p:cNvSpPr/>
          <p:nvPr/>
        </p:nvSpPr>
        <p:spPr>
          <a:xfrm>
            <a:off x="3794630" y="3769255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20">
            <a:extLst>
              <a:ext uri="{FF2B5EF4-FFF2-40B4-BE49-F238E27FC236}">
                <a16:creationId xmlns:a16="http://schemas.microsoft.com/office/drawing/2014/main" id="{46F54F40-A6B3-4611-B106-CB48115334E6}"/>
              </a:ext>
            </a:extLst>
          </p:cNvPr>
          <p:cNvSpPr txBox="1"/>
          <p:nvPr/>
        </p:nvSpPr>
        <p:spPr>
          <a:xfrm>
            <a:off x="4679672" y="3982966"/>
            <a:ext cx="7069415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pc="-20" dirty="0" err="1">
                <a:solidFill>
                  <a:schemeClr val="tx2"/>
                </a:solidFill>
                <a:cs typeface="Arial"/>
              </a:rPr>
              <a:t>Коррупциянинг</a:t>
            </a:r>
            <a:r>
              <a:rPr lang="ru-RU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pc="-20" dirty="0" err="1">
                <a:solidFill>
                  <a:schemeClr val="tx2"/>
                </a:solidFill>
                <a:cs typeface="Arial"/>
              </a:rPr>
              <a:t>иқтисодий</a:t>
            </a:r>
            <a:r>
              <a:rPr lang="ru-RU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pc="-20" dirty="0" err="1">
                <a:solidFill>
                  <a:schemeClr val="tx2"/>
                </a:solidFill>
                <a:cs typeface="Arial"/>
              </a:rPr>
              <a:t>оқибатлари</a:t>
            </a:r>
            <a:endParaRPr lang="ru-RU" spc="-2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37" name="object 12">
            <a:extLst>
              <a:ext uri="{FF2B5EF4-FFF2-40B4-BE49-F238E27FC236}">
                <a16:creationId xmlns:a16="http://schemas.microsoft.com/office/drawing/2014/main" id="{82DF5458-BB17-42C2-B605-99DE24C96614}"/>
              </a:ext>
            </a:extLst>
          </p:cNvPr>
          <p:cNvSpPr/>
          <p:nvPr/>
        </p:nvSpPr>
        <p:spPr>
          <a:xfrm>
            <a:off x="3784797" y="458102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20">
            <a:extLst>
              <a:ext uri="{FF2B5EF4-FFF2-40B4-BE49-F238E27FC236}">
                <a16:creationId xmlns:a16="http://schemas.microsoft.com/office/drawing/2014/main" id="{C71FD96C-D41C-4F72-BAB5-4A1806D7577F}"/>
              </a:ext>
            </a:extLst>
          </p:cNvPr>
          <p:cNvSpPr txBox="1"/>
          <p:nvPr/>
        </p:nvSpPr>
        <p:spPr>
          <a:xfrm>
            <a:off x="4669839" y="4794737"/>
            <a:ext cx="7069415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pc="-20" dirty="0" err="1">
                <a:solidFill>
                  <a:schemeClr val="tx2"/>
                </a:solidFill>
                <a:cs typeface="Arial"/>
              </a:rPr>
              <a:t>Коррупциянинг</a:t>
            </a:r>
            <a:r>
              <a:rPr lang="ru-RU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pc="-20" dirty="0" err="1">
                <a:solidFill>
                  <a:schemeClr val="tx2"/>
                </a:solidFill>
                <a:cs typeface="Arial"/>
              </a:rPr>
              <a:t>сиёсий</a:t>
            </a:r>
            <a:r>
              <a:rPr lang="ru-RU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pc="-20" dirty="0" err="1">
                <a:solidFill>
                  <a:schemeClr val="tx2"/>
                </a:solidFill>
                <a:cs typeface="Arial"/>
              </a:rPr>
              <a:t>оқибатлари</a:t>
            </a:r>
            <a:endParaRPr lang="ru-RU" spc="-2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39" name="object 12">
            <a:extLst>
              <a:ext uri="{FF2B5EF4-FFF2-40B4-BE49-F238E27FC236}">
                <a16:creationId xmlns:a16="http://schemas.microsoft.com/office/drawing/2014/main" id="{CEDE9F45-0618-4806-8CB2-A89F59785F98}"/>
              </a:ext>
            </a:extLst>
          </p:cNvPr>
          <p:cNvSpPr/>
          <p:nvPr/>
        </p:nvSpPr>
        <p:spPr>
          <a:xfrm>
            <a:off x="3784797" y="5392797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0" name="object 20">
            <a:extLst>
              <a:ext uri="{FF2B5EF4-FFF2-40B4-BE49-F238E27FC236}">
                <a16:creationId xmlns:a16="http://schemas.microsoft.com/office/drawing/2014/main" id="{0629C12D-F635-4F42-9048-88F3C2D8A798}"/>
              </a:ext>
            </a:extLst>
          </p:cNvPr>
          <p:cNvSpPr txBox="1"/>
          <p:nvPr/>
        </p:nvSpPr>
        <p:spPr>
          <a:xfrm>
            <a:off x="4669839" y="5606508"/>
            <a:ext cx="7069415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pc="-20" dirty="0" err="1">
                <a:solidFill>
                  <a:schemeClr val="tx2"/>
                </a:solidFill>
                <a:cs typeface="Arial"/>
              </a:rPr>
              <a:t>Коррупциянинг</a:t>
            </a:r>
            <a:r>
              <a:rPr lang="ru-RU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pc="-20" dirty="0" err="1">
                <a:solidFill>
                  <a:schemeClr val="tx2"/>
                </a:solidFill>
                <a:cs typeface="Arial"/>
              </a:rPr>
              <a:t>ижтимоий</a:t>
            </a:r>
            <a:r>
              <a:rPr lang="ru-RU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pc="-20" dirty="0" err="1">
                <a:solidFill>
                  <a:schemeClr val="tx2"/>
                </a:solidFill>
                <a:cs typeface="Arial"/>
              </a:rPr>
              <a:t>оқибатлари</a:t>
            </a:r>
            <a:endParaRPr lang="ru-RU" spc="-20" dirty="0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93339C0-5785-496B-80AC-F8E55F09FBC1}"/>
              </a:ext>
            </a:extLst>
          </p:cNvPr>
          <p:cNvGrpSpPr/>
          <p:nvPr/>
        </p:nvGrpSpPr>
        <p:grpSpPr>
          <a:xfrm>
            <a:off x="4048237" y="4694282"/>
            <a:ext cx="523141" cy="490091"/>
            <a:chOff x="8817915" y="5519812"/>
            <a:chExt cx="523141" cy="490091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0B961065-65FA-456C-9501-96C6C31D23F5}"/>
                </a:ext>
              </a:extLst>
            </p:cNvPr>
            <p:cNvSpPr/>
            <p:nvPr/>
          </p:nvSpPr>
          <p:spPr>
            <a:xfrm>
              <a:off x="9242228" y="5639783"/>
              <a:ext cx="24302" cy="202517"/>
            </a:xfrm>
            <a:custGeom>
              <a:avLst/>
              <a:gdLst>
                <a:gd name="connsiteX0" fmla="*/ 12151 w 24302"/>
                <a:gd name="connsiteY0" fmla="*/ 12151 h 202516"/>
                <a:gd name="connsiteX1" fmla="*/ 12151 w 24302"/>
                <a:gd name="connsiteY1" fmla="*/ 195145 h 20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202516">
                  <a:moveTo>
                    <a:pt x="12151" y="12151"/>
                  </a:moveTo>
                  <a:lnTo>
                    <a:pt x="12151" y="195145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3D4DA08-C060-4B20-82A5-9D04EB91BE2F}"/>
                </a:ext>
              </a:extLst>
            </p:cNvPr>
            <p:cNvSpPr/>
            <p:nvPr/>
          </p:nvSpPr>
          <p:spPr>
            <a:xfrm>
              <a:off x="9197269" y="5699971"/>
              <a:ext cx="24302" cy="145812"/>
            </a:xfrm>
            <a:custGeom>
              <a:avLst/>
              <a:gdLst>
                <a:gd name="connsiteX0" fmla="*/ 12151 w 24302"/>
                <a:gd name="connsiteY0" fmla="*/ 12151 h 145812"/>
                <a:gd name="connsiteX1" fmla="*/ 12151 w 24302"/>
                <a:gd name="connsiteY1" fmla="*/ 134957 h 14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45812">
                  <a:moveTo>
                    <a:pt x="12151" y="12151"/>
                  </a:moveTo>
                  <a:lnTo>
                    <a:pt x="12151" y="13495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D4810B4-9F2D-48A3-A8C2-95567FABAD98}"/>
                </a:ext>
              </a:extLst>
            </p:cNvPr>
            <p:cNvSpPr/>
            <p:nvPr/>
          </p:nvSpPr>
          <p:spPr>
            <a:xfrm>
              <a:off x="9152310" y="5675912"/>
              <a:ext cx="24302" cy="170114"/>
            </a:xfrm>
            <a:custGeom>
              <a:avLst/>
              <a:gdLst>
                <a:gd name="connsiteX0" fmla="*/ 12151 w 24302"/>
                <a:gd name="connsiteY0" fmla="*/ 12151 h 170114"/>
                <a:gd name="connsiteX1" fmla="*/ 12151 w 24302"/>
                <a:gd name="connsiteY1" fmla="*/ 159016 h 17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70114">
                  <a:moveTo>
                    <a:pt x="12151" y="12151"/>
                  </a:moveTo>
                  <a:lnTo>
                    <a:pt x="12151" y="159016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F6B51BC-0C70-419B-9B81-CF7F69B15E54}"/>
                </a:ext>
              </a:extLst>
            </p:cNvPr>
            <p:cNvSpPr/>
            <p:nvPr/>
          </p:nvSpPr>
          <p:spPr>
            <a:xfrm>
              <a:off x="9107433" y="5735128"/>
              <a:ext cx="24302" cy="105309"/>
            </a:xfrm>
            <a:custGeom>
              <a:avLst/>
              <a:gdLst>
                <a:gd name="connsiteX0" fmla="*/ 12151 w 24302"/>
                <a:gd name="connsiteY0" fmla="*/ 12151 h 105308"/>
                <a:gd name="connsiteX1" fmla="*/ 12151 w 24302"/>
                <a:gd name="connsiteY1" fmla="*/ 99800 h 1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05308">
                  <a:moveTo>
                    <a:pt x="12151" y="12151"/>
                  </a:moveTo>
                  <a:lnTo>
                    <a:pt x="12151" y="99800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30BD846-6321-4F2E-BFA6-50927C03E11D}"/>
                </a:ext>
              </a:extLst>
            </p:cNvPr>
            <p:cNvSpPr/>
            <p:nvPr/>
          </p:nvSpPr>
          <p:spPr>
            <a:xfrm>
              <a:off x="9062474" y="5775631"/>
              <a:ext cx="24302" cy="64805"/>
            </a:xfrm>
            <a:custGeom>
              <a:avLst/>
              <a:gdLst>
                <a:gd name="connsiteX0" fmla="*/ 12151 w 24302"/>
                <a:gd name="connsiteY0" fmla="*/ 12151 h 64805"/>
                <a:gd name="connsiteX1" fmla="*/ 12151 w 24302"/>
                <a:gd name="connsiteY1" fmla="*/ 59297 h 64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64805">
                  <a:moveTo>
                    <a:pt x="12151" y="12151"/>
                  </a:moveTo>
                  <a:lnTo>
                    <a:pt x="12151" y="5929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6BAA403-402D-4F5E-B4B2-8423CF32C524}"/>
                </a:ext>
              </a:extLst>
            </p:cNvPr>
            <p:cNvSpPr/>
            <p:nvPr/>
          </p:nvSpPr>
          <p:spPr>
            <a:xfrm>
              <a:off x="8907427" y="5961299"/>
              <a:ext cx="64805" cy="48604"/>
            </a:xfrm>
            <a:custGeom>
              <a:avLst/>
              <a:gdLst>
                <a:gd name="connsiteX0" fmla="*/ 56948 w 64805"/>
                <a:gd name="connsiteY0" fmla="*/ 12151 h 48604"/>
                <a:gd name="connsiteX1" fmla="*/ 56948 w 64805"/>
                <a:gd name="connsiteY1" fmla="*/ 23573 h 48604"/>
                <a:gd name="connsiteX2" fmla="*/ 34914 w 64805"/>
                <a:gd name="connsiteY2" fmla="*/ 37668 h 48604"/>
                <a:gd name="connsiteX3" fmla="*/ 12151 w 64805"/>
                <a:gd name="connsiteY3" fmla="*/ 23573 h 4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805" h="48604">
                  <a:moveTo>
                    <a:pt x="56948" y="12151"/>
                  </a:moveTo>
                  <a:cubicBezTo>
                    <a:pt x="56948" y="15634"/>
                    <a:pt x="56948" y="19523"/>
                    <a:pt x="56948" y="23573"/>
                  </a:cubicBezTo>
                  <a:cubicBezTo>
                    <a:pt x="56948" y="31998"/>
                    <a:pt x="47956" y="37668"/>
                    <a:pt x="34914" y="37668"/>
                  </a:cubicBezTo>
                  <a:cubicBezTo>
                    <a:pt x="20252" y="37668"/>
                    <a:pt x="12151" y="30782"/>
                    <a:pt x="12151" y="23573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B896E3C2-2269-4C89-91C2-81B44DDF0909}"/>
                </a:ext>
              </a:extLst>
            </p:cNvPr>
            <p:cNvSpPr/>
            <p:nvPr/>
          </p:nvSpPr>
          <p:spPr>
            <a:xfrm>
              <a:off x="9077703" y="5645454"/>
              <a:ext cx="32403" cy="64805"/>
            </a:xfrm>
            <a:custGeom>
              <a:avLst/>
              <a:gdLst>
                <a:gd name="connsiteX0" fmla="*/ 12151 w 32402"/>
                <a:gd name="connsiteY0" fmla="*/ 12151 h 64805"/>
                <a:gd name="connsiteX1" fmla="*/ 26975 w 32402"/>
                <a:gd name="connsiteY1" fmla="*/ 35238 h 64805"/>
                <a:gd name="connsiteX2" fmla="*/ 12151 w 32402"/>
                <a:gd name="connsiteY2" fmla="*/ 59054 h 64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2" h="64805">
                  <a:moveTo>
                    <a:pt x="12151" y="12151"/>
                  </a:moveTo>
                  <a:cubicBezTo>
                    <a:pt x="20981" y="12151"/>
                    <a:pt x="26975" y="21548"/>
                    <a:pt x="26975" y="35238"/>
                  </a:cubicBezTo>
                  <a:cubicBezTo>
                    <a:pt x="26975" y="50548"/>
                    <a:pt x="19766" y="59054"/>
                    <a:pt x="12151" y="59054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4A858F5E-6DAD-48D4-B564-B39F3E62B7B2}"/>
                </a:ext>
              </a:extLst>
            </p:cNvPr>
            <p:cNvSpPr/>
            <p:nvPr/>
          </p:nvSpPr>
          <p:spPr>
            <a:xfrm>
              <a:off x="8817915" y="5804146"/>
              <a:ext cx="64805" cy="48604"/>
            </a:xfrm>
            <a:custGeom>
              <a:avLst/>
              <a:gdLst>
                <a:gd name="connsiteX0" fmla="*/ 56948 w 64805"/>
                <a:gd name="connsiteY0" fmla="*/ 12151 h 48604"/>
                <a:gd name="connsiteX1" fmla="*/ 56948 w 64805"/>
                <a:gd name="connsiteY1" fmla="*/ 23573 h 48604"/>
                <a:gd name="connsiteX2" fmla="*/ 34914 w 64805"/>
                <a:gd name="connsiteY2" fmla="*/ 37668 h 48604"/>
                <a:gd name="connsiteX3" fmla="*/ 12151 w 64805"/>
                <a:gd name="connsiteY3" fmla="*/ 23573 h 4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805" h="48604">
                  <a:moveTo>
                    <a:pt x="56948" y="12151"/>
                  </a:moveTo>
                  <a:cubicBezTo>
                    <a:pt x="56948" y="15634"/>
                    <a:pt x="56948" y="19523"/>
                    <a:pt x="56948" y="23573"/>
                  </a:cubicBezTo>
                  <a:cubicBezTo>
                    <a:pt x="56948" y="31998"/>
                    <a:pt x="47956" y="37668"/>
                    <a:pt x="34914" y="37668"/>
                  </a:cubicBezTo>
                  <a:cubicBezTo>
                    <a:pt x="20252" y="37668"/>
                    <a:pt x="12151" y="30782"/>
                    <a:pt x="12151" y="23573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1B64643-8EC1-4B77-B92B-EDEBB5464221}"/>
                </a:ext>
              </a:extLst>
            </p:cNvPr>
            <p:cNvSpPr/>
            <p:nvPr/>
          </p:nvSpPr>
          <p:spPr>
            <a:xfrm>
              <a:off x="8862630" y="5961299"/>
              <a:ext cx="64805" cy="48604"/>
            </a:xfrm>
            <a:custGeom>
              <a:avLst/>
              <a:gdLst>
                <a:gd name="connsiteX0" fmla="*/ 56948 w 64805"/>
                <a:gd name="connsiteY0" fmla="*/ 12151 h 48604"/>
                <a:gd name="connsiteX1" fmla="*/ 56948 w 64805"/>
                <a:gd name="connsiteY1" fmla="*/ 23573 h 48604"/>
                <a:gd name="connsiteX2" fmla="*/ 34914 w 64805"/>
                <a:gd name="connsiteY2" fmla="*/ 37668 h 48604"/>
                <a:gd name="connsiteX3" fmla="*/ 12151 w 64805"/>
                <a:gd name="connsiteY3" fmla="*/ 23573 h 4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805" h="48604">
                  <a:moveTo>
                    <a:pt x="56948" y="12151"/>
                  </a:moveTo>
                  <a:cubicBezTo>
                    <a:pt x="56948" y="15634"/>
                    <a:pt x="56948" y="19523"/>
                    <a:pt x="56948" y="23573"/>
                  </a:cubicBezTo>
                  <a:cubicBezTo>
                    <a:pt x="56948" y="31998"/>
                    <a:pt x="47956" y="37668"/>
                    <a:pt x="34914" y="37668"/>
                  </a:cubicBezTo>
                  <a:cubicBezTo>
                    <a:pt x="20252" y="37668"/>
                    <a:pt x="12151" y="30782"/>
                    <a:pt x="12151" y="23573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4A7BE40B-F264-4E18-B3D8-33AD2B26366B}"/>
                </a:ext>
              </a:extLst>
            </p:cNvPr>
            <p:cNvSpPr/>
            <p:nvPr/>
          </p:nvSpPr>
          <p:spPr>
            <a:xfrm>
              <a:off x="8952224" y="5692276"/>
              <a:ext cx="24302" cy="170114"/>
            </a:xfrm>
            <a:custGeom>
              <a:avLst/>
              <a:gdLst>
                <a:gd name="connsiteX0" fmla="*/ 12151 w 24302"/>
                <a:gd name="connsiteY0" fmla="*/ 12151 h 170114"/>
                <a:gd name="connsiteX1" fmla="*/ 12151 w 24302"/>
                <a:gd name="connsiteY1" fmla="*/ 163228 h 17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70114">
                  <a:moveTo>
                    <a:pt x="12151" y="12151"/>
                  </a:moveTo>
                  <a:lnTo>
                    <a:pt x="12151" y="163228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92B0D572-6C91-4CE8-B858-6EEE569F54AB}"/>
                </a:ext>
              </a:extLst>
            </p:cNvPr>
            <p:cNvSpPr/>
            <p:nvPr/>
          </p:nvSpPr>
          <p:spPr>
            <a:xfrm>
              <a:off x="8952224" y="5806576"/>
              <a:ext cx="24302" cy="178215"/>
            </a:xfrm>
            <a:custGeom>
              <a:avLst/>
              <a:gdLst>
                <a:gd name="connsiteX0" fmla="*/ 12151 w 24302"/>
                <a:gd name="connsiteY0" fmla="*/ 12151 h 178214"/>
                <a:gd name="connsiteX1" fmla="*/ 12151 w 24302"/>
                <a:gd name="connsiteY1" fmla="*/ 168575 h 17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78214">
                  <a:moveTo>
                    <a:pt x="12151" y="12151"/>
                  </a:moveTo>
                  <a:cubicBezTo>
                    <a:pt x="12151" y="60674"/>
                    <a:pt x="12151" y="134147"/>
                    <a:pt x="12151" y="168575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6049D7A8-CE66-46C2-BE99-1B76B0C7E092}"/>
                </a:ext>
              </a:extLst>
            </p:cNvPr>
            <p:cNvSpPr/>
            <p:nvPr/>
          </p:nvSpPr>
          <p:spPr>
            <a:xfrm>
              <a:off x="8862711" y="5806576"/>
              <a:ext cx="24302" cy="186315"/>
            </a:xfrm>
            <a:custGeom>
              <a:avLst/>
              <a:gdLst>
                <a:gd name="connsiteX0" fmla="*/ 12151 w 24302"/>
                <a:gd name="connsiteY0" fmla="*/ 12151 h 186315"/>
                <a:gd name="connsiteX1" fmla="*/ 12151 w 24302"/>
                <a:gd name="connsiteY1" fmla="*/ 179673 h 18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86315">
                  <a:moveTo>
                    <a:pt x="12151" y="12151"/>
                  </a:moveTo>
                  <a:lnTo>
                    <a:pt x="12151" y="179673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AEF591EF-EF11-4798-B7F1-DA09B2EE16B6}"/>
                </a:ext>
              </a:extLst>
            </p:cNvPr>
            <p:cNvSpPr/>
            <p:nvPr/>
          </p:nvSpPr>
          <p:spPr>
            <a:xfrm>
              <a:off x="8862711" y="5692276"/>
              <a:ext cx="24302" cy="170114"/>
            </a:xfrm>
            <a:custGeom>
              <a:avLst/>
              <a:gdLst>
                <a:gd name="connsiteX0" fmla="*/ 12151 w 24302"/>
                <a:gd name="connsiteY0" fmla="*/ 163228 h 170114"/>
                <a:gd name="connsiteX1" fmla="*/ 12151 w 24302"/>
                <a:gd name="connsiteY1" fmla="*/ 12151 h 17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70114">
                  <a:moveTo>
                    <a:pt x="12151" y="163228"/>
                  </a:moveTo>
                  <a:lnTo>
                    <a:pt x="12151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22E5BA5-40BE-4248-954E-D718232FA7AD}"/>
                </a:ext>
              </a:extLst>
            </p:cNvPr>
            <p:cNvSpPr/>
            <p:nvPr/>
          </p:nvSpPr>
          <p:spPr>
            <a:xfrm>
              <a:off x="8907427" y="5826180"/>
              <a:ext cx="24302" cy="170114"/>
            </a:xfrm>
            <a:custGeom>
              <a:avLst/>
              <a:gdLst>
                <a:gd name="connsiteX0" fmla="*/ 12151 w 24302"/>
                <a:gd name="connsiteY0" fmla="*/ 12151 h 170114"/>
                <a:gd name="connsiteX1" fmla="*/ 12151 w 24302"/>
                <a:gd name="connsiteY1" fmla="*/ 158692 h 17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70114">
                  <a:moveTo>
                    <a:pt x="12151" y="12151"/>
                  </a:moveTo>
                  <a:lnTo>
                    <a:pt x="12151" y="158692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8AD3852-4E1A-49C8-9AB9-D86199BC252F}"/>
                </a:ext>
              </a:extLst>
            </p:cNvPr>
            <p:cNvSpPr/>
            <p:nvPr/>
          </p:nvSpPr>
          <p:spPr>
            <a:xfrm>
              <a:off x="8817915" y="5645454"/>
              <a:ext cx="145812" cy="194416"/>
            </a:xfrm>
            <a:custGeom>
              <a:avLst/>
              <a:gdLst>
                <a:gd name="connsiteX0" fmla="*/ 134390 w 145812"/>
                <a:gd name="connsiteY0" fmla="*/ 12151 h 194416"/>
                <a:gd name="connsiteX1" fmla="*/ 101663 w 145812"/>
                <a:gd name="connsiteY1" fmla="*/ 36858 h 194416"/>
                <a:gd name="connsiteX2" fmla="*/ 68370 w 145812"/>
                <a:gd name="connsiteY2" fmla="*/ 12151 h 194416"/>
                <a:gd name="connsiteX3" fmla="*/ 30539 w 145812"/>
                <a:gd name="connsiteY3" fmla="*/ 26813 h 194416"/>
                <a:gd name="connsiteX4" fmla="*/ 12151 w 145812"/>
                <a:gd name="connsiteY4" fmla="*/ 65210 h 194416"/>
                <a:gd name="connsiteX5" fmla="*/ 12151 w 145812"/>
                <a:gd name="connsiteY5" fmla="*/ 182589 h 194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812" h="194416">
                  <a:moveTo>
                    <a:pt x="134390" y="12151"/>
                  </a:moveTo>
                  <a:cubicBezTo>
                    <a:pt x="134390" y="12151"/>
                    <a:pt x="128639" y="36858"/>
                    <a:pt x="101663" y="36858"/>
                  </a:cubicBezTo>
                  <a:cubicBezTo>
                    <a:pt x="72339" y="36858"/>
                    <a:pt x="68370" y="12151"/>
                    <a:pt x="68370" y="12151"/>
                  </a:cubicBezTo>
                  <a:cubicBezTo>
                    <a:pt x="68370" y="12151"/>
                    <a:pt x="42447" y="16525"/>
                    <a:pt x="30539" y="26813"/>
                  </a:cubicBezTo>
                  <a:cubicBezTo>
                    <a:pt x="16201" y="39288"/>
                    <a:pt x="12151" y="55489"/>
                    <a:pt x="12151" y="65210"/>
                  </a:cubicBezTo>
                  <a:lnTo>
                    <a:pt x="12151" y="182589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62861119-FE22-4516-A83B-521EE4D9C29B}"/>
                </a:ext>
              </a:extLst>
            </p:cNvPr>
            <p:cNvSpPr/>
            <p:nvPr/>
          </p:nvSpPr>
          <p:spPr>
            <a:xfrm>
              <a:off x="8863846" y="5519812"/>
              <a:ext cx="105309" cy="105309"/>
            </a:xfrm>
            <a:custGeom>
              <a:avLst/>
              <a:gdLst>
                <a:gd name="connsiteX0" fmla="*/ 100286 w 105308"/>
                <a:gd name="connsiteY0" fmla="*/ 56219 h 105308"/>
                <a:gd name="connsiteX1" fmla="*/ 56219 w 105308"/>
                <a:gd name="connsiteY1" fmla="*/ 100286 h 105308"/>
                <a:gd name="connsiteX2" fmla="*/ 12151 w 105308"/>
                <a:gd name="connsiteY2" fmla="*/ 56219 h 105308"/>
                <a:gd name="connsiteX3" fmla="*/ 56219 w 105308"/>
                <a:gd name="connsiteY3" fmla="*/ 12151 h 105308"/>
                <a:gd name="connsiteX4" fmla="*/ 100286 w 105308"/>
                <a:gd name="connsiteY4" fmla="*/ 56219 h 1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308" h="105308">
                  <a:moveTo>
                    <a:pt x="100286" y="56219"/>
                  </a:moveTo>
                  <a:cubicBezTo>
                    <a:pt x="100286" y="80602"/>
                    <a:pt x="80521" y="100286"/>
                    <a:pt x="56219" y="100286"/>
                  </a:cubicBezTo>
                  <a:cubicBezTo>
                    <a:pt x="31917" y="100286"/>
                    <a:pt x="12151" y="80521"/>
                    <a:pt x="12151" y="56219"/>
                  </a:cubicBezTo>
                  <a:cubicBezTo>
                    <a:pt x="12151" y="31917"/>
                    <a:pt x="31917" y="12151"/>
                    <a:pt x="56219" y="12151"/>
                  </a:cubicBezTo>
                  <a:cubicBezTo>
                    <a:pt x="80521" y="12151"/>
                    <a:pt x="100286" y="31917"/>
                    <a:pt x="100286" y="56219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EA545364-612F-4870-A132-84847E2F6D20}"/>
                </a:ext>
              </a:extLst>
            </p:cNvPr>
            <p:cNvSpPr/>
            <p:nvPr/>
          </p:nvSpPr>
          <p:spPr>
            <a:xfrm>
              <a:off x="8940154" y="5645454"/>
              <a:ext cx="153913" cy="24302"/>
            </a:xfrm>
            <a:custGeom>
              <a:avLst/>
              <a:gdLst>
                <a:gd name="connsiteX0" fmla="*/ 149700 w 153912"/>
                <a:gd name="connsiteY0" fmla="*/ 12151 h 24302"/>
                <a:gd name="connsiteX1" fmla="*/ 130097 w 153912"/>
                <a:gd name="connsiteY1" fmla="*/ 12151 h 24302"/>
                <a:gd name="connsiteX2" fmla="*/ 12151 w 153912"/>
                <a:gd name="connsiteY2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3912" h="24302">
                  <a:moveTo>
                    <a:pt x="149700" y="12151"/>
                  </a:moveTo>
                  <a:cubicBezTo>
                    <a:pt x="142734" y="12151"/>
                    <a:pt x="136010" y="12151"/>
                    <a:pt x="130097" y="12151"/>
                  </a:cubicBezTo>
                  <a:lnTo>
                    <a:pt x="12151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934A37DE-9620-4165-AD7D-77ACC61A4734}"/>
                </a:ext>
              </a:extLst>
            </p:cNvPr>
            <p:cNvSpPr/>
            <p:nvPr/>
          </p:nvSpPr>
          <p:spPr>
            <a:xfrm>
              <a:off x="8952224" y="5692276"/>
              <a:ext cx="145812" cy="24302"/>
            </a:xfrm>
            <a:custGeom>
              <a:avLst/>
              <a:gdLst>
                <a:gd name="connsiteX0" fmla="*/ 12151 w 145812"/>
                <a:gd name="connsiteY0" fmla="*/ 12151 h 24302"/>
                <a:gd name="connsiteX1" fmla="*/ 117865 w 145812"/>
                <a:gd name="connsiteY1" fmla="*/ 12151 h 24302"/>
                <a:gd name="connsiteX2" fmla="*/ 137630 w 145812"/>
                <a:gd name="connsiteY2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812" h="24302">
                  <a:moveTo>
                    <a:pt x="12151" y="12151"/>
                  </a:moveTo>
                  <a:lnTo>
                    <a:pt x="117865" y="12151"/>
                  </a:lnTo>
                  <a:cubicBezTo>
                    <a:pt x="124022" y="12151"/>
                    <a:pt x="131636" y="12151"/>
                    <a:pt x="137630" y="12151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E5AD186E-F9EB-4F21-A25C-AFF2EC41E786}"/>
                </a:ext>
              </a:extLst>
            </p:cNvPr>
            <p:cNvSpPr/>
            <p:nvPr/>
          </p:nvSpPr>
          <p:spPr>
            <a:xfrm>
              <a:off x="9152310" y="5857772"/>
              <a:ext cx="24302" cy="145812"/>
            </a:xfrm>
            <a:custGeom>
              <a:avLst/>
              <a:gdLst>
                <a:gd name="connsiteX0" fmla="*/ 12151 w 24302"/>
                <a:gd name="connsiteY0" fmla="*/ 12151 h 145812"/>
                <a:gd name="connsiteX1" fmla="*/ 12151 w 24302"/>
                <a:gd name="connsiteY1" fmla="*/ 141357 h 14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45812">
                  <a:moveTo>
                    <a:pt x="12151" y="12151"/>
                  </a:moveTo>
                  <a:lnTo>
                    <a:pt x="12151" y="14135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2F50A133-5341-4E0F-AEC0-812B2693730D}"/>
                </a:ext>
              </a:extLst>
            </p:cNvPr>
            <p:cNvSpPr/>
            <p:nvPr/>
          </p:nvSpPr>
          <p:spPr>
            <a:xfrm>
              <a:off x="9152310" y="5903622"/>
              <a:ext cx="97208" cy="105309"/>
            </a:xfrm>
            <a:custGeom>
              <a:avLst/>
              <a:gdLst>
                <a:gd name="connsiteX0" fmla="*/ 12151 w 97208"/>
                <a:gd name="connsiteY0" fmla="*/ 12151 h 105308"/>
                <a:gd name="connsiteX1" fmla="*/ 92428 w 97208"/>
                <a:gd name="connsiteY1" fmla="*/ 95507 h 1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08" h="105308">
                  <a:moveTo>
                    <a:pt x="12151" y="12151"/>
                  </a:moveTo>
                  <a:lnTo>
                    <a:pt x="92428" y="9550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AE5F4A2-356F-4B30-BBC8-48CD430C219B}"/>
                </a:ext>
              </a:extLst>
            </p:cNvPr>
            <p:cNvSpPr/>
            <p:nvPr/>
          </p:nvSpPr>
          <p:spPr>
            <a:xfrm>
              <a:off x="9072033" y="5903622"/>
              <a:ext cx="97208" cy="105309"/>
            </a:xfrm>
            <a:custGeom>
              <a:avLst/>
              <a:gdLst>
                <a:gd name="connsiteX0" fmla="*/ 12151 w 97208"/>
                <a:gd name="connsiteY0" fmla="*/ 95507 h 105308"/>
                <a:gd name="connsiteX1" fmla="*/ 92429 w 97208"/>
                <a:gd name="connsiteY1" fmla="*/ 12151 h 1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08" h="105308">
                  <a:moveTo>
                    <a:pt x="12151" y="95507"/>
                  </a:moveTo>
                  <a:lnTo>
                    <a:pt x="92429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BD17868D-0BF4-4283-A2C1-48C4922E5A3A}"/>
                </a:ext>
              </a:extLst>
            </p:cNvPr>
            <p:cNvSpPr/>
            <p:nvPr/>
          </p:nvSpPr>
          <p:spPr>
            <a:xfrm>
              <a:off x="9009577" y="5598470"/>
              <a:ext cx="24302" cy="32403"/>
            </a:xfrm>
            <a:custGeom>
              <a:avLst/>
              <a:gdLst>
                <a:gd name="connsiteX0" fmla="*/ 12151 w 24302"/>
                <a:gd name="connsiteY0" fmla="*/ 26651 h 32402"/>
                <a:gd name="connsiteX1" fmla="*/ 12151 w 24302"/>
                <a:gd name="connsiteY1" fmla="*/ 12151 h 3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32402">
                  <a:moveTo>
                    <a:pt x="12151" y="266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3E616351-359E-46FC-8DFF-DB4F9DFF6466}"/>
                </a:ext>
              </a:extLst>
            </p:cNvPr>
            <p:cNvSpPr/>
            <p:nvPr/>
          </p:nvSpPr>
          <p:spPr>
            <a:xfrm>
              <a:off x="9009577" y="5598470"/>
              <a:ext cx="307826" cy="283524"/>
            </a:xfrm>
            <a:custGeom>
              <a:avLst/>
              <a:gdLst>
                <a:gd name="connsiteX0" fmla="*/ 297700 w 307825"/>
                <a:gd name="connsiteY0" fmla="*/ 12151 h 283523"/>
                <a:gd name="connsiteX1" fmla="*/ 297700 w 307825"/>
                <a:gd name="connsiteY1" fmla="*/ 231193 h 283523"/>
                <a:gd name="connsiteX2" fmla="*/ 257439 w 307825"/>
                <a:gd name="connsiteY2" fmla="*/ 271454 h 283523"/>
                <a:gd name="connsiteX3" fmla="*/ 52411 w 307825"/>
                <a:gd name="connsiteY3" fmla="*/ 271454 h 283523"/>
                <a:gd name="connsiteX4" fmla="*/ 12151 w 307825"/>
                <a:gd name="connsiteY4" fmla="*/ 231193 h 283523"/>
                <a:gd name="connsiteX5" fmla="*/ 12151 w 307825"/>
                <a:gd name="connsiteY5" fmla="*/ 138440 h 283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825" h="283523">
                  <a:moveTo>
                    <a:pt x="297700" y="12151"/>
                  </a:moveTo>
                  <a:lnTo>
                    <a:pt x="297700" y="231193"/>
                  </a:lnTo>
                  <a:cubicBezTo>
                    <a:pt x="297700" y="253470"/>
                    <a:pt x="279635" y="271454"/>
                    <a:pt x="257439" y="271454"/>
                  </a:cubicBezTo>
                  <a:lnTo>
                    <a:pt x="52411" y="271454"/>
                  </a:lnTo>
                  <a:cubicBezTo>
                    <a:pt x="30135" y="271454"/>
                    <a:pt x="12151" y="253389"/>
                    <a:pt x="12151" y="231193"/>
                  </a:cubicBezTo>
                  <a:lnTo>
                    <a:pt x="12151" y="138440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F958257-42C0-495F-B384-1AD0245AA677}"/>
                </a:ext>
              </a:extLst>
            </p:cNvPr>
            <p:cNvSpPr/>
            <p:nvPr/>
          </p:nvSpPr>
          <p:spPr>
            <a:xfrm>
              <a:off x="8984626" y="5560072"/>
              <a:ext cx="356430" cy="56705"/>
            </a:xfrm>
            <a:custGeom>
              <a:avLst/>
              <a:gdLst>
                <a:gd name="connsiteX0" fmla="*/ 12151 w 356429"/>
                <a:gd name="connsiteY0" fmla="*/ 12151 h 56704"/>
                <a:gd name="connsiteX1" fmla="*/ 347600 w 356429"/>
                <a:gd name="connsiteY1" fmla="*/ 12151 h 56704"/>
                <a:gd name="connsiteX2" fmla="*/ 347600 w 356429"/>
                <a:gd name="connsiteY2" fmla="*/ 50548 h 56704"/>
                <a:gd name="connsiteX3" fmla="*/ 12151 w 356429"/>
                <a:gd name="connsiteY3" fmla="*/ 50548 h 56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6429" h="56704">
                  <a:moveTo>
                    <a:pt x="12151" y="12151"/>
                  </a:moveTo>
                  <a:lnTo>
                    <a:pt x="347600" y="12151"/>
                  </a:lnTo>
                  <a:lnTo>
                    <a:pt x="347600" y="50548"/>
                  </a:lnTo>
                  <a:lnTo>
                    <a:pt x="12151" y="50548"/>
                  </a:ln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633133B2-3837-4211-ACC2-47A74A51A715}"/>
                </a:ext>
              </a:extLst>
            </p:cNvPr>
            <p:cNvSpPr/>
            <p:nvPr/>
          </p:nvSpPr>
          <p:spPr>
            <a:xfrm>
              <a:off x="9152310" y="5532449"/>
              <a:ext cx="24302" cy="48604"/>
            </a:xfrm>
            <a:custGeom>
              <a:avLst/>
              <a:gdLst>
                <a:gd name="connsiteX0" fmla="*/ 12151 w 24302"/>
                <a:gd name="connsiteY0" fmla="*/ 12151 h 48604"/>
                <a:gd name="connsiteX1" fmla="*/ 12151 w 24302"/>
                <a:gd name="connsiteY1" fmla="*/ 39612 h 4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48604">
                  <a:moveTo>
                    <a:pt x="12151" y="12151"/>
                  </a:moveTo>
                  <a:lnTo>
                    <a:pt x="12151" y="39612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70EFD514-52EC-44C9-8A86-C801D26D4F82}"/>
              </a:ext>
            </a:extLst>
          </p:cNvPr>
          <p:cNvGrpSpPr/>
          <p:nvPr/>
        </p:nvGrpSpPr>
        <p:grpSpPr>
          <a:xfrm>
            <a:off x="4021546" y="3822952"/>
            <a:ext cx="522493" cy="561175"/>
            <a:chOff x="5707175" y="2357025"/>
            <a:chExt cx="522493" cy="561175"/>
          </a:xfrm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1F601526-3AF7-48FC-9A74-CD72CBAA6B16}"/>
                </a:ext>
              </a:extLst>
            </p:cNvPr>
            <p:cNvSpPr/>
            <p:nvPr/>
          </p:nvSpPr>
          <p:spPr>
            <a:xfrm>
              <a:off x="6126385" y="2766556"/>
              <a:ext cx="72906" cy="145812"/>
            </a:xfrm>
            <a:custGeom>
              <a:avLst/>
              <a:gdLst>
                <a:gd name="connsiteX0" fmla="*/ 65858 w 72906"/>
                <a:gd name="connsiteY0" fmla="*/ 139494 h 145812"/>
                <a:gd name="connsiteX1" fmla="*/ 12151 w 72906"/>
                <a:gd name="connsiteY1" fmla="*/ 139494 h 145812"/>
                <a:gd name="connsiteX2" fmla="*/ 12151 w 72906"/>
                <a:gd name="connsiteY2" fmla="*/ 12151 h 145812"/>
                <a:gd name="connsiteX3" fmla="*/ 65858 w 72906"/>
                <a:gd name="connsiteY3" fmla="*/ 12151 h 14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45812">
                  <a:moveTo>
                    <a:pt x="65858" y="139494"/>
                  </a:moveTo>
                  <a:lnTo>
                    <a:pt x="12151" y="139494"/>
                  </a:lnTo>
                  <a:lnTo>
                    <a:pt x="12151" y="12151"/>
                  </a:lnTo>
                  <a:lnTo>
                    <a:pt x="65858" y="12151"/>
                  </a:ln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5134FD3-C22B-4847-9D31-04090BFAA586}"/>
                </a:ext>
              </a:extLst>
            </p:cNvPr>
            <p:cNvSpPr/>
            <p:nvPr/>
          </p:nvSpPr>
          <p:spPr>
            <a:xfrm>
              <a:off x="6028934" y="2720463"/>
              <a:ext cx="72906" cy="194416"/>
            </a:xfrm>
            <a:custGeom>
              <a:avLst/>
              <a:gdLst>
                <a:gd name="connsiteX0" fmla="*/ 12151 w 72906"/>
                <a:gd name="connsiteY0" fmla="*/ 42610 h 194416"/>
                <a:gd name="connsiteX1" fmla="*/ 12151 w 72906"/>
                <a:gd name="connsiteY1" fmla="*/ 185586 h 194416"/>
                <a:gd name="connsiteX2" fmla="*/ 65858 w 72906"/>
                <a:gd name="connsiteY2" fmla="*/ 185586 h 194416"/>
                <a:gd name="connsiteX3" fmla="*/ 65858 w 72906"/>
                <a:gd name="connsiteY3" fmla="*/ 12151 h 194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94416">
                  <a:moveTo>
                    <a:pt x="12151" y="42610"/>
                  </a:moveTo>
                  <a:lnTo>
                    <a:pt x="12151" y="185586"/>
                  </a:lnTo>
                  <a:lnTo>
                    <a:pt x="65858" y="185586"/>
                  </a:lnTo>
                  <a:lnTo>
                    <a:pt x="65858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F7AF528-E6FC-41A1-B854-F959EC3B8549}"/>
                </a:ext>
              </a:extLst>
            </p:cNvPr>
            <p:cNvSpPr/>
            <p:nvPr/>
          </p:nvSpPr>
          <p:spPr>
            <a:xfrm>
              <a:off x="6028934" y="2590447"/>
              <a:ext cx="72906" cy="105309"/>
            </a:xfrm>
            <a:custGeom>
              <a:avLst/>
              <a:gdLst>
                <a:gd name="connsiteX0" fmla="*/ 65858 w 72906"/>
                <a:gd name="connsiteY0" fmla="*/ 37911 h 105308"/>
                <a:gd name="connsiteX1" fmla="*/ 65858 w 72906"/>
                <a:gd name="connsiteY1" fmla="*/ 12151 h 105308"/>
                <a:gd name="connsiteX2" fmla="*/ 12151 w 72906"/>
                <a:gd name="connsiteY2" fmla="*/ 12151 h 105308"/>
                <a:gd name="connsiteX3" fmla="*/ 12151 w 72906"/>
                <a:gd name="connsiteY3" fmla="*/ 100367 h 1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05308">
                  <a:moveTo>
                    <a:pt x="65858" y="37911"/>
                  </a:moveTo>
                  <a:lnTo>
                    <a:pt x="65858" y="12151"/>
                  </a:lnTo>
                  <a:lnTo>
                    <a:pt x="12151" y="12151"/>
                  </a:lnTo>
                  <a:lnTo>
                    <a:pt x="12151" y="100367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2C4E2CF-DFDA-4E51-8986-DAC6F53C37F5}"/>
                </a:ext>
              </a:extLst>
            </p:cNvPr>
            <p:cNvSpPr/>
            <p:nvPr/>
          </p:nvSpPr>
          <p:spPr>
            <a:xfrm>
              <a:off x="5931402" y="2762586"/>
              <a:ext cx="72906" cy="153913"/>
            </a:xfrm>
            <a:custGeom>
              <a:avLst/>
              <a:gdLst>
                <a:gd name="connsiteX0" fmla="*/ 12151 w 72906"/>
                <a:gd name="connsiteY0" fmla="*/ 12718 h 153912"/>
                <a:gd name="connsiteX1" fmla="*/ 12151 w 72906"/>
                <a:gd name="connsiteY1" fmla="*/ 143463 h 153912"/>
                <a:gd name="connsiteX2" fmla="*/ 65859 w 72906"/>
                <a:gd name="connsiteY2" fmla="*/ 143463 h 153912"/>
                <a:gd name="connsiteX3" fmla="*/ 65859 w 72906"/>
                <a:gd name="connsiteY3" fmla="*/ 12151 h 15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53912">
                  <a:moveTo>
                    <a:pt x="12151" y="12718"/>
                  </a:moveTo>
                  <a:lnTo>
                    <a:pt x="12151" y="143463"/>
                  </a:lnTo>
                  <a:lnTo>
                    <a:pt x="65859" y="143463"/>
                  </a:lnTo>
                  <a:lnTo>
                    <a:pt x="65859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BE920D47-42D4-4FA2-989D-B3C0FE09D45E}"/>
                </a:ext>
              </a:extLst>
            </p:cNvPr>
            <p:cNvSpPr/>
            <p:nvPr/>
          </p:nvSpPr>
          <p:spPr>
            <a:xfrm>
              <a:off x="5931402" y="2504742"/>
              <a:ext cx="72906" cy="210617"/>
            </a:xfrm>
            <a:custGeom>
              <a:avLst/>
              <a:gdLst>
                <a:gd name="connsiteX0" fmla="*/ 65859 w 72906"/>
                <a:gd name="connsiteY0" fmla="*/ 203813 h 210617"/>
                <a:gd name="connsiteX1" fmla="*/ 65859 w 72906"/>
                <a:gd name="connsiteY1" fmla="*/ 12151 h 210617"/>
                <a:gd name="connsiteX2" fmla="*/ 12151 w 72906"/>
                <a:gd name="connsiteY2" fmla="*/ 12151 h 210617"/>
                <a:gd name="connsiteX3" fmla="*/ 12151 w 72906"/>
                <a:gd name="connsiteY3" fmla="*/ 203813 h 21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210617">
                  <a:moveTo>
                    <a:pt x="65859" y="203813"/>
                  </a:moveTo>
                  <a:lnTo>
                    <a:pt x="65859" y="12151"/>
                  </a:lnTo>
                  <a:lnTo>
                    <a:pt x="12151" y="12151"/>
                  </a:lnTo>
                  <a:lnTo>
                    <a:pt x="12151" y="203813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AEF6039-3AEE-4576-ACE9-CA40EA6D6B86}"/>
                </a:ext>
              </a:extLst>
            </p:cNvPr>
            <p:cNvSpPr/>
            <p:nvPr/>
          </p:nvSpPr>
          <p:spPr>
            <a:xfrm>
              <a:off x="5833951" y="2723460"/>
              <a:ext cx="72906" cy="194416"/>
            </a:xfrm>
            <a:custGeom>
              <a:avLst/>
              <a:gdLst>
                <a:gd name="connsiteX0" fmla="*/ 12151 w 72906"/>
                <a:gd name="connsiteY0" fmla="*/ 12151 h 194416"/>
                <a:gd name="connsiteX1" fmla="*/ 12151 w 72906"/>
                <a:gd name="connsiteY1" fmla="*/ 182589 h 194416"/>
                <a:gd name="connsiteX2" fmla="*/ 65859 w 72906"/>
                <a:gd name="connsiteY2" fmla="*/ 182589 h 194416"/>
                <a:gd name="connsiteX3" fmla="*/ 65859 w 72906"/>
                <a:gd name="connsiteY3" fmla="*/ 41394 h 194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94416">
                  <a:moveTo>
                    <a:pt x="12151" y="12151"/>
                  </a:moveTo>
                  <a:lnTo>
                    <a:pt x="12151" y="182589"/>
                  </a:lnTo>
                  <a:lnTo>
                    <a:pt x="65859" y="182589"/>
                  </a:lnTo>
                  <a:lnTo>
                    <a:pt x="65859" y="41394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2B6C06FA-C282-4323-999C-41EAE8B36334}"/>
                </a:ext>
              </a:extLst>
            </p:cNvPr>
            <p:cNvSpPr/>
            <p:nvPr/>
          </p:nvSpPr>
          <p:spPr>
            <a:xfrm>
              <a:off x="5833951" y="2579997"/>
              <a:ext cx="72906" cy="121510"/>
            </a:xfrm>
            <a:custGeom>
              <a:avLst/>
              <a:gdLst>
                <a:gd name="connsiteX0" fmla="*/ 65859 w 72906"/>
                <a:gd name="connsiteY0" fmla="*/ 113247 h 121510"/>
                <a:gd name="connsiteX1" fmla="*/ 65859 w 72906"/>
                <a:gd name="connsiteY1" fmla="*/ 12151 h 121510"/>
                <a:gd name="connsiteX2" fmla="*/ 12151 w 72906"/>
                <a:gd name="connsiteY2" fmla="*/ 12151 h 121510"/>
                <a:gd name="connsiteX3" fmla="*/ 12151 w 72906"/>
                <a:gd name="connsiteY3" fmla="*/ 56624 h 12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21510">
                  <a:moveTo>
                    <a:pt x="65859" y="113247"/>
                  </a:moveTo>
                  <a:lnTo>
                    <a:pt x="65859" y="12151"/>
                  </a:lnTo>
                  <a:lnTo>
                    <a:pt x="12151" y="12151"/>
                  </a:lnTo>
                  <a:lnTo>
                    <a:pt x="12151" y="56624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479B2008-6CEE-4D32-854A-8283A2B248AA}"/>
                </a:ext>
              </a:extLst>
            </p:cNvPr>
            <p:cNvSpPr/>
            <p:nvPr/>
          </p:nvSpPr>
          <p:spPr>
            <a:xfrm>
              <a:off x="5736419" y="2679312"/>
              <a:ext cx="72906" cy="234919"/>
            </a:xfrm>
            <a:custGeom>
              <a:avLst/>
              <a:gdLst>
                <a:gd name="connsiteX0" fmla="*/ 65858 w 72906"/>
                <a:gd name="connsiteY0" fmla="*/ 226738 h 234919"/>
                <a:gd name="connsiteX1" fmla="*/ 12151 w 72906"/>
                <a:gd name="connsiteY1" fmla="*/ 226738 h 234919"/>
                <a:gd name="connsiteX2" fmla="*/ 12151 w 72906"/>
                <a:gd name="connsiteY2" fmla="*/ 12151 h 234919"/>
                <a:gd name="connsiteX3" fmla="*/ 65858 w 72906"/>
                <a:gd name="connsiteY3" fmla="*/ 12151 h 234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234919">
                  <a:moveTo>
                    <a:pt x="65858" y="226738"/>
                  </a:moveTo>
                  <a:lnTo>
                    <a:pt x="12151" y="226738"/>
                  </a:lnTo>
                  <a:lnTo>
                    <a:pt x="12151" y="12151"/>
                  </a:lnTo>
                  <a:lnTo>
                    <a:pt x="65858" y="12151"/>
                  </a:ln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726387EF-B166-4E7C-B435-2AACF15FFAA4}"/>
                </a:ext>
              </a:extLst>
            </p:cNvPr>
            <p:cNvSpPr/>
            <p:nvPr/>
          </p:nvSpPr>
          <p:spPr>
            <a:xfrm>
              <a:off x="5707175" y="2893898"/>
              <a:ext cx="518443" cy="24302"/>
            </a:xfrm>
            <a:custGeom>
              <a:avLst/>
              <a:gdLst>
                <a:gd name="connsiteX0" fmla="*/ 514231 w 518443"/>
                <a:gd name="connsiteY0" fmla="*/ 12151 h 24302"/>
                <a:gd name="connsiteX1" fmla="*/ 12151 w 518443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8443" h="24302">
                  <a:moveTo>
                    <a:pt x="514231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B8A73029-AC56-457F-8733-C0A701D6D67A}"/>
                </a:ext>
              </a:extLst>
            </p:cNvPr>
            <p:cNvSpPr/>
            <p:nvPr/>
          </p:nvSpPr>
          <p:spPr>
            <a:xfrm>
              <a:off x="6091957" y="2641076"/>
              <a:ext cx="137711" cy="113409"/>
            </a:xfrm>
            <a:custGeom>
              <a:avLst/>
              <a:gdLst>
                <a:gd name="connsiteX0" fmla="*/ 27866 w 137711"/>
                <a:gd name="connsiteY0" fmla="*/ 12151 h 113409"/>
                <a:gd name="connsiteX1" fmla="*/ 113652 w 137711"/>
                <a:gd name="connsiteY1" fmla="*/ 58487 h 113409"/>
                <a:gd name="connsiteX2" fmla="*/ 127991 w 137711"/>
                <a:gd name="connsiteY2" fmla="*/ 73392 h 113409"/>
                <a:gd name="connsiteX3" fmla="*/ 126938 w 137711"/>
                <a:gd name="connsiteY3" fmla="*/ 92348 h 113409"/>
                <a:gd name="connsiteX4" fmla="*/ 110412 w 137711"/>
                <a:gd name="connsiteY4" fmla="*/ 101339 h 113409"/>
                <a:gd name="connsiteX5" fmla="*/ 90403 w 137711"/>
                <a:gd name="connsiteY5" fmla="*/ 95102 h 113409"/>
                <a:gd name="connsiteX6" fmla="*/ 12151 w 137711"/>
                <a:gd name="connsiteY6" fmla="*/ 37020 h 113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711" h="113409">
                  <a:moveTo>
                    <a:pt x="27866" y="12151"/>
                  </a:moveTo>
                  <a:cubicBezTo>
                    <a:pt x="27866" y="12151"/>
                    <a:pt x="92510" y="47308"/>
                    <a:pt x="113652" y="58487"/>
                  </a:cubicBezTo>
                  <a:cubicBezTo>
                    <a:pt x="119647" y="61646"/>
                    <a:pt x="126046" y="68127"/>
                    <a:pt x="127991" y="73392"/>
                  </a:cubicBezTo>
                  <a:cubicBezTo>
                    <a:pt x="129935" y="78658"/>
                    <a:pt x="130907" y="86110"/>
                    <a:pt x="126938" y="92348"/>
                  </a:cubicBezTo>
                  <a:cubicBezTo>
                    <a:pt x="123049" y="98423"/>
                    <a:pt x="115921" y="100529"/>
                    <a:pt x="110412" y="101339"/>
                  </a:cubicBezTo>
                  <a:cubicBezTo>
                    <a:pt x="105390" y="102068"/>
                    <a:pt x="97532" y="100205"/>
                    <a:pt x="90403" y="95102"/>
                  </a:cubicBezTo>
                  <a:cubicBezTo>
                    <a:pt x="70638" y="80683"/>
                    <a:pt x="12151" y="37020"/>
                    <a:pt x="12151" y="37020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0CC0CD86-7E3A-4F9E-8F19-0CC3BC92068F}"/>
                </a:ext>
              </a:extLst>
            </p:cNvPr>
            <p:cNvSpPr/>
            <p:nvPr/>
          </p:nvSpPr>
          <p:spPr>
            <a:xfrm>
              <a:off x="5751169" y="2357025"/>
              <a:ext cx="429336" cy="429336"/>
            </a:xfrm>
            <a:custGeom>
              <a:avLst/>
              <a:gdLst>
                <a:gd name="connsiteX0" fmla="*/ 383336 w 429335"/>
                <a:gd name="connsiteY0" fmla="*/ 180486 h 429335"/>
                <a:gd name="connsiteX1" fmla="*/ 254206 w 429335"/>
                <a:gd name="connsiteY1" fmla="*/ 383336 h 429335"/>
                <a:gd name="connsiteX2" fmla="*/ 51356 w 429335"/>
                <a:gd name="connsiteY2" fmla="*/ 254206 h 429335"/>
                <a:gd name="connsiteX3" fmla="*/ 180486 w 429335"/>
                <a:gd name="connsiteY3" fmla="*/ 51356 h 429335"/>
                <a:gd name="connsiteX4" fmla="*/ 383336 w 429335"/>
                <a:gd name="connsiteY4" fmla="*/ 180486 h 429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9335" h="429335">
                  <a:moveTo>
                    <a:pt x="383336" y="180486"/>
                  </a:moveTo>
                  <a:cubicBezTo>
                    <a:pt x="403693" y="272160"/>
                    <a:pt x="345879" y="362978"/>
                    <a:pt x="254206" y="383336"/>
                  </a:cubicBezTo>
                  <a:cubicBezTo>
                    <a:pt x="162532" y="403693"/>
                    <a:pt x="71713" y="345879"/>
                    <a:pt x="51356" y="254206"/>
                  </a:cubicBezTo>
                  <a:cubicBezTo>
                    <a:pt x="30999" y="162532"/>
                    <a:pt x="88812" y="71713"/>
                    <a:pt x="180486" y="51356"/>
                  </a:cubicBezTo>
                  <a:cubicBezTo>
                    <a:pt x="272160" y="30999"/>
                    <a:pt x="362979" y="88812"/>
                    <a:pt x="383336" y="180486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9A87AA34-78AC-4253-8ACB-8ABE40EE9A3B}"/>
                </a:ext>
              </a:extLst>
            </p:cNvPr>
            <p:cNvSpPr/>
            <p:nvPr/>
          </p:nvSpPr>
          <p:spPr>
            <a:xfrm>
              <a:off x="5934318" y="2424755"/>
              <a:ext cx="178215" cy="129611"/>
            </a:xfrm>
            <a:custGeom>
              <a:avLst/>
              <a:gdLst>
                <a:gd name="connsiteX0" fmla="*/ 168008 w 178214"/>
                <a:gd name="connsiteY0" fmla="*/ 118384 h 129610"/>
                <a:gd name="connsiteX1" fmla="*/ 107982 w 178214"/>
                <a:gd name="connsiteY1" fmla="*/ 33651 h 129610"/>
                <a:gd name="connsiteX2" fmla="*/ 12151 w 178214"/>
                <a:gd name="connsiteY2" fmla="*/ 13967 h 12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214" h="129610">
                  <a:moveTo>
                    <a:pt x="168008" y="118384"/>
                  </a:moveTo>
                  <a:cubicBezTo>
                    <a:pt x="160150" y="84605"/>
                    <a:pt x="139575" y="53741"/>
                    <a:pt x="107982" y="33651"/>
                  </a:cubicBezTo>
                  <a:cubicBezTo>
                    <a:pt x="78333" y="14777"/>
                    <a:pt x="44230" y="8701"/>
                    <a:pt x="12151" y="13967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448C3C7-39E7-4A6F-BB81-B37EFCFA8B7B}"/>
              </a:ext>
            </a:extLst>
          </p:cNvPr>
          <p:cNvGrpSpPr/>
          <p:nvPr/>
        </p:nvGrpSpPr>
        <p:grpSpPr>
          <a:xfrm>
            <a:off x="3991980" y="5505751"/>
            <a:ext cx="620749" cy="489973"/>
            <a:chOff x="2374544" y="5279775"/>
            <a:chExt cx="437623" cy="345427"/>
          </a:xfrm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B9DCFBF8-CD77-42F5-88A0-19A3B1C70C88}"/>
                </a:ext>
              </a:extLst>
            </p:cNvPr>
            <p:cNvSpPr/>
            <p:nvPr/>
          </p:nvSpPr>
          <p:spPr>
            <a:xfrm>
              <a:off x="2619444" y="5432506"/>
              <a:ext cx="174292" cy="174292"/>
            </a:xfrm>
            <a:custGeom>
              <a:avLst/>
              <a:gdLst>
                <a:gd name="connsiteX0" fmla="*/ 112012 w 174292"/>
                <a:gd name="connsiteY0" fmla="*/ 35818 h 174292"/>
                <a:gd name="connsiteX1" fmla="*/ 141230 w 174292"/>
                <a:gd name="connsiteY1" fmla="*/ 112012 h 174292"/>
                <a:gd name="connsiteX2" fmla="*/ 65036 w 174292"/>
                <a:gd name="connsiteY2" fmla="*/ 141230 h 174292"/>
                <a:gd name="connsiteX3" fmla="*/ 35818 w 174292"/>
                <a:gd name="connsiteY3" fmla="*/ 65035 h 174292"/>
                <a:gd name="connsiteX4" fmla="*/ 112012 w 174292"/>
                <a:gd name="connsiteY4" fmla="*/ 35818 h 17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292" h="174292">
                  <a:moveTo>
                    <a:pt x="112012" y="35818"/>
                  </a:moveTo>
                  <a:cubicBezTo>
                    <a:pt x="141121" y="48790"/>
                    <a:pt x="154202" y="82903"/>
                    <a:pt x="141230" y="112012"/>
                  </a:cubicBezTo>
                  <a:cubicBezTo>
                    <a:pt x="128258" y="141121"/>
                    <a:pt x="94144" y="154202"/>
                    <a:pt x="65036" y="141230"/>
                  </a:cubicBezTo>
                  <a:cubicBezTo>
                    <a:pt x="35927" y="128258"/>
                    <a:pt x="22845" y="94144"/>
                    <a:pt x="35818" y="65035"/>
                  </a:cubicBezTo>
                  <a:cubicBezTo>
                    <a:pt x="48790" y="35926"/>
                    <a:pt x="82903" y="22845"/>
                    <a:pt x="112012" y="35818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9C93E81B-5C4D-43BC-A1D2-1651249E67D0}"/>
                </a:ext>
              </a:extLst>
            </p:cNvPr>
            <p:cNvSpPr/>
            <p:nvPr/>
          </p:nvSpPr>
          <p:spPr>
            <a:xfrm>
              <a:off x="2600527" y="5413562"/>
              <a:ext cx="211640" cy="211640"/>
            </a:xfrm>
            <a:custGeom>
              <a:avLst/>
              <a:gdLst>
                <a:gd name="connsiteX0" fmla="*/ 127807 w 211640"/>
                <a:gd name="connsiteY0" fmla="*/ 31900 h 211640"/>
                <a:gd name="connsiteX1" fmla="*/ 182823 w 211640"/>
                <a:gd name="connsiteY1" fmla="*/ 127807 h 211640"/>
                <a:gd name="connsiteX2" fmla="*/ 86916 w 211640"/>
                <a:gd name="connsiteY2" fmla="*/ 182823 h 211640"/>
                <a:gd name="connsiteX3" fmla="*/ 31900 w 211640"/>
                <a:gd name="connsiteY3" fmla="*/ 86916 h 211640"/>
                <a:gd name="connsiteX4" fmla="*/ 127807 w 211640"/>
                <a:gd name="connsiteY4" fmla="*/ 31900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640" h="211640">
                  <a:moveTo>
                    <a:pt x="127807" y="31900"/>
                  </a:moveTo>
                  <a:cubicBezTo>
                    <a:pt x="169484" y="43192"/>
                    <a:pt x="194115" y="86131"/>
                    <a:pt x="182823" y="127807"/>
                  </a:cubicBezTo>
                  <a:cubicBezTo>
                    <a:pt x="171531" y="169484"/>
                    <a:pt x="128592" y="194115"/>
                    <a:pt x="86916" y="182823"/>
                  </a:cubicBezTo>
                  <a:cubicBezTo>
                    <a:pt x="45239" y="171531"/>
                    <a:pt x="20608" y="128592"/>
                    <a:pt x="31900" y="86916"/>
                  </a:cubicBezTo>
                  <a:cubicBezTo>
                    <a:pt x="43192" y="45239"/>
                    <a:pt x="86131" y="20608"/>
                    <a:pt x="127807" y="31900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E621C31-59D9-4435-A261-0E7BB6BBB7B9}"/>
                </a:ext>
              </a:extLst>
            </p:cNvPr>
            <p:cNvSpPr/>
            <p:nvPr/>
          </p:nvSpPr>
          <p:spPr>
            <a:xfrm>
              <a:off x="2698604" y="5478530"/>
              <a:ext cx="49798" cy="49798"/>
            </a:xfrm>
            <a:custGeom>
              <a:avLst/>
              <a:gdLst>
                <a:gd name="connsiteX0" fmla="*/ 9337 w 49797"/>
                <a:gd name="connsiteY0" fmla="*/ 9337 h 49797"/>
                <a:gd name="connsiteX1" fmla="*/ 42390 w 49797"/>
                <a:gd name="connsiteY1" fmla="*/ 42390 h 49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7" h="49797">
                  <a:moveTo>
                    <a:pt x="9337" y="9337"/>
                  </a:moveTo>
                  <a:cubicBezTo>
                    <a:pt x="27576" y="9337"/>
                    <a:pt x="42390" y="24152"/>
                    <a:pt x="42390" y="42390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44DE7657-1502-4680-93E2-0CB5AE00F7EE}"/>
                </a:ext>
              </a:extLst>
            </p:cNvPr>
            <p:cNvSpPr/>
            <p:nvPr/>
          </p:nvSpPr>
          <p:spPr>
            <a:xfrm>
              <a:off x="2391647" y="5433838"/>
              <a:ext cx="168067" cy="168067"/>
            </a:xfrm>
            <a:custGeom>
              <a:avLst/>
              <a:gdLst>
                <a:gd name="connsiteX0" fmla="*/ 140610 w 168067"/>
                <a:gd name="connsiteY0" fmla="*/ 65819 h 168067"/>
                <a:gd name="connsiteX1" fmla="*/ 107966 w 168067"/>
                <a:gd name="connsiteY1" fmla="*/ 140610 h 168067"/>
                <a:gd name="connsiteX2" fmla="*/ 33176 w 168067"/>
                <a:gd name="connsiteY2" fmla="*/ 107966 h 168067"/>
                <a:gd name="connsiteX3" fmla="*/ 65820 w 168067"/>
                <a:gd name="connsiteY3" fmla="*/ 33175 h 168067"/>
                <a:gd name="connsiteX4" fmla="*/ 140610 w 168067"/>
                <a:gd name="connsiteY4" fmla="*/ 65819 h 16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67" h="168067">
                  <a:moveTo>
                    <a:pt x="140610" y="65819"/>
                  </a:moveTo>
                  <a:cubicBezTo>
                    <a:pt x="152249" y="95487"/>
                    <a:pt x="137633" y="128972"/>
                    <a:pt x="107966" y="140610"/>
                  </a:cubicBezTo>
                  <a:cubicBezTo>
                    <a:pt x="78299" y="152249"/>
                    <a:pt x="44814" y="137633"/>
                    <a:pt x="33176" y="107966"/>
                  </a:cubicBezTo>
                  <a:cubicBezTo>
                    <a:pt x="21537" y="78299"/>
                    <a:pt x="36152" y="44814"/>
                    <a:pt x="65820" y="33175"/>
                  </a:cubicBezTo>
                  <a:cubicBezTo>
                    <a:pt x="95487" y="21537"/>
                    <a:pt x="128972" y="36152"/>
                    <a:pt x="140610" y="65819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A36D12E-FD9F-4D60-BC36-1042D9787BC8}"/>
                </a:ext>
              </a:extLst>
            </p:cNvPr>
            <p:cNvSpPr/>
            <p:nvPr/>
          </p:nvSpPr>
          <p:spPr>
            <a:xfrm>
              <a:off x="2374544" y="5417209"/>
              <a:ext cx="205416" cy="205416"/>
            </a:xfrm>
            <a:custGeom>
              <a:avLst/>
              <a:gdLst>
                <a:gd name="connsiteX0" fmla="*/ 180286 w 205415"/>
                <a:gd name="connsiteY0" fmla="*/ 87547 h 205415"/>
                <a:gd name="connsiteX1" fmla="*/ 120083 w 205415"/>
                <a:gd name="connsiteY1" fmla="*/ 180286 h 205415"/>
                <a:gd name="connsiteX2" fmla="*/ 27344 w 205415"/>
                <a:gd name="connsiteY2" fmla="*/ 120083 h 205415"/>
                <a:gd name="connsiteX3" fmla="*/ 87547 w 205415"/>
                <a:gd name="connsiteY3" fmla="*/ 27344 h 205415"/>
                <a:gd name="connsiteX4" fmla="*/ 180286 w 205415"/>
                <a:gd name="connsiteY4" fmla="*/ 87547 h 20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415" h="205415">
                  <a:moveTo>
                    <a:pt x="180286" y="87547"/>
                  </a:moveTo>
                  <a:cubicBezTo>
                    <a:pt x="189271" y="129781"/>
                    <a:pt x="162317" y="171301"/>
                    <a:pt x="120083" y="180286"/>
                  </a:cubicBezTo>
                  <a:cubicBezTo>
                    <a:pt x="77850" y="189271"/>
                    <a:pt x="36329" y="162317"/>
                    <a:pt x="27344" y="120083"/>
                  </a:cubicBezTo>
                  <a:cubicBezTo>
                    <a:pt x="18359" y="77850"/>
                    <a:pt x="45313" y="36329"/>
                    <a:pt x="87547" y="27344"/>
                  </a:cubicBezTo>
                  <a:cubicBezTo>
                    <a:pt x="129781" y="18359"/>
                    <a:pt x="171301" y="45313"/>
                    <a:pt x="180286" y="87547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BF4713CC-04E1-4489-9BB1-4017D3ABD4C8}"/>
                </a:ext>
              </a:extLst>
            </p:cNvPr>
            <p:cNvSpPr/>
            <p:nvPr/>
          </p:nvSpPr>
          <p:spPr>
            <a:xfrm>
              <a:off x="2689952" y="5314010"/>
              <a:ext cx="93371" cy="174292"/>
            </a:xfrm>
            <a:custGeom>
              <a:avLst/>
              <a:gdLst>
                <a:gd name="connsiteX0" fmla="*/ 9337 w 93370"/>
                <a:gd name="connsiteY0" fmla="*/ 9337 h 174292"/>
                <a:gd name="connsiteX1" fmla="*/ 42826 w 93370"/>
                <a:gd name="connsiteY1" fmla="*/ 34672 h 174292"/>
                <a:gd name="connsiteX2" fmla="*/ 86959 w 93370"/>
                <a:gd name="connsiteY2" fmla="*/ 170059 h 17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370" h="174292">
                  <a:moveTo>
                    <a:pt x="9337" y="9337"/>
                  </a:moveTo>
                  <a:cubicBezTo>
                    <a:pt x="24650" y="9960"/>
                    <a:pt x="38033" y="19981"/>
                    <a:pt x="42826" y="34672"/>
                  </a:cubicBezTo>
                  <a:lnTo>
                    <a:pt x="86959" y="170059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CC29697C-FAE3-4432-8108-25480F1A23F6}"/>
                </a:ext>
              </a:extLst>
            </p:cNvPr>
            <p:cNvSpPr/>
            <p:nvPr/>
          </p:nvSpPr>
          <p:spPr>
            <a:xfrm>
              <a:off x="2569379" y="5325153"/>
              <a:ext cx="43573" cy="24899"/>
            </a:xfrm>
            <a:custGeom>
              <a:avLst/>
              <a:gdLst>
                <a:gd name="connsiteX0" fmla="*/ 9337 w 43573"/>
                <a:gd name="connsiteY0" fmla="*/ 9337 h 24898"/>
                <a:gd name="connsiteX1" fmla="*/ 23778 w 43573"/>
                <a:gd name="connsiteY1" fmla="*/ 16433 h 24898"/>
                <a:gd name="connsiteX2" fmla="*/ 38220 w 43573"/>
                <a:gd name="connsiteY2" fmla="*/ 9337 h 24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573" h="24898">
                  <a:moveTo>
                    <a:pt x="9337" y="9337"/>
                  </a:moveTo>
                  <a:cubicBezTo>
                    <a:pt x="12698" y="13632"/>
                    <a:pt x="17927" y="16433"/>
                    <a:pt x="23778" y="16433"/>
                  </a:cubicBezTo>
                  <a:cubicBezTo>
                    <a:pt x="29630" y="16433"/>
                    <a:pt x="34921" y="13632"/>
                    <a:pt x="38220" y="9337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F8142DD-FE56-4D60-BE48-A3D74D9F4918}"/>
                </a:ext>
              </a:extLst>
            </p:cNvPr>
            <p:cNvSpPr/>
            <p:nvPr/>
          </p:nvSpPr>
          <p:spPr>
            <a:xfrm>
              <a:off x="2400129" y="5313948"/>
              <a:ext cx="93371" cy="174292"/>
            </a:xfrm>
            <a:custGeom>
              <a:avLst/>
              <a:gdLst>
                <a:gd name="connsiteX0" fmla="*/ 9337 w 93370"/>
                <a:gd name="connsiteY0" fmla="*/ 170059 h 174292"/>
                <a:gd name="connsiteX1" fmla="*/ 53470 w 93370"/>
                <a:gd name="connsiteY1" fmla="*/ 34672 h 174292"/>
                <a:gd name="connsiteX2" fmla="*/ 86897 w 93370"/>
                <a:gd name="connsiteY2" fmla="*/ 9337 h 17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370" h="174292">
                  <a:moveTo>
                    <a:pt x="9337" y="170059"/>
                  </a:moveTo>
                  <a:lnTo>
                    <a:pt x="53470" y="34672"/>
                  </a:lnTo>
                  <a:cubicBezTo>
                    <a:pt x="58263" y="20044"/>
                    <a:pt x="71646" y="9960"/>
                    <a:pt x="86897" y="9337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37B71B7C-CBC4-42E1-B0A4-3CBE078DB8A2}"/>
                </a:ext>
              </a:extLst>
            </p:cNvPr>
            <p:cNvSpPr/>
            <p:nvPr/>
          </p:nvSpPr>
          <p:spPr>
            <a:xfrm>
              <a:off x="2547343" y="5325153"/>
              <a:ext cx="37348" cy="199191"/>
            </a:xfrm>
            <a:custGeom>
              <a:avLst/>
              <a:gdLst>
                <a:gd name="connsiteX0" fmla="*/ 9337 w 37348"/>
                <a:gd name="connsiteY0" fmla="*/ 195767 h 199190"/>
                <a:gd name="connsiteX1" fmla="*/ 31373 w 37348"/>
                <a:gd name="connsiteY1" fmla="*/ 9337 h 19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48" h="199190">
                  <a:moveTo>
                    <a:pt x="9337" y="195767"/>
                  </a:moveTo>
                  <a:lnTo>
                    <a:pt x="31373" y="933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FEE2E872-8C02-420D-9755-A9EE10B0DD5F}"/>
                </a:ext>
              </a:extLst>
            </p:cNvPr>
            <p:cNvSpPr/>
            <p:nvPr/>
          </p:nvSpPr>
          <p:spPr>
            <a:xfrm>
              <a:off x="2598324" y="5325153"/>
              <a:ext cx="37348" cy="199191"/>
            </a:xfrm>
            <a:custGeom>
              <a:avLst/>
              <a:gdLst>
                <a:gd name="connsiteX0" fmla="*/ 31435 w 37348"/>
                <a:gd name="connsiteY0" fmla="*/ 195767 h 199190"/>
                <a:gd name="connsiteX1" fmla="*/ 9337 w 37348"/>
                <a:gd name="connsiteY1" fmla="*/ 9337 h 19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48" h="199190">
                  <a:moveTo>
                    <a:pt x="31435" y="195767"/>
                  </a:moveTo>
                  <a:lnTo>
                    <a:pt x="9337" y="933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55EFD733-3E21-47FE-AC55-C90553572DEF}"/>
                </a:ext>
              </a:extLst>
            </p:cNvPr>
            <p:cNvSpPr/>
            <p:nvPr/>
          </p:nvSpPr>
          <p:spPr>
            <a:xfrm>
              <a:off x="2469099" y="5478530"/>
              <a:ext cx="49798" cy="49798"/>
            </a:xfrm>
            <a:custGeom>
              <a:avLst/>
              <a:gdLst>
                <a:gd name="connsiteX0" fmla="*/ 42390 w 49797"/>
                <a:gd name="connsiteY0" fmla="*/ 42390 h 49797"/>
                <a:gd name="connsiteX1" fmla="*/ 9337 w 49797"/>
                <a:gd name="connsiteY1" fmla="*/ 9337 h 49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7" h="49797">
                  <a:moveTo>
                    <a:pt x="42390" y="42390"/>
                  </a:moveTo>
                  <a:cubicBezTo>
                    <a:pt x="42390" y="24152"/>
                    <a:pt x="27575" y="9337"/>
                    <a:pt x="9337" y="9337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DCDA1B4-820D-4541-B119-09FD97B9C79D}"/>
                </a:ext>
              </a:extLst>
            </p:cNvPr>
            <p:cNvSpPr/>
            <p:nvPr/>
          </p:nvSpPr>
          <p:spPr>
            <a:xfrm>
              <a:off x="2547343" y="5475044"/>
              <a:ext cx="87146" cy="87146"/>
            </a:xfrm>
            <a:custGeom>
              <a:avLst/>
              <a:gdLst>
                <a:gd name="connsiteX0" fmla="*/ 82415 w 87146"/>
                <a:gd name="connsiteY0" fmla="*/ 45876 h 87146"/>
                <a:gd name="connsiteX1" fmla="*/ 45876 w 87146"/>
                <a:gd name="connsiteY1" fmla="*/ 82415 h 87146"/>
                <a:gd name="connsiteX2" fmla="*/ 9337 w 87146"/>
                <a:gd name="connsiteY2" fmla="*/ 45876 h 87146"/>
                <a:gd name="connsiteX3" fmla="*/ 45876 w 87146"/>
                <a:gd name="connsiteY3" fmla="*/ 9337 h 87146"/>
                <a:gd name="connsiteX4" fmla="*/ 82415 w 87146"/>
                <a:gd name="connsiteY4" fmla="*/ 45876 h 8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146" h="87146">
                  <a:moveTo>
                    <a:pt x="82415" y="45876"/>
                  </a:moveTo>
                  <a:cubicBezTo>
                    <a:pt x="82415" y="66044"/>
                    <a:pt x="66044" y="82415"/>
                    <a:pt x="45876" y="82415"/>
                  </a:cubicBezTo>
                  <a:cubicBezTo>
                    <a:pt x="25708" y="82415"/>
                    <a:pt x="9337" y="66044"/>
                    <a:pt x="9337" y="45876"/>
                  </a:cubicBezTo>
                  <a:cubicBezTo>
                    <a:pt x="9337" y="25708"/>
                    <a:pt x="25708" y="9337"/>
                    <a:pt x="45876" y="9337"/>
                  </a:cubicBezTo>
                  <a:cubicBezTo>
                    <a:pt x="66044" y="9337"/>
                    <a:pt x="82415" y="25708"/>
                    <a:pt x="82415" y="45876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8DE06AA-7C7F-4C9C-A80A-315821D8C887}"/>
                </a:ext>
              </a:extLst>
            </p:cNvPr>
            <p:cNvSpPr/>
            <p:nvPr/>
          </p:nvSpPr>
          <p:spPr>
            <a:xfrm>
              <a:off x="2568570" y="5496270"/>
              <a:ext cx="43573" cy="43573"/>
            </a:xfrm>
            <a:custGeom>
              <a:avLst/>
              <a:gdLst>
                <a:gd name="connsiteX0" fmla="*/ 39963 w 43573"/>
                <a:gd name="connsiteY0" fmla="*/ 24650 h 43573"/>
                <a:gd name="connsiteX1" fmla="*/ 24650 w 43573"/>
                <a:gd name="connsiteY1" fmla="*/ 39963 h 43573"/>
                <a:gd name="connsiteX2" fmla="*/ 9337 w 43573"/>
                <a:gd name="connsiteY2" fmla="*/ 24650 h 43573"/>
                <a:gd name="connsiteX3" fmla="*/ 24650 w 43573"/>
                <a:gd name="connsiteY3" fmla="*/ 9337 h 43573"/>
                <a:gd name="connsiteX4" fmla="*/ 39963 w 43573"/>
                <a:gd name="connsiteY4" fmla="*/ 24650 h 43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3" h="43573">
                  <a:moveTo>
                    <a:pt x="39963" y="24650"/>
                  </a:moveTo>
                  <a:cubicBezTo>
                    <a:pt x="39963" y="33116"/>
                    <a:pt x="33116" y="39963"/>
                    <a:pt x="24650" y="39963"/>
                  </a:cubicBezTo>
                  <a:cubicBezTo>
                    <a:pt x="16184" y="39963"/>
                    <a:pt x="9337" y="33116"/>
                    <a:pt x="9337" y="24650"/>
                  </a:cubicBezTo>
                  <a:cubicBezTo>
                    <a:pt x="9337" y="16184"/>
                    <a:pt x="16184" y="9337"/>
                    <a:pt x="24650" y="9337"/>
                  </a:cubicBezTo>
                  <a:cubicBezTo>
                    <a:pt x="33116" y="9337"/>
                    <a:pt x="39963" y="16184"/>
                    <a:pt x="39963" y="24650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68CC4303-3826-41F7-B566-B14D0FB5F9E0}"/>
                </a:ext>
              </a:extLst>
            </p:cNvPr>
            <p:cNvSpPr/>
            <p:nvPr/>
          </p:nvSpPr>
          <p:spPr>
            <a:xfrm>
              <a:off x="2598386" y="5279775"/>
              <a:ext cx="105820" cy="62247"/>
            </a:xfrm>
            <a:custGeom>
              <a:avLst/>
              <a:gdLst>
                <a:gd name="connsiteX0" fmla="*/ 100903 w 105820"/>
                <a:gd name="connsiteY0" fmla="*/ 43511 h 62247"/>
                <a:gd name="connsiteX1" fmla="*/ 55960 w 105820"/>
                <a:gd name="connsiteY1" fmla="*/ 9337 h 62247"/>
                <a:gd name="connsiteX2" fmla="*/ 9337 w 105820"/>
                <a:gd name="connsiteY2" fmla="*/ 54093 h 6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820" h="62247">
                  <a:moveTo>
                    <a:pt x="100903" y="43511"/>
                  </a:moveTo>
                  <a:cubicBezTo>
                    <a:pt x="95425" y="23778"/>
                    <a:pt x="77373" y="9337"/>
                    <a:pt x="55960" y="9337"/>
                  </a:cubicBezTo>
                  <a:cubicBezTo>
                    <a:pt x="30812" y="9337"/>
                    <a:pt x="10333" y="29194"/>
                    <a:pt x="9337" y="54093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DA924DAE-3A8C-4119-A175-95089F874429}"/>
                </a:ext>
              </a:extLst>
            </p:cNvPr>
            <p:cNvSpPr/>
            <p:nvPr/>
          </p:nvSpPr>
          <p:spPr>
            <a:xfrm>
              <a:off x="2477813" y="5279775"/>
              <a:ext cx="105820" cy="62247"/>
            </a:xfrm>
            <a:custGeom>
              <a:avLst/>
              <a:gdLst>
                <a:gd name="connsiteX0" fmla="*/ 9337 w 105820"/>
                <a:gd name="connsiteY0" fmla="*/ 43511 h 62247"/>
                <a:gd name="connsiteX1" fmla="*/ 54280 w 105820"/>
                <a:gd name="connsiteY1" fmla="*/ 9337 h 62247"/>
                <a:gd name="connsiteX2" fmla="*/ 100903 w 105820"/>
                <a:gd name="connsiteY2" fmla="*/ 54093 h 6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820" h="62247">
                  <a:moveTo>
                    <a:pt x="9337" y="43511"/>
                  </a:moveTo>
                  <a:cubicBezTo>
                    <a:pt x="14815" y="23778"/>
                    <a:pt x="32866" y="9337"/>
                    <a:pt x="54280" y="9337"/>
                  </a:cubicBezTo>
                  <a:cubicBezTo>
                    <a:pt x="79427" y="9337"/>
                    <a:pt x="99907" y="29194"/>
                    <a:pt x="100903" y="54093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6057590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CDAD5B9-820A-44FE-9587-FF04A470C4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570425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CDAD5B9-820A-44FE-9587-FF04A470C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/>
          <p:cNvSpPr txBox="1"/>
          <p:nvPr/>
        </p:nvSpPr>
        <p:spPr>
          <a:xfrm>
            <a:off x="980674" y="2319930"/>
            <a:ext cx="5538340" cy="994784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оте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ақобат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баб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адига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ақобат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еханизмлар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узилиш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: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яхш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клиф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мас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, балки пора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ёк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пора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р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қал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ртиқч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стунликк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ришга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киши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ғалаб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озонад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9D77A8-5E01-4639-9CE0-9C4200051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оррупциянинг</a:t>
            </a:r>
            <a:r>
              <a:rPr lang="ru-RU" dirty="0"/>
              <a:t> </a:t>
            </a:r>
            <a:r>
              <a:rPr lang="ru-RU" dirty="0" err="1"/>
              <a:t>оқибатлари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3FCEA7-AD15-42F4-956C-4140969F9D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6" name="Объект 2">
            <a:extLst>
              <a:ext uri="{FF2B5EF4-FFF2-40B4-BE49-F238E27FC236}">
                <a16:creationId xmlns:a16="http://schemas.microsoft.com/office/drawing/2014/main" id="{544F4D1E-D940-481B-86BA-BE0E11E98A02}"/>
              </a:ext>
            </a:extLst>
          </p:cNvPr>
          <p:cNvSpPr txBox="1">
            <a:spLocks/>
          </p:cNvSpPr>
          <p:nvPr/>
        </p:nvSpPr>
        <p:spPr>
          <a:xfrm>
            <a:off x="1414877" y="1427118"/>
            <a:ext cx="5207883" cy="49642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err="1">
                <a:solidFill>
                  <a:srgbClr val="0070C0"/>
                </a:solidFill>
              </a:rPr>
              <a:t>Коррупциянинг</a:t>
            </a:r>
            <a:r>
              <a:rPr lang="ru-RU" sz="2000" dirty="0">
                <a:solidFill>
                  <a:srgbClr val="0070C0"/>
                </a:solidFill>
              </a:rPr>
              <a:t>  </a:t>
            </a:r>
            <a:r>
              <a:rPr lang="ru-RU" sz="2000" dirty="0" err="1">
                <a:solidFill>
                  <a:srgbClr val="0070C0"/>
                </a:solidFill>
              </a:rPr>
              <a:t>иқтисодий</a:t>
            </a:r>
            <a:r>
              <a:rPr lang="ru-RU" sz="2000" dirty="0">
                <a:solidFill>
                  <a:srgbClr val="0070C0"/>
                </a:solidFill>
              </a:rPr>
              <a:t> </a:t>
            </a:r>
            <a:r>
              <a:rPr lang="ru-RU" sz="2000" dirty="0" err="1">
                <a:solidFill>
                  <a:srgbClr val="0070C0"/>
                </a:solidFill>
              </a:rPr>
              <a:t>оқибатлари</a:t>
            </a:r>
            <a:endParaRPr lang="ru-RU" sz="2000" dirty="0">
              <a:solidFill>
                <a:srgbClr val="0070C0"/>
              </a:solidFill>
            </a:endParaRPr>
          </a:p>
        </p:txBody>
      </p:sp>
      <p:sp>
        <p:nvSpPr>
          <p:cNvPr id="38" name="object 15">
            <a:extLst>
              <a:ext uri="{FF2B5EF4-FFF2-40B4-BE49-F238E27FC236}">
                <a16:creationId xmlns:a16="http://schemas.microsoft.com/office/drawing/2014/main" id="{BDB27B72-C2C4-4496-A4EA-44236D281627}"/>
              </a:ext>
            </a:extLst>
          </p:cNvPr>
          <p:cNvSpPr txBox="1"/>
          <p:nvPr/>
        </p:nvSpPr>
        <p:spPr>
          <a:xfrm>
            <a:off x="980674" y="3460240"/>
            <a:ext cx="5538340" cy="502341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есурсларн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сиз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қсимла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тижа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ромадлар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долатсиз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қсимланиши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39" name="object 15">
            <a:extLst>
              <a:ext uri="{FF2B5EF4-FFF2-40B4-BE49-F238E27FC236}">
                <a16:creationId xmlns:a16="http://schemas.microsoft.com/office/drawing/2014/main" id="{FB630400-6E91-41ED-8DEB-FCA2C0483BA6}"/>
              </a:ext>
            </a:extLst>
          </p:cNvPr>
          <p:cNvSpPr txBox="1"/>
          <p:nvPr/>
        </p:nvSpPr>
        <p:spPr>
          <a:xfrm>
            <a:off x="980674" y="4170491"/>
            <a:ext cx="5538340" cy="74856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оррупцио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ражатлар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уфайл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шлаб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иқар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ннарх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шиш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тижа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стеъмолч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чу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варлар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изматларн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от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ражатлар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uz-Cyrl-UZ" sz="1600" spc="-4" dirty="0">
                <a:solidFill>
                  <a:schemeClr val="tx2"/>
                </a:solidFill>
                <a:cs typeface="Arial" panose="020B0604020202020204" pitchFamily="34" charset="0"/>
              </a:rPr>
              <a:t>ў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иши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0" name="object 15">
            <a:extLst>
              <a:ext uri="{FF2B5EF4-FFF2-40B4-BE49-F238E27FC236}">
                <a16:creationId xmlns:a16="http://schemas.microsoft.com/office/drawing/2014/main" id="{11B1E999-760F-4379-9096-E69EF0D64805}"/>
              </a:ext>
            </a:extLst>
          </p:cNvPr>
          <p:cNvSpPr txBox="1"/>
          <p:nvPr/>
        </p:nvSpPr>
        <p:spPr>
          <a:xfrm>
            <a:off x="980674" y="5098712"/>
            <a:ext cx="5538340" cy="74856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Бюджет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ромадлар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сқариши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апитал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чет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эл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чиқиб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етиши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иб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еладига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яшири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қтисодиёт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шаклланиши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1" name="object 12">
            <a:extLst>
              <a:ext uri="{FF2B5EF4-FFF2-40B4-BE49-F238E27FC236}">
                <a16:creationId xmlns:a16="http://schemas.microsoft.com/office/drawing/2014/main" id="{0F8EFBE9-91C0-4265-9FA7-B37191D431EC}"/>
              </a:ext>
            </a:extLst>
          </p:cNvPr>
          <p:cNvSpPr/>
          <p:nvPr/>
        </p:nvSpPr>
        <p:spPr>
          <a:xfrm>
            <a:off x="431999" y="1282904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8840D1A-1C83-4A7A-9C71-B6936C38CBBD}"/>
              </a:ext>
            </a:extLst>
          </p:cNvPr>
          <p:cNvGrpSpPr/>
          <p:nvPr/>
        </p:nvGrpSpPr>
        <p:grpSpPr>
          <a:xfrm>
            <a:off x="658915" y="1336601"/>
            <a:ext cx="522493" cy="561175"/>
            <a:chOff x="5707175" y="2357025"/>
            <a:chExt cx="522493" cy="561175"/>
          </a:xfrm>
        </p:grpSpPr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416D0AE6-2CB2-4865-9524-C2272A227F0B}"/>
                </a:ext>
              </a:extLst>
            </p:cNvPr>
            <p:cNvSpPr/>
            <p:nvPr/>
          </p:nvSpPr>
          <p:spPr>
            <a:xfrm>
              <a:off x="6126385" y="2766556"/>
              <a:ext cx="72906" cy="145812"/>
            </a:xfrm>
            <a:custGeom>
              <a:avLst/>
              <a:gdLst>
                <a:gd name="connsiteX0" fmla="*/ 65858 w 72906"/>
                <a:gd name="connsiteY0" fmla="*/ 139494 h 145812"/>
                <a:gd name="connsiteX1" fmla="*/ 12151 w 72906"/>
                <a:gd name="connsiteY1" fmla="*/ 139494 h 145812"/>
                <a:gd name="connsiteX2" fmla="*/ 12151 w 72906"/>
                <a:gd name="connsiteY2" fmla="*/ 12151 h 145812"/>
                <a:gd name="connsiteX3" fmla="*/ 65858 w 72906"/>
                <a:gd name="connsiteY3" fmla="*/ 12151 h 14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45812">
                  <a:moveTo>
                    <a:pt x="65858" y="139494"/>
                  </a:moveTo>
                  <a:lnTo>
                    <a:pt x="12151" y="139494"/>
                  </a:lnTo>
                  <a:lnTo>
                    <a:pt x="12151" y="12151"/>
                  </a:lnTo>
                  <a:lnTo>
                    <a:pt x="65858" y="12151"/>
                  </a:ln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B42CE275-13FA-4627-8B2B-0B086301E297}"/>
                </a:ext>
              </a:extLst>
            </p:cNvPr>
            <p:cNvSpPr/>
            <p:nvPr/>
          </p:nvSpPr>
          <p:spPr>
            <a:xfrm>
              <a:off x="6028934" y="2720463"/>
              <a:ext cx="72906" cy="194416"/>
            </a:xfrm>
            <a:custGeom>
              <a:avLst/>
              <a:gdLst>
                <a:gd name="connsiteX0" fmla="*/ 12151 w 72906"/>
                <a:gd name="connsiteY0" fmla="*/ 42610 h 194416"/>
                <a:gd name="connsiteX1" fmla="*/ 12151 w 72906"/>
                <a:gd name="connsiteY1" fmla="*/ 185586 h 194416"/>
                <a:gd name="connsiteX2" fmla="*/ 65858 w 72906"/>
                <a:gd name="connsiteY2" fmla="*/ 185586 h 194416"/>
                <a:gd name="connsiteX3" fmla="*/ 65858 w 72906"/>
                <a:gd name="connsiteY3" fmla="*/ 12151 h 194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94416">
                  <a:moveTo>
                    <a:pt x="12151" y="42610"/>
                  </a:moveTo>
                  <a:lnTo>
                    <a:pt x="12151" y="185586"/>
                  </a:lnTo>
                  <a:lnTo>
                    <a:pt x="65858" y="185586"/>
                  </a:lnTo>
                  <a:lnTo>
                    <a:pt x="65858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3E88F0C-A5B6-44F5-8A3B-CA4536C37354}"/>
                </a:ext>
              </a:extLst>
            </p:cNvPr>
            <p:cNvSpPr/>
            <p:nvPr/>
          </p:nvSpPr>
          <p:spPr>
            <a:xfrm>
              <a:off x="6028934" y="2590447"/>
              <a:ext cx="72906" cy="105309"/>
            </a:xfrm>
            <a:custGeom>
              <a:avLst/>
              <a:gdLst>
                <a:gd name="connsiteX0" fmla="*/ 65858 w 72906"/>
                <a:gd name="connsiteY0" fmla="*/ 37911 h 105308"/>
                <a:gd name="connsiteX1" fmla="*/ 65858 w 72906"/>
                <a:gd name="connsiteY1" fmla="*/ 12151 h 105308"/>
                <a:gd name="connsiteX2" fmla="*/ 12151 w 72906"/>
                <a:gd name="connsiteY2" fmla="*/ 12151 h 105308"/>
                <a:gd name="connsiteX3" fmla="*/ 12151 w 72906"/>
                <a:gd name="connsiteY3" fmla="*/ 100367 h 1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05308">
                  <a:moveTo>
                    <a:pt x="65858" y="37911"/>
                  </a:moveTo>
                  <a:lnTo>
                    <a:pt x="65858" y="12151"/>
                  </a:lnTo>
                  <a:lnTo>
                    <a:pt x="12151" y="12151"/>
                  </a:lnTo>
                  <a:lnTo>
                    <a:pt x="12151" y="100367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5FDF1339-15DF-4C76-A21A-F23ADC15BF15}"/>
                </a:ext>
              </a:extLst>
            </p:cNvPr>
            <p:cNvSpPr/>
            <p:nvPr/>
          </p:nvSpPr>
          <p:spPr>
            <a:xfrm>
              <a:off x="5931402" y="2762586"/>
              <a:ext cx="72906" cy="153913"/>
            </a:xfrm>
            <a:custGeom>
              <a:avLst/>
              <a:gdLst>
                <a:gd name="connsiteX0" fmla="*/ 12151 w 72906"/>
                <a:gd name="connsiteY0" fmla="*/ 12718 h 153912"/>
                <a:gd name="connsiteX1" fmla="*/ 12151 w 72906"/>
                <a:gd name="connsiteY1" fmla="*/ 143463 h 153912"/>
                <a:gd name="connsiteX2" fmla="*/ 65859 w 72906"/>
                <a:gd name="connsiteY2" fmla="*/ 143463 h 153912"/>
                <a:gd name="connsiteX3" fmla="*/ 65859 w 72906"/>
                <a:gd name="connsiteY3" fmla="*/ 12151 h 15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53912">
                  <a:moveTo>
                    <a:pt x="12151" y="12718"/>
                  </a:moveTo>
                  <a:lnTo>
                    <a:pt x="12151" y="143463"/>
                  </a:lnTo>
                  <a:lnTo>
                    <a:pt x="65859" y="143463"/>
                  </a:lnTo>
                  <a:lnTo>
                    <a:pt x="65859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C23E4C1D-A748-4CBB-BB3F-80A334E9780F}"/>
                </a:ext>
              </a:extLst>
            </p:cNvPr>
            <p:cNvSpPr/>
            <p:nvPr/>
          </p:nvSpPr>
          <p:spPr>
            <a:xfrm>
              <a:off x="5931402" y="2504742"/>
              <a:ext cx="72906" cy="210617"/>
            </a:xfrm>
            <a:custGeom>
              <a:avLst/>
              <a:gdLst>
                <a:gd name="connsiteX0" fmla="*/ 65859 w 72906"/>
                <a:gd name="connsiteY0" fmla="*/ 203813 h 210617"/>
                <a:gd name="connsiteX1" fmla="*/ 65859 w 72906"/>
                <a:gd name="connsiteY1" fmla="*/ 12151 h 210617"/>
                <a:gd name="connsiteX2" fmla="*/ 12151 w 72906"/>
                <a:gd name="connsiteY2" fmla="*/ 12151 h 210617"/>
                <a:gd name="connsiteX3" fmla="*/ 12151 w 72906"/>
                <a:gd name="connsiteY3" fmla="*/ 203813 h 210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210617">
                  <a:moveTo>
                    <a:pt x="65859" y="203813"/>
                  </a:moveTo>
                  <a:lnTo>
                    <a:pt x="65859" y="12151"/>
                  </a:lnTo>
                  <a:lnTo>
                    <a:pt x="12151" y="12151"/>
                  </a:lnTo>
                  <a:lnTo>
                    <a:pt x="12151" y="203813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05E7897-3548-43BA-8196-91022CDA9F25}"/>
                </a:ext>
              </a:extLst>
            </p:cNvPr>
            <p:cNvSpPr/>
            <p:nvPr/>
          </p:nvSpPr>
          <p:spPr>
            <a:xfrm>
              <a:off x="5833951" y="2723460"/>
              <a:ext cx="72906" cy="194416"/>
            </a:xfrm>
            <a:custGeom>
              <a:avLst/>
              <a:gdLst>
                <a:gd name="connsiteX0" fmla="*/ 12151 w 72906"/>
                <a:gd name="connsiteY0" fmla="*/ 12151 h 194416"/>
                <a:gd name="connsiteX1" fmla="*/ 12151 w 72906"/>
                <a:gd name="connsiteY1" fmla="*/ 182589 h 194416"/>
                <a:gd name="connsiteX2" fmla="*/ 65859 w 72906"/>
                <a:gd name="connsiteY2" fmla="*/ 182589 h 194416"/>
                <a:gd name="connsiteX3" fmla="*/ 65859 w 72906"/>
                <a:gd name="connsiteY3" fmla="*/ 41394 h 194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94416">
                  <a:moveTo>
                    <a:pt x="12151" y="12151"/>
                  </a:moveTo>
                  <a:lnTo>
                    <a:pt x="12151" y="182589"/>
                  </a:lnTo>
                  <a:lnTo>
                    <a:pt x="65859" y="182589"/>
                  </a:lnTo>
                  <a:lnTo>
                    <a:pt x="65859" y="41394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9465148A-6540-48B8-9CBA-F95EFADB0810}"/>
                </a:ext>
              </a:extLst>
            </p:cNvPr>
            <p:cNvSpPr/>
            <p:nvPr/>
          </p:nvSpPr>
          <p:spPr>
            <a:xfrm>
              <a:off x="5833951" y="2579997"/>
              <a:ext cx="72906" cy="121510"/>
            </a:xfrm>
            <a:custGeom>
              <a:avLst/>
              <a:gdLst>
                <a:gd name="connsiteX0" fmla="*/ 65859 w 72906"/>
                <a:gd name="connsiteY0" fmla="*/ 113247 h 121510"/>
                <a:gd name="connsiteX1" fmla="*/ 65859 w 72906"/>
                <a:gd name="connsiteY1" fmla="*/ 12151 h 121510"/>
                <a:gd name="connsiteX2" fmla="*/ 12151 w 72906"/>
                <a:gd name="connsiteY2" fmla="*/ 12151 h 121510"/>
                <a:gd name="connsiteX3" fmla="*/ 12151 w 72906"/>
                <a:gd name="connsiteY3" fmla="*/ 56624 h 121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121510">
                  <a:moveTo>
                    <a:pt x="65859" y="113247"/>
                  </a:moveTo>
                  <a:lnTo>
                    <a:pt x="65859" y="12151"/>
                  </a:lnTo>
                  <a:lnTo>
                    <a:pt x="12151" y="12151"/>
                  </a:lnTo>
                  <a:lnTo>
                    <a:pt x="12151" y="56624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44389DD-2BBF-4DC7-AEB3-E49CD3383AEC}"/>
                </a:ext>
              </a:extLst>
            </p:cNvPr>
            <p:cNvSpPr/>
            <p:nvPr/>
          </p:nvSpPr>
          <p:spPr>
            <a:xfrm>
              <a:off x="5736419" y="2679312"/>
              <a:ext cx="72906" cy="234919"/>
            </a:xfrm>
            <a:custGeom>
              <a:avLst/>
              <a:gdLst>
                <a:gd name="connsiteX0" fmla="*/ 65858 w 72906"/>
                <a:gd name="connsiteY0" fmla="*/ 226738 h 234919"/>
                <a:gd name="connsiteX1" fmla="*/ 12151 w 72906"/>
                <a:gd name="connsiteY1" fmla="*/ 226738 h 234919"/>
                <a:gd name="connsiteX2" fmla="*/ 12151 w 72906"/>
                <a:gd name="connsiteY2" fmla="*/ 12151 h 234919"/>
                <a:gd name="connsiteX3" fmla="*/ 65858 w 72906"/>
                <a:gd name="connsiteY3" fmla="*/ 12151 h 234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906" h="234919">
                  <a:moveTo>
                    <a:pt x="65858" y="226738"/>
                  </a:moveTo>
                  <a:lnTo>
                    <a:pt x="12151" y="226738"/>
                  </a:lnTo>
                  <a:lnTo>
                    <a:pt x="12151" y="12151"/>
                  </a:lnTo>
                  <a:lnTo>
                    <a:pt x="65858" y="12151"/>
                  </a:ln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198C322-52F4-4E83-AB64-71BBFBBEFB68}"/>
                </a:ext>
              </a:extLst>
            </p:cNvPr>
            <p:cNvSpPr/>
            <p:nvPr/>
          </p:nvSpPr>
          <p:spPr>
            <a:xfrm>
              <a:off x="5707175" y="2893898"/>
              <a:ext cx="518443" cy="24302"/>
            </a:xfrm>
            <a:custGeom>
              <a:avLst/>
              <a:gdLst>
                <a:gd name="connsiteX0" fmla="*/ 514231 w 518443"/>
                <a:gd name="connsiteY0" fmla="*/ 12151 h 24302"/>
                <a:gd name="connsiteX1" fmla="*/ 12151 w 518443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8443" h="24302">
                  <a:moveTo>
                    <a:pt x="514231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88975C8C-C1DC-42C2-97C4-3CCC75611D17}"/>
                </a:ext>
              </a:extLst>
            </p:cNvPr>
            <p:cNvSpPr/>
            <p:nvPr/>
          </p:nvSpPr>
          <p:spPr>
            <a:xfrm>
              <a:off x="6091957" y="2641076"/>
              <a:ext cx="137711" cy="113409"/>
            </a:xfrm>
            <a:custGeom>
              <a:avLst/>
              <a:gdLst>
                <a:gd name="connsiteX0" fmla="*/ 27866 w 137711"/>
                <a:gd name="connsiteY0" fmla="*/ 12151 h 113409"/>
                <a:gd name="connsiteX1" fmla="*/ 113652 w 137711"/>
                <a:gd name="connsiteY1" fmla="*/ 58487 h 113409"/>
                <a:gd name="connsiteX2" fmla="*/ 127991 w 137711"/>
                <a:gd name="connsiteY2" fmla="*/ 73392 h 113409"/>
                <a:gd name="connsiteX3" fmla="*/ 126938 w 137711"/>
                <a:gd name="connsiteY3" fmla="*/ 92348 h 113409"/>
                <a:gd name="connsiteX4" fmla="*/ 110412 w 137711"/>
                <a:gd name="connsiteY4" fmla="*/ 101339 h 113409"/>
                <a:gd name="connsiteX5" fmla="*/ 90403 w 137711"/>
                <a:gd name="connsiteY5" fmla="*/ 95102 h 113409"/>
                <a:gd name="connsiteX6" fmla="*/ 12151 w 137711"/>
                <a:gd name="connsiteY6" fmla="*/ 37020 h 113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711" h="113409">
                  <a:moveTo>
                    <a:pt x="27866" y="12151"/>
                  </a:moveTo>
                  <a:cubicBezTo>
                    <a:pt x="27866" y="12151"/>
                    <a:pt x="92510" y="47308"/>
                    <a:pt x="113652" y="58487"/>
                  </a:cubicBezTo>
                  <a:cubicBezTo>
                    <a:pt x="119647" y="61646"/>
                    <a:pt x="126046" y="68127"/>
                    <a:pt x="127991" y="73392"/>
                  </a:cubicBezTo>
                  <a:cubicBezTo>
                    <a:pt x="129935" y="78658"/>
                    <a:pt x="130907" y="86110"/>
                    <a:pt x="126938" y="92348"/>
                  </a:cubicBezTo>
                  <a:cubicBezTo>
                    <a:pt x="123049" y="98423"/>
                    <a:pt x="115921" y="100529"/>
                    <a:pt x="110412" y="101339"/>
                  </a:cubicBezTo>
                  <a:cubicBezTo>
                    <a:pt x="105390" y="102068"/>
                    <a:pt x="97532" y="100205"/>
                    <a:pt x="90403" y="95102"/>
                  </a:cubicBezTo>
                  <a:cubicBezTo>
                    <a:pt x="70638" y="80683"/>
                    <a:pt x="12151" y="37020"/>
                    <a:pt x="12151" y="37020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800C0F62-CD8E-411A-9D5D-0FC4B72F1662}"/>
                </a:ext>
              </a:extLst>
            </p:cNvPr>
            <p:cNvSpPr/>
            <p:nvPr/>
          </p:nvSpPr>
          <p:spPr>
            <a:xfrm>
              <a:off x="5751169" y="2357025"/>
              <a:ext cx="429336" cy="429336"/>
            </a:xfrm>
            <a:custGeom>
              <a:avLst/>
              <a:gdLst>
                <a:gd name="connsiteX0" fmla="*/ 383336 w 429335"/>
                <a:gd name="connsiteY0" fmla="*/ 180486 h 429335"/>
                <a:gd name="connsiteX1" fmla="*/ 254206 w 429335"/>
                <a:gd name="connsiteY1" fmla="*/ 383336 h 429335"/>
                <a:gd name="connsiteX2" fmla="*/ 51356 w 429335"/>
                <a:gd name="connsiteY2" fmla="*/ 254206 h 429335"/>
                <a:gd name="connsiteX3" fmla="*/ 180486 w 429335"/>
                <a:gd name="connsiteY3" fmla="*/ 51356 h 429335"/>
                <a:gd name="connsiteX4" fmla="*/ 383336 w 429335"/>
                <a:gd name="connsiteY4" fmla="*/ 180486 h 429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9335" h="429335">
                  <a:moveTo>
                    <a:pt x="383336" y="180486"/>
                  </a:moveTo>
                  <a:cubicBezTo>
                    <a:pt x="403693" y="272160"/>
                    <a:pt x="345879" y="362978"/>
                    <a:pt x="254206" y="383336"/>
                  </a:cubicBezTo>
                  <a:cubicBezTo>
                    <a:pt x="162532" y="403693"/>
                    <a:pt x="71713" y="345879"/>
                    <a:pt x="51356" y="254206"/>
                  </a:cubicBezTo>
                  <a:cubicBezTo>
                    <a:pt x="30999" y="162532"/>
                    <a:pt x="88812" y="71713"/>
                    <a:pt x="180486" y="51356"/>
                  </a:cubicBezTo>
                  <a:cubicBezTo>
                    <a:pt x="272160" y="30999"/>
                    <a:pt x="362979" y="88812"/>
                    <a:pt x="383336" y="180486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92E4E6B-B5A0-4999-A9EF-5A529A9ED4CA}"/>
                </a:ext>
              </a:extLst>
            </p:cNvPr>
            <p:cNvSpPr/>
            <p:nvPr/>
          </p:nvSpPr>
          <p:spPr>
            <a:xfrm>
              <a:off x="5934318" y="2424755"/>
              <a:ext cx="178215" cy="129611"/>
            </a:xfrm>
            <a:custGeom>
              <a:avLst/>
              <a:gdLst>
                <a:gd name="connsiteX0" fmla="*/ 168008 w 178214"/>
                <a:gd name="connsiteY0" fmla="*/ 118384 h 129610"/>
                <a:gd name="connsiteX1" fmla="*/ 107982 w 178214"/>
                <a:gd name="connsiteY1" fmla="*/ 33651 h 129610"/>
                <a:gd name="connsiteX2" fmla="*/ 12151 w 178214"/>
                <a:gd name="connsiteY2" fmla="*/ 13967 h 1296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214" h="129610">
                  <a:moveTo>
                    <a:pt x="168008" y="118384"/>
                  </a:moveTo>
                  <a:cubicBezTo>
                    <a:pt x="160150" y="84605"/>
                    <a:pt x="139575" y="53741"/>
                    <a:pt x="107982" y="33651"/>
                  </a:cubicBezTo>
                  <a:cubicBezTo>
                    <a:pt x="78333" y="14777"/>
                    <a:pt x="44230" y="8701"/>
                    <a:pt x="12151" y="13967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55" name="object 15">
            <a:extLst>
              <a:ext uri="{FF2B5EF4-FFF2-40B4-BE49-F238E27FC236}">
                <a16:creationId xmlns:a16="http://schemas.microsoft.com/office/drawing/2014/main" id="{3470209C-EF8D-41AD-930D-8CF17DB8D338}"/>
              </a:ext>
            </a:extLst>
          </p:cNvPr>
          <p:cNvSpPr txBox="1"/>
          <p:nvPr/>
        </p:nvSpPr>
        <p:spPr>
          <a:xfrm>
            <a:off x="980674" y="6044465"/>
            <a:ext cx="5538340" cy="25612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млакат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нвестицио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озибадорлиг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йўқотилиши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grpSp>
        <p:nvGrpSpPr>
          <p:cNvPr id="56" name="Group 1722">
            <a:extLst>
              <a:ext uri="{FF2B5EF4-FFF2-40B4-BE49-F238E27FC236}">
                <a16:creationId xmlns:a16="http://schemas.microsoft.com/office/drawing/2014/main" id="{98E2D2E4-EE27-408A-9C58-D96CB117EA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2269791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57" name="Freeform 1723">
              <a:extLst>
                <a:ext uri="{FF2B5EF4-FFF2-40B4-BE49-F238E27FC236}">
                  <a16:creationId xmlns:a16="http://schemas.microsoft.com/office/drawing/2014/main" id="{F5D03A1A-74AC-477F-BAD0-2EF3CD8BC4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1724">
              <a:extLst>
                <a:ext uri="{FF2B5EF4-FFF2-40B4-BE49-F238E27FC236}">
                  <a16:creationId xmlns:a16="http://schemas.microsoft.com/office/drawing/2014/main" id="{E5B0B71F-8BA8-470A-8C32-F9EC10909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1725">
              <a:extLst>
                <a:ext uri="{FF2B5EF4-FFF2-40B4-BE49-F238E27FC236}">
                  <a16:creationId xmlns:a16="http://schemas.microsoft.com/office/drawing/2014/main" id="{79DFA343-75AE-4DE5-99BF-D402724A85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3" name="Group 1722">
            <a:extLst>
              <a:ext uri="{FF2B5EF4-FFF2-40B4-BE49-F238E27FC236}">
                <a16:creationId xmlns:a16="http://schemas.microsoft.com/office/drawing/2014/main" id="{FD86E2B2-8447-4D54-B96B-2E59A4EA9A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3457383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64" name="Freeform 1723">
              <a:extLst>
                <a:ext uri="{FF2B5EF4-FFF2-40B4-BE49-F238E27FC236}">
                  <a16:creationId xmlns:a16="http://schemas.microsoft.com/office/drawing/2014/main" id="{EA5A994B-5F03-42C7-9668-2DFB73EB0C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1724">
              <a:extLst>
                <a:ext uri="{FF2B5EF4-FFF2-40B4-BE49-F238E27FC236}">
                  <a16:creationId xmlns:a16="http://schemas.microsoft.com/office/drawing/2014/main" id="{1E04B7EF-CFBD-4C5C-8ED0-2673216118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1725">
              <a:extLst>
                <a:ext uri="{FF2B5EF4-FFF2-40B4-BE49-F238E27FC236}">
                  <a16:creationId xmlns:a16="http://schemas.microsoft.com/office/drawing/2014/main" id="{9C3D1AB6-D59F-476E-9069-0E328A451C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7" name="Group 1722">
            <a:extLst>
              <a:ext uri="{FF2B5EF4-FFF2-40B4-BE49-F238E27FC236}">
                <a16:creationId xmlns:a16="http://schemas.microsoft.com/office/drawing/2014/main" id="{703097BE-C3BA-46CA-B879-C0AE589A31B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4156903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68" name="Freeform 1723">
              <a:extLst>
                <a:ext uri="{FF2B5EF4-FFF2-40B4-BE49-F238E27FC236}">
                  <a16:creationId xmlns:a16="http://schemas.microsoft.com/office/drawing/2014/main" id="{7B0A6C8A-9C6E-4E17-8538-85C88A9DA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1724">
              <a:extLst>
                <a:ext uri="{FF2B5EF4-FFF2-40B4-BE49-F238E27FC236}">
                  <a16:creationId xmlns:a16="http://schemas.microsoft.com/office/drawing/2014/main" id="{7EE7B035-87DE-4530-A5EB-E3E5D5171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1725">
              <a:extLst>
                <a:ext uri="{FF2B5EF4-FFF2-40B4-BE49-F238E27FC236}">
                  <a16:creationId xmlns:a16="http://schemas.microsoft.com/office/drawing/2014/main" id="{D0087726-8CC2-4C4D-8E0F-E5D9B6F99F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1" name="Group 1722">
            <a:extLst>
              <a:ext uri="{FF2B5EF4-FFF2-40B4-BE49-F238E27FC236}">
                <a16:creationId xmlns:a16="http://schemas.microsoft.com/office/drawing/2014/main" id="{A2AAD006-CB35-4526-B747-9D336CF344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5085124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72" name="Freeform 1723">
              <a:extLst>
                <a:ext uri="{FF2B5EF4-FFF2-40B4-BE49-F238E27FC236}">
                  <a16:creationId xmlns:a16="http://schemas.microsoft.com/office/drawing/2014/main" id="{2F00628E-CB91-4CEE-932B-D13EE129AE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1724">
              <a:extLst>
                <a:ext uri="{FF2B5EF4-FFF2-40B4-BE49-F238E27FC236}">
                  <a16:creationId xmlns:a16="http://schemas.microsoft.com/office/drawing/2014/main" id="{8EB8F430-456B-4AC3-9E39-148BCA3C43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1725">
              <a:extLst>
                <a:ext uri="{FF2B5EF4-FFF2-40B4-BE49-F238E27FC236}">
                  <a16:creationId xmlns:a16="http://schemas.microsoft.com/office/drawing/2014/main" id="{7519E07B-EB1B-4672-B8EC-35CBD270C8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5" name="Group 1722">
            <a:extLst>
              <a:ext uri="{FF2B5EF4-FFF2-40B4-BE49-F238E27FC236}">
                <a16:creationId xmlns:a16="http://schemas.microsoft.com/office/drawing/2014/main" id="{058096EB-2431-455F-87BB-C04375FFB8C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5971970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76" name="Freeform 1723">
              <a:extLst>
                <a:ext uri="{FF2B5EF4-FFF2-40B4-BE49-F238E27FC236}">
                  <a16:creationId xmlns:a16="http://schemas.microsoft.com/office/drawing/2014/main" id="{3CE0FC43-07BD-48B9-95E5-CB82AB7FEA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1724">
              <a:extLst>
                <a:ext uri="{FF2B5EF4-FFF2-40B4-BE49-F238E27FC236}">
                  <a16:creationId xmlns:a16="http://schemas.microsoft.com/office/drawing/2014/main" id="{4056B394-B11A-4422-A978-FEBC3F0401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1725">
              <a:extLst>
                <a:ext uri="{FF2B5EF4-FFF2-40B4-BE49-F238E27FC236}">
                  <a16:creationId xmlns:a16="http://schemas.microsoft.com/office/drawing/2014/main" id="{6D558806-3FCD-4F76-B520-03C7621768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0594461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CDAD5B9-820A-44FE-9587-FF04A470C4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CDAD5B9-820A-44FE-9587-FF04A470C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/>
          <p:cNvSpPr txBox="1"/>
          <p:nvPr/>
        </p:nvSpPr>
        <p:spPr>
          <a:xfrm>
            <a:off x="980674" y="2322508"/>
            <a:ext cx="5538340" cy="74856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нсабдор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шахслар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м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лар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яқи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га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узилмалар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ам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гуруҳлар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нфаатларин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уқаролар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уту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млакат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нфаатларида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сту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ўйиш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9D77A8-5E01-4639-9CE0-9C4200051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оррупциянинг</a:t>
            </a:r>
            <a:r>
              <a:rPr lang="ru-RU" dirty="0"/>
              <a:t> </a:t>
            </a:r>
            <a:r>
              <a:rPr lang="ru-RU" dirty="0" err="1"/>
              <a:t>оқибатлари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3FCEA7-AD15-42F4-956C-4140969F9D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96" name="Объект 2">
            <a:extLst>
              <a:ext uri="{FF2B5EF4-FFF2-40B4-BE49-F238E27FC236}">
                <a16:creationId xmlns:a16="http://schemas.microsoft.com/office/drawing/2014/main" id="{544F4D1E-D940-481B-86BA-BE0E11E98A02}"/>
              </a:ext>
            </a:extLst>
          </p:cNvPr>
          <p:cNvSpPr txBox="1">
            <a:spLocks/>
          </p:cNvSpPr>
          <p:nvPr/>
        </p:nvSpPr>
        <p:spPr>
          <a:xfrm>
            <a:off x="1414877" y="1427118"/>
            <a:ext cx="5207883" cy="49642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err="1">
                <a:solidFill>
                  <a:srgbClr val="0070C0"/>
                </a:solidFill>
              </a:rPr>
              <a:t>Коррупциянинг</a:t>
            </a:r>
            <a:r>
              <a:rPr lang="ru-RU" sz="2000" dirty="0">
                <a:solidFill>
                  <a:srgbClr val="0070C0"/>
                </a:solidFill>
              </a:rPr>
              <a:t>  </a:t>
            </a:r>
            <a:r>
              <a:rPr lang="ru-RU" sz="2000" dirty="0" err="1">
                <a:solidFill>
                  <a:srgbClr val="0070C0"/>
                </a:solidFill>
              </a:rPr>
              <a:t>сиёсий</a:t>
            </a:r>
            <a:r>
              <a:rPr lang="ru-RU" sz="2000" dirty="0">
                <a:solidFill>
                  <a:srgbClr val="0070C0"/>
                </a:solidFill>
              </a:rPr>
              <a:t> </a:t>
            </a:r>
            <a:r>
              <a:rPr lang="ru-RU" sz="2000" dirty="0" err="1">
                <a:solidFill>
                  <a:srgbClr val="0070C0"/>
                </a:solidFill>
              </a:rPr>
              <a:t>оқибатлари</a:t>
            </a:r>
            <a:endParaRPr lang="ru-RU" sz="2000" dirty="0">
              <a:solidFill>
                <a:srgbClr val="0070C0"/>
              </a:solidFill>
            </a:endParaRPr>
          </a:p>
        </p:txBody>
      </p:sp>
      <p:sp>
        <p:nvSpPr>
          <p:cNvPr id="38" name="object 15">
            <a:extLst>
              <a:ext uri="{FF2B5EF4-FFF2-40B4-BE49-F238E27FC236}">
                <a16:creationId xmlns:a16="http://schemas.microsoft.com/office/drawing/2014/main" id="{BDB27B72-C2C4-4496-A4EA-44236D281627}"/>
              </a:ext>
            </a:extLst>
          </p:cNvPr>
          <p:cNvSpPr txBox="1"/>
          <p:nvPr/>
        </p:nvSpPr>
        <p:spPr>
          <a:xfrm>
            <a:off x="980674" y="3412916"/>
            <a:ext cx="5538340" cy="74856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иёсий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ақобат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асайиш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тижа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окимият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емократик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нститутлар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обилиятсизлиги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иб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елад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39" name="object 15">
            <a:extLst>
              <a:ext uri="{FF2B5EF4-FFF2-40B4-BE49-F238E27FC236}">
                <a16:creationId xmlns:a16="http://schemas.microsoft.com/office/drawing/2014/main" id="{FB630400-6E91-41ED-8DEB-FCA2C0483BA6}"/>
              </a:ext>
            </a:extLst>
          </p:cNvPr>
          <p:cNvSpPr txBox="1"/>
          <p:nvPr/>
        </p:nvSpPr>
        <p:spPr>
          <a:xfrm>
            <a:off x="980674" y="4503324"/>
            <a:ext cx="5538340" cy="502341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уқаролар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окимият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нститутлари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шонч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асайиши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0" name="object 15">
            <a:extLst>
              <a:ext uri="{FF2B5EF4-FFF2-40B4-BE49-F238E27FC236}">
                <a16:creationId xmlns:a16="http://schemas.microsoft.com/office/drawing/2014/main" id="{11B1E999-760F-4379-9096-E69EF0D64805}"/>
              </a:ext>
            </a:extLst>
          </p:cNvPr>
          <p:cNvSpPr txBox="1"/>
          <p:nvPr/>
        </p:nvSpPr>
        <p:spPr>
          <a:xfrm>
            <a:off x="980674" y="5101290"/>
            <a:ext cx="5538340" cy="25612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млакат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лқаро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йдондаг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брўс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улаши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41" name="object 12">
            <a:extLst>
              <a:ext uri="{FF2B5EF4-FFF2-40B4-BE49-F238E27FC236}">
                <a16:creationId xmlns:a16="http://schemas.microsoft.com/office/drawing/2014/main" id="{0F8EFBE9-91C0-4265-9FA7-B37191D431EC}"/>
              </a:ext>
            </a:extLst>
          </p:cNvPr>
          <p:cNvSpPr/>
          <p:nvPr/>
        </p:nvSpPr>
        <p:spPr>
          <a:xfrm>
            <a:off x="431999" y="1282904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6" name="Group 1722">
            <a:extLst>
              <a:ext uri="{FF2B5EF4-FFF2-40B4-BE49-F238E27FC236}">
                <a16:creationId xmlns:a16="http://schemas.microsoft.com/office/drawing/2014/main" id="{98E2D2E4-EE27-408A-9C58-D96CB117EA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2272369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57" name="Freeform 1723">
              <a:extLst>
                <a:ext uri="{FF2B5EF4-FFF2-40B4-BE49-F238E27FC236}">
                  <a16:creationId xmlns:a16="http://schemas.microsoft.com/office/drawing/2014/main" id="{F5D03A1A-74AC-477F-BAD0-2EF3CD8BC4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1724">
              <a:extLst>
                <a:ext uri="{FF2B5EF4-FFF2-40B4-BE49-F238E27FC236}">
                  <a16:creationId xmlns:a16="http://schemas.microsoft.com/office/drawing/2014/main" id="{E5B0B71F-8BA8-470A-8C32-F9EC10909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1725">
              <a:extLst>
                <a:ext uri="{FF2B5EF4-FFF2-40B4-BE49-F238E27FC236}">
                  <a16:creationId xmlns:a16="http://schemas.microsoft.com/office/drawing/2014/main" id="{79DFA343-75AE-4DE5-99BF-D402724A85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3" name="Group 1722">
            <a:extLst>
              <a:ext uri="{FF2B5EF4-FFF2-40B4-BE49-F238E27FC236}">
                <a16:creationId xmlns:a16="http://schemas.microsoft.com/office/drawing/2014/main" id="{FD86E2B2-8447-4D54-B96B-2E59A4EA9A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3373897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64" name="Freeform 1723">
              <a:extLst>
                <a:ext uri="{FF2B5EF4-FFF2-40B4-BE49-F238E27FC236}">
                  <a16:creationId xmlns:a16="http://schemas.microsoft.com/office/drawing/2014/main" id="{EA5A994B-5F03-42C7-9668-2DFB73EB0C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1724">
              <a:extLst>
                <a:ext uri="{FF2B5EF4-FFF2-40B4-BE49-F238E27FC236}">
                  <a16:creationId xmlns:a16="http://schemas.microsoft.com/office/drawing/2014/main" id="{1E04B7EF-CFBD-4C5C-8ED0-2673216118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1725">
              <a:extLst>
                <a:ext uri="{FF2B5EF4-FFF2-40B4-BE49-F238E27FC236}">
                  <a16:creationId xmlns:a16="http://schemas.microsoft.com/office/drawing/2014/main" id="{9C3D1AB6-D59F-476E-9069-0E328A451C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7" name="Group 1722">
            <a:extLst>
              <a:ext uri="{FF2B5EF4-FFF2-40B4-BE49-F238E27FC236}">
                <a16:creationId xmlns:a16="http://schemas.microsoft.com/office/drawing/2014/main" id="{703097BE-C3BA-46CA-B879-C0AE589A31B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4439182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68" name="Freeform 1723">
              <a:extLst>
                <a:ext uri="{FF2B5EF4-FFF2-40B4-BE49-F238E27FC236}">
                  <a16:creationId xmlns:a16="http://schemas.microsoft.com/office/drawing/2014/main" id="{7B0A6C8A-9C6E-4E17-8538-85C88A9DA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1724">
              <a:extLst>
                <a:ext uri="{FF2B5EF4-FFF2-40B4-BE49-F238E27FC236}">
                  <a16:creationId xmlns:a16="http://schemas.microsoft.com/office/drawing/2014/main" id="{7EE7B035-87DE-4530-A5EB-E3E5D5171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1725">
              <a:extLst>
                <a:ext uri="{FF2B5EF4-FFF2-40B4-BE49-F238E27FC236}">
                  <a16:creationId xmlns:a16="http://schemas.microsoft.com/office/drawing/2014/main" id="{D0087726-8CC2-4C4D-8E0F-E5D9B6F99F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1" name="Group 1722">
            <a:extLst>
              <a:ext uri="{FF2B5EF4-FFF2-40B4-BE49-F238E27FC236}">
                <a16:creationId xmlns:a16="http://schemas.microsoft.com/office/drawing/2014/main" id="{A2AAD006-CB35-4526-B747-9D336CF344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5055428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72" name="Freeform 1723">
              <a:extLst>
                <a:ext uri="{FF2B5EF4-FFF2-40B4-BE49-F238E27FC236}">
                  <a16:creationId xmlns:a16="http://schemas.microsoft.com/office/drawing/2014/main" id="{2F00628E-CB91-4CEE-932B-D13EE129AE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1724">
              <a:extLst>
                <a:ext uri="{FF2B5EF4-FFF2-40B4-BE49-F238E27FC236}">
                  <a16:creationId xmlns:a16="http://schemas.microsoft.com/office/drawing/2014/main" id="{8EB8F430-456B-4AC3-9E39-148BCA3C43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1725">
              <a:extLst>
                <a:ext uri="{FF2B5EF4-FFF2-40B4-BE49-F238E27FC236}">
                  <a16:creationId xmlns:a16="http://schemas.microsoft.com/office/drawing/2014/main" id="{7519E07B-EB1B-4672-B8EC-35CBD270C8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E18A42EE-9ED7-4D41-AFAA-75AD8E3D75CA}"/>
              </a:ext>
            </a:extLst>
          </p:cNvPr>
          <p:cNvGrpSpPr/>
          <p:nvPr/>
        </p:nvGrpSpPr>
        <p:grpSpPr>
          <a:xfrm>
            <a:off x="719103" y="1404810"/>
            <a:ext cx="523141" cy="490091"/>
            <a:chOff x="8817915" y="5519812"/>
            <a:chExt cx="523141" cy="490091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F9D98E6-9F13-4337-8DE0-7E75606EDF30}"/>
                </a:ext>
              </a:extLst>
            </p:cNvPr>
            <p:cNvSpPr/>
            <p:nvPr/>
          </p:nvSpPr>
          <p:spPr>
            <a:xfrm>
              <a:off x="9242228" y="5639783"/>
              <a:ext cx="24302" cy="202517"/>
            </a:xfrm>
            <a:custGeom>
              <a:avLst/>
              <a:gdLst>
                <a:gd name="connsiteX0" fmla="*/ 12151 w 24302"/>
                <a:gd name="connsiteY0" fmla="*/ 12151 h 202516"/>
                <a:gd name="connsiteX1" fmla="*/ 12151 w 24302"/>
                <a:gd name="connsiteY1" fmla="*/ 195145 h 20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202516">
                  <a:moveTo>
                    <a:pt x="12151" y="12151"/>
                  </a:moveTo>
                  <a:lnTo>
                    <a:pt x="12151" y="195145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E03A1E7E-0234-4522-8840-196E4C9A1442}"/>
                </a:ext>
              </a:extLst>
            </p:cNvPr>
            <p:cNvSpPr/>
            <p:nvPr/>
          </p:nvSpPr>
          <p:spPr>
            <a:xfrm>
              <a:off x="9197269" y="5699971"/>
              <a:ext cx="24302" cy="145812"/>
            </a:xfrm>
            <a:custGeom>
              <a:avLst/>
              <a:gdLst>
                <a:gd name="connsiteX0" fmla="*/ 12151 w 24302"/>
                <a:gd name="connsiteY0" fmla="*/ 12151 h 145812"/>
                <a:gd name="connsiteX1" fmla="*/ 12151 w 24302"/>
                <a:gd name="connsiteY1" fmla="*/ 134957 h 14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45812">
                  <a:moveTo>
                    <a:pt x="12151" y="12151"/>
                  </a:moveTo>
                  <a:lnTo>
                    <a:pt x="12151" y="13495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4CBCBF6B-58E8-4B75-B264-30EDAD2F5333}"/>
                </a:ext>
              </a:extLst>
            </p:cNvPr>
            <p:cNvSpPr/>
            <p:nvPr/>
          </p:nvSpPr>
          <p:spPr>
            <a:xfrm>
              <a:off x="9152310" y="5675912"/>
              <a:ext cx="24302" cy="170114"/>
            </a:xfrm>
            <a:custGeom>
              <a:avLst/>
              <a:gdLst>
                <a:gd name="connsiteX0" fmla="*/ 12151 w 24302"/>
                <a:gd name="connsiteY0" fmla="*/ 12151 h 170114"/>
                <a:gd name="connsiteX1" fmla="*/ 12151 w 24302"/>
                <a:gd name="connsiteY1" fmla="*/ 159016 h 17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70114">
                  <a:moveTo>
                    <a:pt x="12151" y="12151"/>
                  </a:moveTo>
                  <a:lnTo>
                    <a:pt x="12151" y="159016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D67FBF1C-F314-44B8-BEFC-A29861EB4260}"/>
                </a:ext>
              </a:extLst>
            </p:cNvPr>
            <p:cNvSpPr/>
            <p:nvPr/>
          </p:nvSpPr>
          <p:spPr>
            <a:xfrm>
              <a:off x="9107433" y="5735128"/>
              <a:ext cx="24302" cy="105309"/>
            </a:xfrm>
            <a:custGeom>
              <a:avLst/>
              <a:gdLst>
                <a:gd name="connsiteX0" fmla="*/ 12151 w 24302"/>
                <a:gd name="connsiteY0" fmla="*/ 12151 h 105308"/>
                <a:gd name="connsiteX1" fmla="*/ 12151 w 24302"/>
                <a:gd name="connsiteY1" fmla="*/ 99800 h 1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05308">
                  <a:moveTo>
                    <a:pt x="12151" y="12151"/>
                  </a:moveTo>
                  <a:lnTo>
                    <a:pt x="12151" y="99800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68D4DD-790B-49D0-AD4C-75BB08407EA6}"/>
                </a:ext>
              </a:extLst>
            </p:cNvPr>
            <p:cNvSpPr/>
            <p:nvPr/>
          </p:nvSpPr>
          <p:spPr>
            <a:xfrm>
              <a:off x="9062474" y="5775631"/>
              <a:ext cx="24302" cy="64805"/>
            </a:xfrm>
            <a:custGeom>
              <a:avLst/>
              <a:gdLst>
                <a:gd name="connsiteX0" fmla="*/ 12151 w 24302"/>
                <a:gd name="connsiteY0" fmla="*/ 12151 h 64805"/>
                <a:gd name="connsiteX1" fmla="*/ 12151 w 24302"/>
                <a:gd name="connsiteY1" fmla="*/ 59297 h 64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64805">
                  <a:moveTo>
                    <a:pt x="12151" y="12151"/>
                  </a:moveTo>
                  <a:lnTo>
                    <a:pt x="12151" y="5929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29AB7EC-6B62-4421-B5C5-F6AF7F3FF006}"/>
                </a:ext>
              </a:extLst>
            </p:cNvPr>
            <p:cNvSpPr/>
            <p:nvPr/>
          </p:nvSpPr>
          <p:spPr>
            <a:xfrm>
              <a:off x="8907427" y="5961299"/>
              <a:ext cx="64805" cy="48604"/>
            </a:xfrm>
            <a:custGeom>
              <a:avLst/>
              <a:gdLst>
                <a:gd name="connsiteX0" fmla="*/ 56948 w 64805"/>
                <a:gd name="connsiteY0" fmla="*/ 12151 h 48604"/>
                <a:gd name="connsiteX1" fmla="*/ 56948 w 64805"/>
                <a:gd name="connsiteY1" fmla="*/ 23573 h 48604"/>
                <a:gd name="connsiteX2" fmla="*/ 34914 w 64805"/>
                <a:gd name="connsiteY2" fmla="*/ 37668 h 48604"/>
                <a:gd name="connsiteX3" fmla="*/ 12151 w 64805"/>
                <a:gd name="connsiteY3" fmla="*/ 23573 h 4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805" h="48604">
                  <a:moveTo>
                    <a:pt x="56948" y="12151"/>
                  </a:moveTo>
                  <a:cubicBezTo>
                    <a:pt x="56948" y="15634"/>
                    <a:pt x="56948" y="19523"/>
                    <a:pt x="56948" y="23573"/>
                  </a:cubicBezTo>
                  <a:cubicBezTo>
                    <a:pt x="56948" y="31998"/>
                    <a:pt x="47956" y="37668"/>
                    <a:pt x="34914" y="37668"/>
                  </a:cubicBezTo>
                  <a:cubicBezTo>
                    <a:pt x="20252" y="37668"/>
                    <a:pt x="12151" y="30782"/>
                    <a:pt x="12151" y="23573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AA44B59-2CDA-42B7-A684-0324844A44DC}"/>
                </a:ext>
              </a:extLst>
            </p:cNvPr>
            <p:cNvSpPr/>
            <p:nvPr/>
          </p:nvSpPr>
          <p:spPr>
            <a:xfrm>
              <a:off x="9077703" y="5645454"/>
              <a:ext cx="32403" cy="64805"/>
            </a:xfrm>
            <a:custGeom>
              <a:avLst/>
              <a:gdLst>
                <a:gd name="connsiteX0" fmla="*/ 12151 w 32402"/>
                <a:gd name="connsiteY0" fmla="*/ 12151 h 64805"/>
                <a:gd name="connsiteX1" fmla="*/ 26975 w 32402"/>
                <a:gd name="connsiteY1" fmla="*/ 35238 h 64805"/>
                <a:gd name="connsiteX2" fmla="*/ 12151 w 32402"/>
                <a:gd name="connsiteY2" fmla="*/ 59054 h 64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2" h="64805">
                  <a:moveTo>
                    <a:pt x="12151" y="12151"/>
                  </a:moveTo>
                  <a:cubicBezTo>
                    <a:pt x="20981" y="12151"/>
                    <a:pt x="26975" y="21548"/>
                    <a:pt x="26975" y="35238"/>
                  </a:cubicBezTo>
                  <a:cubicBezTo>
                    <a:pt x="26975" y="50548"/>
                    <a:pt x="19766" y="59054"/>
                    <a:pt x="12151" y="59054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5AF2CA97-377B-4F3B-B42D-4EE36663DA10}"/>
                </a:ext>
              </a:extLst>
            </p:cNvPr>
            <p:cNvSpPr/>
            <p:nvPr/>
          </p:nvSpPr>
          <p:spPr>
            <a:xfrm>
              <a:off x="8817915" y="5804146"/>
              <a:ext cx="64805" cy="48604"/>
            </a:xfrm>
            <a:custGeom>
              <a:avLst/>
              <a:gdLst>
                <a:gd name="connsiteX0" fmla="*/ 56948 w 64805"/>
                <a:gd name="connsiteY0" fmla="*/ 12151 h 48604"/>
                <a:gd name="connsiteX1" fmla="*/ 56948 w 64805"/>
                <a:gd name="connsiteY1" fmla="*/ 23573 h 48604"/>
                <a:gd name="connsiteX2" fmla="*/ 34914 w 64805"/>
                <a:gd name="connsiteY2" fmla="*/ 37668 h 48604"/>
                <a:gd name="connsiteX3" fmla="*/ 12151 w 64805"/>
                <a:gd name="connsiteY3" fmla="*/ 23573 h 4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805" h="48604">
                  <a:moveTo>
                    <a:pt x="56948" y="12151"/>
                  </a:moveTo>
                  <a:cubicBezTo>
                    <a:pt x="56948" y="15634"/>
                    <a:pt x="56948" y="19523"/>
                    <a:pt x="56948" y="23573"/>
                  </a:cubicBezTo>
                  <a:cubicBezTo>
                    <a:pt x="56948" y="31998"/>
                    <a:pt x="47956" y="37668"/>
                    <a:pt x="34914" y="37668"/>
                  </a:cubicBezTo>
                  <a:cubicBezTo>
                    <a:pt x="20252" y="37668"/>
                    <a:pt x="12151" y="30782"/>
                    <a:pt x="12151" y="23573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BBE78A56-2AE3-45AB-AD1B-7CC08A166A2F}"/>
                </a:ext>
              </a:extLst>
            </p:cNvPr>
            <p:cNvSpPr/>
            <p:nvPr/>
          </p:nvSpPr>
          <p:spPr>
            <a:xfrm>
              <a:off x="8862630" y="5961299"/>
              <a:ext cx="64805" cy="48604"/>
            </a:xfrm>
            <a:custGeom>
              <a:avLst/>
              <a:gdLst>
                <a:gd name="connsiteX0" fmla="*/ 56948 w 64805"/>
                <a:gd name="connsiteY0" fmla="*/ 12151 h 48604"/>
                <a:gd name="connsiteX1" fmla="*/ 56948 w 64805"/>
                <a:gd name="connsiteY1" fmla="*/ 23573 h 48604"/>
                <a:gd name="connsiteX2" fmla="*/ 34914 w 64805"/>
                <a:gd name="connsiteY2" fmla="*/ 37668 h 48604"/>
                <a:gd name="connsiteX3" fmla="*/ 12151 w 64805"/>
                <a:gd name="connsiteY3" fmla="*/ 23573 h 4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805" h="48604">
                  <a:moveTo>
                    <a:pt x="56948" y="12151"/>
                  </a:moveTo>
                  <a:cubicBezTo>
                    <a:pt x="56948" y="15634"/>
                    <a:pt x="56948" y="19523"/>
                    <a:pt x="56948" y="23573"/>
                  </a:cubicBezTo>
                  <a:cubicBezTo>
                    <a:pt x="56948" y="31998"/>
                    <a:pt x="47956" y="37668"/>
                    <a:pt x="34914" y="37668"/>
                  </a:cubicBezTo>
                  <a:cubicBezTo>
                    <a:pt x="20252" y="37668"/>
                    <a:pt x="12151" y="30782"/>
                    <a:pt x="12151" y="23573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95F4F14-5BF9-429B-B9D4-F82ABBDDAD90}"/>
                </a:ext>
              </a:extLst>
            </p:cNvPr>
            <p:cNvSpPr/>
            <p:nvPr/>
          </p:nvSpPr>
          <p:spPr>
            <a:xfrm>
              <a:off x="8952224" y="5692276"/>
              <a:ext cx="24302" cy="170114"/>
            </a:xfrm>
            <a:custGeom>
              <a:avLst/>
              <a:gdLst>
                <a:gd name="connsiteX0" fmla="*/ 12151 w 24302"/>
                <a:gd name="connsiteY0" fmla="*/ 12151 h 170114"/>
                <a:gd name="connsiteX1" fmla="*/ 12151 w 24302"/>
                <a:gd name="connsiteY1" fmla="*/ 163228 h 17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70114">
                  <a:moveTo>
                    <a:pt x="12151" y="12151"/>
                  </a:moveTo>
                  <a:lnTo>
                    <a:pt x="12151" y="163228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6618D1B3-985A-4285-B951-0DDDDDF61132}"/>
                </a:ext>
              </a:extLst>
            </p:cNvPr>
            <p:cNvSpPr/>
            <p:nvPr/>
          </p:nvSpPr>
          <p:spPr>
            <a:xfrm>
              <a:off x="8952224" y="5806576"/>
              <a:ext cx="24302" cy="178215"/>
            </a:xfrm>
            <a:custGeom>
              <a:avLst/>
              <a:gdLst>
                <a:gd name="connsiteX0" fmla="*/ 12151 w 24302"/>
                <a:gd name="connsiteY0" fmla="*/ 12151 h 178214"/>
                <a:gd name="connsiteX1" fmla="*/ 12151 w 24302"/>
                <a:gd name="connsiteY1" fmla="*/ 168575 h 17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78214">
                  <a:moveTo>
                    <a:pt x="12151" y="12151"/>
                  </a:moveTo>
                  <a:cubicBezTo>
                    <a:pt x="12151" y="60674"/>
                    <a:pt x="12151" y="134147"/>
                    <a:pt x="12151" y="168575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638E7580-C01F-45DF-9DC8-7F6E9CF425F9}"/>
                </a:ext>
              </a:extLst>
            </p:cNvPr>
            <p:cNvSpPr/>
            <p:nvPr/>
          </p:nvSpPr>
          <p:spPr>
            <a:xfrm>
              <a:off x="8862711" y="5806576"/>
              <a:ext cx="24302" cy="186315"/>
            </a:xfrm>
            <a:custGeom>
              <a:avLst/>
              <a:gdLst>
                <a:gd name="connsiteX0" fmla="*/ 12151 w 24302"/>
                <a:gd name="connsiteY0" fmla="*/ 12151 h 186315"/>
                <a:gd name="connsiteX1" fmla="*/ 12151 w 24302"/>
                <a:gd name="connsiteY1" fmla="*/ 179673 h 18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86315">
                  <a:moveTo>
                    <a:pt x="12151" y="12151"/>
                  </a:moveTo>
                  <a:lnTo>
                    <a:pt x="12151" y="179673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4AC85B73-DE79-40EE-9E0C-E6AC52663141}"/>
                </a:ext>
              </a:extLst>
            </p:cNvPr>
            <p:cNvSpPr/>
            <p:nvPr/>
          </p:nvSpPr>
          <p:spPr>
            <a:xfrm>
              <a:off x="8862711" y="5692276"/>
              <a:ext cx="24302" cy="170114"/>
            </a:xfrm>
            <a:custGeom>
              <a:avLst/>
              <a:gdLst>
                <a:gd name="connsiteX0" fmla="*/ 12151 w 24302"/>
                <a:gd name="connsiteY0" fmla="*/ 163228 h 170114"/>
                <a:gd name="connsiteX1" fmla="*/ 12151 w 24302"/>
                <a:gd name="connsiteY1" fmla="*/ 12151 h 17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70114">
                  <a:moveTo>
                    <a:pt x="12151" y="163228"/>
                  </a:moveTo>
                  <a:lnTo>
                    <a:pt x="12151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E992D7D3-DAC8-4977-9E10-138838FD24B7}"/>
                </a:ext>
              </a:extLst>
            </p:cNvPr>
            <p:cNvSpPr/>
            <p:nvPr/>
          </p:nvSpPr>
          <p:spPr>
            <a:xfrm>
              <a:off x="8907427" y="5826180"/>
              <a:ext cx="24302" cy="170114"/>
            </a:xfrm>
            <a:custGeom>
              <a:avLst/>
              <a:gdLst>
                <a:gd name="connsiteX0" fmla="*/ 12151 w 24302"/>
                <a:gd name="connsiteY0" fmla="*/ 12151 h 170114"/>
                <a:gd name="connsiteX1" fmla="*/ 12151 w 24302"/>
                <a:gd name="connsiteY1" fmla="*/ 158692 h 170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70114">
                  <a:moveTo>
                    <a:pt x="12151" y="12151"/>
                  </a:moveTo>
                  <a:lnTo>
                    <a:pt x="12151" y="158692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7AAAF847-C7AD-4C5C-8765-CF57EA4CB78F}"/>
                </a:ext>
              </a:extLst>
            </p:cNvPr>
            <p:cNvSpPr/>
            <p:nvPr/>
          </p:nvSpPr>
          <p:spPr>
            <a:xfrm>
              <a:off x="8817915" y="5645454"/>
              <a:ext cx="145812" cy="194416"/>
            </a:xfrm>
            <a:custGeom>
              <a:avLst/>
              <a:gdLst>
                <a:gd name="connsiteX0" fmla="*/ 134390 w 145812"/>
                <a:gd name="connsiteY0" fmla="*/ 12151 h 194416"/>
                <a:gd name="connsiteX1" fmla="*/ 101663 w 145812"/>
                <a:gd name="connsiteY1" fmla="*/ 36858 h 194416"/>
                <a:gd name="connsiteX2" fmla="*/ 68370 w 145812"/>
                <a:gd name="connsiteY2" fmla="*/ 12151 h 194416"/>
                <a:gd name="connsiteX3" fmla="*/ 30539 w 145812"/>
                <a:gd name="connsiteY3" fmla="*/ 26813 h 194416"/>
                <a:gd name="connsiteX4" fmla="*/ 12151 w 145812"/>
                <a:gd name="connsiteY4" fmla="*/ 65210 h 194416"/>
                <a:gd name="connsiteX5" fmla="*/ 12151 w 145812"/>
                <a:gd name="connsiteY5" fmla="*/ 182589 h 194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5812" h="194416">
                  <a:moveTo>
                    <a:pt x="134390" y="12151"/>
                  </a:moveTo>
                  <a:cubicBezTo>
                    <a:pt x="134390" y="12151"/>
                    <a:pt x="128639" y="36858"/>
                    <a:pt x="101663" y="36858"/>
                  </a:cubicBezTo>
                  <a:cubicBezTo>
                    <a:pt x="72339" y="36858"/>
                    <a:pt x="68370" y="12151"/>
                    <a:pt x="68370" y="12151"/>
                  </a:cubicBezTo>
                  <a:cubicBezTo>
                    <a:pt x="68370" y="12151"/>
                    <a:pt x="42447" y="16525"/>
                    <a:pt x="30539" y="26813"/>
                  </a:cubicBezTo>
                  <a:cubicBezTo>
                    <a:pt x="16201" y="39288"/>
                    <a:pt x="12151" y="55489"/>
                    <a:pt x="12151" y="65210"/>
                  </a:cubicBezTo>
                  <a:lnTo>
                    <a:pt x="12151" y="182589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A398203-2EB9-46D6-A7C9-729D62BCDAFC}"/>
                </a:ext>
              </a:extLst>
            </p:cNvPr>
            <p:cNvSpPr/>
            <p:nvPr/>
          </p:nvSpPr>
          <p:spPr>
            <a:xfrm>
              <a:off x="8863846" y="5519812"/>
              <a:ext cx="105309" cy="105309"/>
            </a:xfrm>
            <a:custGeom>
              <a:avLst/>
              <a:gdLst>
                <a:gd name="connsiteX0" fmla="*/ 100286 w 105308"/>
                <a:gd name="connsiteY0" fmla="*/ 56219 h 105308"/>
                <a:gd name="connsiteX1" fmla="*/ 56219 w 105308"/>
                <a:gd name="connsiteY1" fmla="*/ 100286 h 105308"/>
                <a:gd name="connsiteX2" fmla="*/ 12151 w 105308"/>
                <a:gd name="connsiteY2" fmla="*/ 56219 h 105308"/>
                <a:gd name="connsiteX3" fmla="*/ 56219 w 105308"/>
                <a:gd name="connsiteY3" fmla="*/ 12151 h 105308"/>
                <a:gd name="connsiteX4" fmla="*/ 100286 w 105308"/>
                <a:gd name="connsiteY4" fmla="*/ 56219 h 1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5308" h="105308">
                  <a:moveTo>
                    <a:pt x="100286" y="56219"/>
                  </a:moveTo>
                  <a:cubicBezTo>
                    <a:pt x="100286" y="80602"/>
                    <a:pt x="80521" y="100286"/>
                    <a:pt x="56219" y="100286"/>
                  </a:cubicBezTo>
                  <a:cubicBezTo>
                    <a:pt x="31917" y="100286"/>
                    <a:pt x="12151" y="80521"/>
                    <a:pt x="12151" y="56219"/>
                  </a:cubicBezTo>
                  <a:cubicBezTo>
                    <a:pt x="12151" y="31917"/>
                    <a:pt x="31917" y="12151"/>
                    <a:pt x="56219" y="12151"/>
                  </a:cubicBezTo>
                  <a:cubicBezTo>
                    <a:pt x="80521" y="12151"/>
                    <a:pt x="100286" y="31917"/>
                    <a:pt x="100286" y="56219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3E94B2B3-9875-4F1C-B718-782B1A68CEED}"/>
                </a:ext>
              </a:extLst>
            </p:cNvPr>
            <p:cNvSpPr/>
            <p:nvPr/>
          </p:nvSpPr>
          <p:spPr>
            <a:xfrm>
              <a:off x="8940154" y="5645454"/>
              <a:ext cx="153913" cy="24302"/>
            </a:xfrm>
            <a:custGeom>
              <a:avLst/>
              <a:gdLst>
                <a:gd name="connsiteX0" fmla="*/ 149700 w 153912"/>
                <a:gd name="connsiteY0" fmla="*/ 12151 h 24302"/>
                <a:gd name="connsiteX1" fmla="*/ 130097 w 153912"/>
                <a:gd name="connsiteY1" fmla="*/ 12151 h 24302"/>
                <a:gd name="connsiteX2" fmla="*/ 12151 w 153912"/>
                <a:gd name="connsiteY2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3912" h="24302">
                  <a:moveTo>
                    <a:pt x="149700" y="12151"/>
                  </a:moveTo>
                  <a:cubicBezTo>
                    <a:pt x="142734" y="12151"/>
                    <a:pt x="136010" y="12151"/>
                    <a:pt x="130097" y="12151"/>
                  </a:cubicBezTo>
                  <a:lnTo>
                    <a:pt x="12151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6D7CD5A-BEAC-40E2-805A-2632D6CC588F}"/>
                </a:ext>
              </a:extLst>
            </p:cNvPr>
            <p:cNvSpPr/>
            <p:nvPr/>
          </p:nvSpPr>
          <p:spPr>
            <a:xfrm>
              <a:off x="8952224" y="5692276"/>
              <a:ext cx="145812" cy="24302"/>
            </a:xfrm>
            <a:custGeom>
              <a:avLst/>
              <a:gdLst>
                <a:gd name="connsiteX0" fmla="*/ 12151 w 145812"/>
                <a:gd name="connsiteY0" fmla="*/ 12151 h 24302"/>
                <a:gd name="connsiteX1" fmla="*/ 117865 w 145812"/>
                <a:gd name="connsiteY1" fmla="*/ 12151 h 24302"/>
                <a:gd name="connsiteX2" fmla="*/ 137630 w 145812"/>
                <a:gd name="connsiteY2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5812" h="24302">
                  <a:moveTo>
                    <a:pt x="12151" y="12151"/>
                  </a:moveTo>
                  <a:lnTo>
                    <a:pt x="117865" y="12151"/>
                  </a:lnTo>
                  <a:cubicBezTo>
                    <a:pt x="124022" y="12151"/>
                    <a:pt x="131636" y="12151"/>
                    <a:pt x="137630" y="12151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83AD7874-6073-406D-8E01-05E981FB84F6}"/>
                </a:ext>
              </a:extLst>
            </p:cNvPr>
            <p:cNvSpPr/>
            <p:nvPr/>
          </p:nvSpPr>
          <p:spPr>
            <a:xfrm>
              <a:off x="9152310" y="5857772"/>
              <a:ext cx="24302" cy="145812"/>
            </a:xfrm>
            <a:custGeom>
              <a:avLst/>
              <a:gdLst>
                <a:gd name="connsiteX0" fmla="*/ 12151 w 24302"/>
                <a:gd name="connsiteY0" fmla="*/ 12151 h 145812"/>
                <a:gd name="connsiteX1" fmla="*/ 12151 w 24302"/>
                <a:gd name="connsiteY1" fmla="*/ 141357 h 145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145812">
                  <a:moveTo>
                    <a:pt x="12151" y="12151"/>
                  </a:moveTo>
                  <a:lnTo>
                    <a:pt x="12151" y="14135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595829F-7D07-4922-A5B2-D5E6283251E3}"/>
                </a:ext>
              </a:extLst>
            </p:cNvPr>
            <p:cNvSpPr/>
            <p:nvPr/>
          </p:nvSpPr>
          <p:spPr>
            <a:xfrm>
              <a:off x="9152310" y="5903622"/>
              <a:ext cx="97208" cy="105309"/>
            </a:xfrm>
            <a:custGeom>
              <a:avLst/>
              <a:gdLst>
                <a:gd name="connsiteX0" fmla="*/ 12151 w 97208"/>
                <a:gd name="connsiteY0" fmla="*/ 12151 h 105308"/>
                <a:gd name="connsiteX1" fmla="*/ 92428 w 97208"/>
                <a:gd name="connsiteY1" fmla="*/ 95507 h 1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08" h="105308">
                  <a:moveTo>
                    <a:pt x="12151" y="12151"/>
                  </a:moveTo>
                  <a:lnTo>
                    <a:pt x="92428" y="9550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B96A9DE-FFF8-4B8F-AD7B-30F8C5BE1364}"/>
                </a:ext>
              </a:extLst>
            </p:cNvPr>
            <p:cNvSpPr/>
            <p:nvPr/>
          </p:nvSpPr>
          <p:spPr>
            <a:xfrm>
              <a:off x="9072033" y="5903622"/>
              <a:ext cx="97208" cy="105309"/>
            </a:xfrm>
            <a:custGeom>
              <a:avLst/>
              <a:gdLst>
                <a:gd name="connsiteX0" fmla="*/ 12151 w 97208"/>
                <a:gd name="connsiteY0" fmla="*/ 95507 h 105308"/>
                <a:gd name="connsiteX1" fmla="*/ 92429 w 97208"/>
                <a:gd name="connsiteY1" fmla="*/ 12151 h 105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08" h="105308">
                  <a:moveTo>
                    <a:pt x="12151" y="95507"/>
                  </a:moveTo>
                  <a:lnTo>
                    <a:pt x="92429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4E1E7336-DAE3-4320-88CF-BD04EAFFF9BC}"/>
                </a:ext>
              </a:extLst>
            </p:cNvPr>
            <p:cNvSpPr/>
            <p:nvPr/>
          </p:nvSpPr>
          <p:spPr>
            <a:xfrm>
              <a:off x="9009577" y="5598470"/>
              <a:ext cx="24302" cy="32403"/>
            </a:xfrm>
            <a:custGeom>
              <a:avLst/>
              <a:gdLst>
                <a:gd name="connsiteX0" fmla="*/ 12151 w 24302"/>
                <a:gd name="connsiteY0" fmla="*/ 26651 h 32402"/>
                <a:gd name="connsiteX1" fmla="*/ 12151 w 24302"/>
                <a:gd name="connsiteY1" fmla="*/ 12151 h 32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32402">
                  <a:moveTo>
                    <a:pt x="12151" y="266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4D3B39E-E9F6-41C3-9B0B-C3F886FCCE8B}"/>
                </a:ext>
              </a:extLst>
            </p:cNvPr>
            <p:cNvSpPr/>
            <p:nvPr/>
          </p:nvSpPr>
          <p:spPr>
            <a:xfrm>
              <a:off x="9009577" y="5598470"/>
              <a:ext cx="307826" cy="283524"/>
            </a:xfrm>
            <a:custGeom>
              <a:avLst/>
              <a:gdLst>
                <a:gd name="connsiteX0" fmla="*/ 297700 w 307825"/>
                <a:gd name="connsiteY0" fmla="*/ 12151 h 283523"/>
                <a:gd name="connsiteX1" fmla="*/ 297700 w 307825"/>
                <a:gd name="connsiteY1" fmla="*/ 231193 h 283523"/>
                <a:gd name="connsiteX2" fmla="*/ 257439 w 307825"/>
                <a:gd name="connsiteY2" fmla="*/ 271454 h 283523"/>
                <a:gd name="connsiteX3" fmla="*/ 52411 w 307825"/>
                <a:gd name="connsiteY3" fmla="*/ 271454 h 283523"/>
                <a:gd name="connsiteX4" fmla="*/ 12151 w 307825"/>
                <a:gd name="connsiteY4" fmla="*/ 231193 h 283523"/>
                <a:gd name="connsiteX5" fmla="*/ 12151 w 307825"/>
                <a:gd name="connsiteY5" fmla="*/ 138440 h 283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825" h="283523">
                  <a:moveTo>
                    <a:pt x="297700" y="12151"/>
                  </a:moveTo>
                  <a:lnTo>
                    <a:pt x="297700" y="231193"/>
                  </a:lnTo>
                  <a:cubicBezTo>
                    <a:pt x="297700" y="253470"/>
                    <a:pt x="279635" y="271454"/>
                    <a:pt x="257439" y="271454"/>
                  </a:cubicBezTo>
                  <a:lnTo>
                    <a:pt x="52411" y="271454"/>
                  </a:lnTo>
                  <a:cubicBezTo>
                    <a:pt x="30135" y="271454"/>
                    <a:pt x="12151" y="253389"/>
                    <a:pt x="12151" y="231193"/>
                  </a:cubicBezTo>
                  <a:lnTo>
                    <a:pt x="12151" y="138440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C86DF18E-1B67-4835-AA7C-6E2D87C14EA5}"/>
                </a:ext>
              </a:extLst>
            </p:cNvPr>
            <p:cNvSpPr/>
            <p:nvPr/>
          </p:nvSpPr>
          <p:spPr>
            <a:xfrm>
              <a:off x="8984626" y="5560072"/>
              <a:ext cx="356430" cy="56705"/>
            </a:xfrm>
            <a:custGeom>
              <a:avLst/>
              <a:gdLst>
                <a:gd name="connsiteX0" fmla="*/ 12151 w 356429"/>
                <a:gd name="connsiteY0" fmla="*/ 12151 h 56704"/>
                <a:gd name="connsiteX1" fmla="*/ 347600 w 356429"/>
                <a:gd name="connsiteY1" fmla="*/ 12151 h 56704"/>
                <a:gd name="connsiteX2" fmla="*/ 347600 w 356429"/>
                <a:gd name="connsiteY2" fmla="*/ 50548 h 56704"/>
                <a:gd name="connsiteX3" fmla="*/ 12151 w 356429"/>
                <a:gd name="connsiteY3" fmla="*/ 50548 h 56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6429" h="56704">
                  <a:moveTo>
                    <a:pt x="12151" y="12151"/>
                  </a:moveTo>
                  <a:lnTo>
                    <a:pt x="347600" y="12151"/>
                  </a:lnTo>
                  <a:lnTo>
                    <a:pt x="347600" y="50548"/>
                  </a:lnTo>
                  <a:lnTo>
                    <a:pt x="12151" y="50548"/>
                  </a:ln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205DABAC-80E2-44CB-A332-43A9CB3CE638}"/>
                </a:ext>
              </a:extLst>
            </p:cNvPr>
            <p:cNvSpPr/>
            <p:nvPr/>
          </p:nvSpPr>
          <p:spPr>
            <a:xfrm>
              <a:off x="9152310" y="5532449"/>
              <a:ext cx="24302" cy="48604"/>
            </a:xfrm>
            <a:custGeom>
              <a:avLst/>
              <a:gdLst>
                <a:gd name="connsiteX0" fmla="*/ 12151 w 24302"/>
                <a:gd name="connsiteY0" fmla="*/ 12151 h 48604"/>
                <a:gd name="connsiteX1" fmla="*/ 12151 w 24302"/>
                <a:gd name="connsiteY1" fmla="*/ 39612 h 48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302" h="48604">
                  <a:moveTo>
                    <a:pt x="12151" y="12151"/>
                  </a:moveTo>
                  <a:lnTo>
                    <a:pt x="12151" y="39612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0844437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CDAD5B9-820A-44FE-9587-FF04A470C4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8" imgH="278" progId="TCLayout.ActiveDocument.1">
                  <p:embed/>
                </p:oleObj>
              </mc:Choice>
              <mc:Fallback>
                <p:oleObj name="think-cell Slide" r:id="rId4" imgW="278" imgH="27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CDAD5B9-820A-44FE-9587-FF04A470C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/>
          <p:cNvSpPr txBox="1"/>
          <p:nvPr/>
        </p:nvSpPr>
        <p:spPr>
          <a:xfrm>
            <a:off x="980674" y="3574746"/>
            <a:ext cx="5538340" cy="502341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амият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хлоқ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улқ-атвор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“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кк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монлам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тандарт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”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шакллантириш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9D77A8-5E01-4639-9CE0-9C4200051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оррупциянинг</a:t>
            </a:r>
            <a:r>
              <a:rPr lang="ru-RU" dirty="0"/>
              <a:t> </a:t>
            </a:r>
            <a:r>
              <a:rPr lang="ru-RU" dirty="0" err="1"/>
              <a:t>оқибатлари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3FCEA7-AD15-42F4-956C-4140969F9D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8" name="object 15">
            <a:extLst>
              <a:ext uri="{FF2B5EF4-FFF2-40B4-BE49-F238E27FC236}">
                <a16:creationId xmlns:a16="http://schemas.microsoft.com/office/drawing/2014/main" id="{BDB27B72-C2C4-4496-A4EA-44236D281627}"/>
              </a:ext>
            </a:extLst>
          </p:cNvPr>
          <p:cNvSpPr txBox="1"/>
          <p:nvPr/>
        </p:nvSpPr>
        <p:spPr>
          <a:xfrm>
            <a:off x="980674" y="2564822"/>
            <a:ext cx="5538340" cy="74856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ромадлар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долатсиз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қсимланиш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уфайл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млакат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улкий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енгсизлик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жтимоий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ескинлик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кучайиши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39" name="object 15">
            <a:extLst>
              <a:ext uri="{FF2B5EF4-FFF2-40B4-BE49-F238E27FC236}">
                <a16:creationId xmlns:a16="http://schemas.microsoft.com/office/drawing/2014/main" id="{FB630400-6E91-41ED-8DEB-FCA2C0483BA6}"/>
              </a:ext>
            </a:extLst>
          </p:cNvPr>
          <p:cNvSpPr txBox="1"/>
          <p:nvPr/>
        </p:nvSpPr>
        <p:spPr>
          <a:xfrm>
            <a:off x="980674" y="4543078"/>
            <a:ext cx="5538340" cy="994784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амиятн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ртиб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олиш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сосий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оситас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ифати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қуқн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обрўсизлантириш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атижаси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фуқаролар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окимият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иноятчиликк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ш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имоясизлиг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ғоясининг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шаклланиши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grpSp>
        <p:nvGrpSpPr>
          <p:cNvPr id="56" name="Group 1722">
            <a:extLst>
              <a:ext uri="{FF2B5EF4-FFF2-40B4-BE49-F238E27FC236}">
                <a16:creationId xmlns:a16="http://schemas.microsoft.com/office/drawing/2014/main" id="{98E2D2E4-EE27-408A-9C58-D96CB117EA2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3524607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57" name="Freeform 1723">
              <a:extLst>
                <a:ext uri="{FF2B5EF4-FFF2-40B4-BE49-F238E27FC236}">
                  <a16:creationId xmlns:a16="http://schemas.microsoft.com/office/drawing/2014/main" id="{F5D03A1A-74AC-477F-BAD0-2EF3CD8BC4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1724">
              <a:extLst>
                <a:ext uri="{FF2B5EF4-FFF2-40B4-BE49-F238E27FC236}">
                  <a16:creationId xmlns:a16="http://schemas.microsoft.com/office/drawing/2014/main" id="{E5B0B71F-8BA8-470A-8C32-F9EC109096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1725">
              <a:extLst>
                <a:ext uri="{FF2B5EF4-FFF2-40B4-BE49-F238E27FC236}">
                  <a16:creationId xmlns:a16="http://schemas.microsoft.com/office/drawing/2014/main" id="{79DFA343-75AE-4DE5-99BF-D402724A85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3" name="Group 1722">
            <a:extLst>
              <a:ext uri="{FF2B5EF4-FFF2-40B4-BE49-F238E27FC236}">
                <a16:creationId xmlns:a16="http://schemas.microsoft.com/office/drawing/2014/main" id="{FD86E2B2-8447-4D54-B96B-2E59A4EA9A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2525803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64" name="Freeform 1723">
              <a:extLst>
                <a:ext uri="{FF2B5EF4-FFF2-40B4-BE49-F238E27FC236}">
                  <a16:creationId xmlns:a16="http://schemas.microsoft.com/office/drawing/2014/main" id="{EA5A994B-5F03-42C7-9668-2DFB73EB0C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1724">
              <a:extLst>
                <a:ext uri="{FF2B5EF4-FFF2-40B4-BE49-F238E27FC236}">
                  <a16:creationId xmlns:a16="http://schemas.microsoft.com/office/drawing/2014/main" id="{1E04B7EF-CFBD-4C5C-8ED0-2673216118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1725">
              <a:extLst>
                <a:ext uri="{FF2B5EF4-FFF2-40B4-BE49-F238E27FC236}">
                  <a16:creationId xmlns:a16="http://schemas.microsoft.com/office/drawing/2014/main" id="{9C3D1AB6-D59F-476E-9069-0E328A451C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7" name="Group 1722">
            <a:extLst>
              <a:ext uri="{FF2B5EF4-FFF2-40B4-BE49-F238E27FC236}">
                <a16:creationId xmlns:a16="http://schemas.microsoft.com/office/drawing/2014/main" id="{703097BE-C3BA-46CA-B879-C0AE589A31B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4478936"/>
            <a:ext cx="385628" cy="387869"/>
            <a:chOff x="598" y="845"/>
            <a:chExt cx="172" cy="173"/>
          </a:xfrm>
          <a:solidFill>
            <a:srgbClr val="C00000"/>
          </a:solidFill>
        </p:grpSpPr>
        <p:sp>
          <p:nvSpPr>
            <p:cNvPr id="68" name="Freeform 1723">
              <a:extLst>
                <a:ext uri="{FF2B5EF4-FFF2-40B4-BE49-F238E27FC236}">
                  <a16:creationId xmlns:a16="http://schemas.microsoft.com/office/drawing/2014/main" id="{7B0A6C8A-9C6E-4E17-8538-85C88A9DA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" y="845"/>
              <a:ext cx="172" cy="173"/>
            </a:xfrm>
            <a:custGeom>
              <a:avLst/>
              <a:gdLst>
                <a:gd name="T0" fmla="*/ 7284 w 8533"/>
                <a:gd name="T1" fmla="*/ 1248 h 8520"/>
                <a:gd name="T2" fmla="*/ 4267 w 8533"/>
                <a:gd name="T3" fmla="*/ 0 h 8520"/>
                <a:gd name="T4" fmla="*/ 1250 w 8533"/>
                <a:gd name="T5" fmla="*/ 1248 h 8520"/>
                <a:gd name="T6" fmla="*/ 0 w 8533"/>
                <a:gd name="T7" fmla="*/ 4263 h 8520"/>
                <a:gd name="T8" fmla="*/ 1152 w 8533"/>
                <a:gd name="T9" fmla="*/ 7176 h 8520"/>
                <a:gd name="T10" fmla="*/ 3966 w 8533"/>
                <a:gd name="T11" fmla="*/ 8515 h 8520"/>
                <a:gd name="T12" fmla="*/ 4100 w 8533"/>
                <a:gd name="T13" fmla="*/ 8399 h 8520"/>
                <a:gd name="T14" fmla="*/ 3984 w 8533"/>
                <a:gd name="T15" fmla="*/ 8266 h 8520"/>
                <a:gd name="T16" fmla="*/ 1335 w 8533"/>
                <a:gd name="T17" fmla="*/ 7005 h 8520"/>
                <a:gd name="T18" fmla="*/ 250 w 8533"/>
                <a:gd name="T19" fmla="*/ 4263 h 8520"/>
                <a:gd name="T20" fmla="*/ 1426 w 8533"/>
                <a:gd name="T21" fmla="*/ 1425 h 8520"/>
                <a:gd name="T22" fmla="*/ 4267 w 8533"/>
                <a:gd name="T23" fmla="*/ 250 h 8520"/>
                <a:gd name="T24" fmla="*/ 7107 w 8533"/>
                <a:gd name="T25" fmla="*/ 1425 h 8520"/>
                <a:gd name="T26" fmla="*/ 8283 w 8533"/>
                <a:gd name="T27" fmla="*/ 4263 h 8520"/>
                <a:gd name="T28" fmla="*/ 7199 w 8533"/>
                <a:gd name="T29" fmla="*/ 7005 h 8520"/>
                <a:gd name="T30" fmla="*/ 4550 w 8533"/>
                <a:gd name="T31" fmla="*/ 8266 h 8520"/>
                <a:gd name="T32" fmla="*/ 4433 w 8533"/>
                <a:gd name="T33" fmla="*/ 8399 h 8520"/>
                <a:gd name="T34" fmla="*/ 4558 w 8533"/>
                <a:gd name="T35" fmla="*/ 8516 h 8520"/>
                <a:gd name="T36" fmla="*/ 4567 w 8533"/>
                <a:gd name="T37" fmla="*/ 8515 h 8520"/>
                <a:gd name="T38" fmla="*/ 7381 w 8533"/>
                <a:gd name="T39" fmla="*/ 7176 h 8520"/>
                <a:gd name="T40" fmla="*/ 8533 w 8533"/>
                <a:gd name="T41" fmla="*/ 4263 h 8520"/>
                <a:gd name="T42" fmla="*/ 7284 w 8533"/>
                <a:gd name="T43" fmla="*/ 1248 h 8520"/>
                <a:gd name="T44" fmla="*/ 7284 w 8533"/>
                <a:gd name="T45" fmla="*/ 1248 h 8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33" h="8520">
                  <a:moveTo>
                    <a:pt x="7284" y="1248"/>
                  </a:moveTo>
                  <a:cubicBezTo>
                    <a:pt x="6478" y="443"/>
                    <a:pt x="5406" y="0"/>
                    <a:pt x="4267" y="0"/>
                  </a:cubicBezTo>
                  <a:cubicBezTo>
                    <a:pt x="3127" y="0"/>
                    <a:pt x="2056" y="443"/>
                    <a:pt x="1250" y="1248"/>
                  </a:cubicBezTo>
                  <a:cubicBezTo>
                    <a:pt x="444" y="2053"/>
                    <a:pt x="0" y="3124"/>
                    <a:pt x="0" y="4263"/>
                  </a:cubicBezTo>
                  <a:cubicBezTo>
                    <a:pt x="0" y="5349"/>
                    <a:pt x="409" y="6384"/>
                    <a:pt x="1152" y="7176"/>
                  </a:cubicBezTo>
                  <a:cubicBezTo>
                    <a:pt x="1892" y="7965"/>
                    <a:pt x="2891" y="8441"/>
                    <a:pt x="3966" y="8515"/>
                  </a:cubicBezTo>
                  <a:cubicBezTo>
                    <a:pt x="4035" y="8520"/>
                    <a:pt x="4095" y="8468"/>
                    <a:pt x="4100" y="8399"/>
                  </a:cubicBezTo>
                  <a:cubicBezTo>
                    <a:pt x="4105" y="8330"/>
                    <a:pt x="4053" y="8271"/>
                    <a:pt x="3984" y="8266"/>
                  </a:cubicBezTo>
                  <a:cubicBezTo>
                    <a:pt x="2971" y="8196"/>
                    <a:pt x="2031" y="7748"/>
                    <a:pt x="1335" y="7005"/>
                  </a:cubicBezTo>
                  <a:cubicBezTo>
                    <a:pt x="635" y="6259"/>
                    <a:pt x="250" y="5285"/>
                    <a:pt x="250" y="4263"/>
                  </a:cubicBezTo>
                  <a:cubicBezTo>
                    <a:pt x="250" y="3191"/>
                    <a:pt x="668" y="2183"/>
                    <a:pt x="1426" y="1425"/>
                  </a:cubicBezTo>
                  <a:cubicBezTo>
                    <a:pt x="2185" y="667"/>
                    <a:pt x="3194" y="250"/>
                    <a:pt x="4267" y="250"/>
                  </a:cubicBezTo>
                  <a:cubicBezTo>
                    <a:pt x="5340" y="250"/>
                    <a:pt x="6348" y="667"/>
                    <a:pt x="7107" y="1425"/>
                  </a:cubicBezTo>
                  <a:cubicBezTo>
                    <a:pt x="7866" y="2183"/>
                    <a:pt x="8283" y="3191"/>
                    <a:pt x="8283" y="4263"/>
                  </a:cubicBezTo>
                  <a:cubicBezTo>
                    <a:pt x="8283" y="5285"/>
                    <a:pt x="7898" y="6259"/>
                    <a:pt x="7199" y="7005"/>
                  </a:cubicBezTo>
                  <a:cubicBezTo>
                    <a:pt x="6503" y="7748"/>
                    <a:pt x="5562" y="8196"/>
                    <a:pt x="4550" y="8266"/>
                  </a:cubicBezTo>
                  <a:cubicBezTo>
                    <a:pt x="4481" y="8271"/>
                    <a:pt x="4429" y="8330"/>
                    <a:pt x="4433" y="8399"/>
                  </a:cubicBezTo>
                  <a:cubicBezTo>
                    <a:pt x="4438" y="8465"/>
                    <a:pt x="4493" y="8516"/>
                    <a:pt x="4558" y="8516"/>
                  </a:cubicBezTo>
                  <a:cubicBezTo>
                    <a:pt x="4561" y="8516"/>
                    <a:pt x="4564" y="8515"/>
                    <a:pt x="4567" y="8515"/>
                  </a:cubicBezTo>
                  <a:cubicBezTo>
                    <a:pt x="5642" y="8441"/>
                    <a:pt x="6642" y="7965"/>
                    <a:pt x="7381" y="7176"/>
                  </a:cubicBezTo>
                  <a:cubicBezTo>
                    <a:pt x="8124" y="6384"/>
                    <a:pt x="8533" y="5349"/>
                    <a:pt x="8533" y="4263"/>
                  </a:cubicBezTo>
                  <a:cubicBezTo>
                    <a:pt x="8533" y="3124"/>
                    <a:pt x="8090" y="2053"/>
                    <a:pt x="7284" y="1248"/>
                  </a:cubicBezTo>
                  <a:close/>
                  <a:moveTo>
                    <a:pt x="7284" y="124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1724">
              <a:extLst>
                <a:ext uri="{FF2B5EF4-FFF2-40B4-BE49-F238E27FC236}">
                  <a16:creationId xmlns:a16="http://schemas.microsoft.com/office/drawing/2014/main" id="{7EE7B035-87DE-4530-A5EB-E3E5D5171F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" y="876"/>
              <a:ext cx="68" cy="110"/>
            </a:xfrm>
            <a:custGeom>
              <a:avLst/>
              <a:gdLst>
                <a:gd name="T0" fmla="*/ 226 w 3366"/>
                <a:gd name="T1" fmla="*/ 4364 h 5417"/>
                <a:gd name="T2" fmla="*/ 695 w 3366"/>
                <a:gd name="T3" fmla="*/ 3895 h 5417"/>
                <a:gd name="T4" fmla="*/ 1980 w 3366"/>
                <a:gd name="T5" fmla="*/ 5180 h 5417"/>
                <a:gd name="T6" fmla="*/ 2554 w 3366"/>
                <a:gd name="T7" fmla="*/ 5417 h 5417"/>
                <a:gd name="T8" fmla="*/ 3129 w 3366"/>
                <a:gd name="T9" fmla="*/ 5180 h 5417"/>
                <a:gd name="T10" fmla="*/ 3366 w 3366"/>
                <a:gd name="T11" fmla="*/ 4606 h 5417"/>
                <a:gd name="T12" fmla="*/ 3129 w 3366"/>
                <a:gd name="T13" fmla="*/ 4032 h 5417"/>
                <a:gd name="T14" fmla="*/ 1843 w 3366"/>
                <a:gd name="T15" fmla="*/ 2748 h 5417"/>
                <a:gd name="T16" fmla="*/ 3129 w 3366"/>
                <a:gd name="T17" fmla="*/ 1463 h 5417"/>
                <a:gd name="T18" fmla="*/ 3366 w 3366"/>
                <a:gd name="T19" fmla="*/ 890 h 5417"/>
                <a:gd name="T20" fmla="*/ 3129 w 3366"/>
                <a:gd name="T21" fmla="*/ 316 h 5417"/>
                <a:gd name="T22" fmla="*/ 1980 w 3366"/>
                <a:gd name="T23" fmla="*/ 316 h 5417"/>
                <a:gd name="T24" fmla="*/ 1574 w 3366"/>
                <a:gd name="T25" fmla="*/ 722 h 5417"/>
                <a:gd name="T26" fmla="*/ 1574 w 3366"/>
                <a:gd name="T27" fmla="*/ 899 h 5417"/>
                <a:gd name="T28" fmla="*/ 1750 w 3366"/>
                <a:gd name="T29" fmla="*/ 899 h 5417"/>
                <a:gd name="T30" fmla="*/ 2157 w 3366"/>
                <a:gd name="T31" fmla="*/ 493 h 5417"/>
                <a:gd name="T32" fmla="*/ 2952 w 3366"/>
                <a:gd name="T33" fmla="*/ 493 h 5417"/>
                <a:gd name="T34" fmla="*/ 3116 w 3366"/>
                <a:gd name="T35" fmla="*/ 890 h 5417"/>
                <a:gd name="T36" fmla="*/ 2952 w 3366"/>
                <a:gd name="T37" fmla="*/ 1286 h 5417"/>
                <a:gd name="T38" fmla="*/ 1578 w 3366"/>
                <a:gd name="T39" fmla="*/ 2659 h 5417"/>
                <a:gd name="T40" fmla="*/ 1541 w 3366"/>
                <a:gd name="T41" fmla="*/ 2748 h 5417"/>
                <a:gd name="T42" fmla="*/ 1578 w 3366"/>
                <a:gd name="T43" fmla="*/ 2836 h 5417"/>
                <a:gd name="T44" fmla="*/ 2952 w 3366"/>
                <a:gd name="T45" fmla="*/ 4209 h 5417"/>
                <a:gd name="T46" fmla="*/ 3116 w 3366"/>
                <a:gd name="T47" fmla="*/ 4606 h 5417"/>
                <a:gd name="T48" fmla="*/ 2952 w 3366"/>
                <a:gd name="T49" fmla="*/ 5003 h 5417"/>
                <a:gd name="T50" fmla="*/ 2157 w 3366"/>
                <a:gd name="T51" fmla="*/ 5003 h 5417"/>
                <a:gd name="T52" fmla="*/ 783 w 3366"/>
                <a:gd name="T53" fmla="*/ 3630 h 5417"/>
                <a:gd name="T54" fmla="*/ 606 w 3366"/>
                <a:gd name="T55" fmla="*/ 3630 h 5417"/>
                <a:gd name="T56" fmla="*/ 49 w 3366"/>
                <a:gd name="T57" fmla="*/ 4187 h 5417"/>
                <a:gd name="T58" fmla="*/ 49 w 3366"/>
                <a:gd name="T59" fmla="*/ 4364 h 5417"/>
                <a:gd name="T60" fmla="*/ 226 w 3366"/>
                <a:gd name="T61" fmla="*/ 4364 h 5417"/>
                <a:gd name="T62" fmla="*/ 226 w 3366"/>
                <a:gd name="T63" fmla="*/ 4364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226" y="4364"/>
                  </a:moveTo>
                  <a:lnTo>
                    <a:pt x="695" y="3895"/>
                  </a:lnTo>
                  <a:lnTo>
                    <a:pt x="1980" y="5180"/>
                  </a:lnTo>
                  <a:cubicBezTo>
                    <a:pt x="2139" y="5338"/>
                    <a:pt x="2347" y="5417"/>
                    <a:pt x="2554" y="5417"/>
                  </a:cubicBezTo>
                  <a:cubicBezTo>
                    <a:pt x="2762" y="5417"/>
                    <a:pt x="2970" y="5338"/>
                    <a:pt x="3129" y="5180"/>
                  </a:cubicBezTo>
                  <a:cubicBezTo>
                    <a:pt x="3282" y="5026"/>
                    <a:pt x="3366" y="4823"/>
                    <a:pt x="3366" y="4606"/>
                  </a:cubicBezTo>
                  <a:cubicBezTo>
                    <a:pt x="3366" y="4389"/>
                    <a:pt x="3282" y="4185"/>
                    <a:pt x="3129" y="4032"/>
                  </a:cubicBezTo>
                  <a:lnTo>
                    <a:pt x="1843" y="2748"/>
                  </a:lnTo>
                  <a:lnTo>
                    <a:pt x="3129" y="1463"/>
                  </a:lnTo>
                  <a:cubicBezTo>
                    <a:pt x="3282" y="1310"/>
                    <a:pt x="3366" y="1106"/>
                    <a:pt x="3366" y="890"/>
                  </a:cubicBezTo>
                  <a:cubicBezTo>
                    <a:pt x="3366" y="673"/>
                    <a:pt x="3282" y="469"/>
                    <a:pt x="3129" y="316"/>
                  </a:cubicBezTo>
                  <a:cubicBezTo>
                    <a:pt x="2812" y="0"/>
                    <a:pt x="2297" y="0"/>
                    <a:pt x="1980" y="316"/>
                  </a:cubicBezTo>
                  <a:lnTo>
                    <a:pt x="1574" y="722"/>
                  </a:lnTo>
                  <a:cubicBezTo>
                    <a:pt x="1525" y="771"/>
                    <a:pt x="1525" y="850"/>
                    <a:pt x="1574" y="899"/>
                  </a:cubicBezTo>
                  <a:cubicBezTo>
                    <a:pt x="1622" y="948"/>
                    <a:pt x="1702" y="948"/>
                    <a:pt x="1750" y="899"/>
                  </a:cubicBezTo>
                  <a:lnTo>
                    <a:pt x="2157" y="493"/>
                  </a:lnTo>
                  <a:cubicBezTo>
                    <a:pt x="2376" y="274"/>
                    <a:pt x="2733" y="274"/>
                    <a:pt x="2952" y="493"/>
                  </a:cubicBezTo>
                  <a:cubicBezTo>
                    <a:pt x="3058" y="599"/>
                    <a:pt x="3116" y="740"/>
                    <a:pt x="3116" y="890"/>
                  </a:cubicBezTo>
                  <a:cubicBezTo>
                    <a:pt x="3116" y="1039"/>
                    <a:pt x="3058" y="1180"/>
                    <a:pt x="2952" y="1286"/>
                  </a:cubicBezTo>
                  <a:lnTo>
                    <a:pt x="1578" y="2659"/>
                  </a:lnTo>
                  <a:cubicBezTo>
                    <a:pt x="1554" y="2683"/>
                    <a:pt x="1541" y="2715"/>
                    <a:pt x="1541" y="2748"/>
                  </a:cubicBezTo>
                  <a:cubicBezTo>
                    <a:pt x="1541" y="2781"/>
                    <a:pt x="1554" y="2813"/>
                    <a:pt x="1578" y="2836"/>
                  </a:cubicBezTo>
                  <a:lnTo>
                    <a:pt x="2952" y="4209"/>
                  </a:lnTo>
                  <a:cubicBezTo>
                    <a:pt x="3058" y="4315"/>
                    <a:pt x="3116" y="4456"/>
                    <a:pt x="3116" y="4606"/>
                  </a:cubicBezTo>
                  <a:cubicBezTo>
                    <a:pt x="3116" y="4756"/>
                    <a:pt x="3058" y="4897"/>
                    <a:pt x="2952" y="5003"/>
                  </a:cubicBezTo>
                  <a:cubicBezTo>
                    <a:pt x="2733" y="5222"/>
                    <a:pt x="2376" y="5222"/>
                    <a:pt x="2157" y="5003"/>
                  </a:cubicBezTo>
                  <a:lnTo>
                    <a:pt x="783" y="3630"/>
                  </a:lnTo>
                  <a:cubicBezTo>
                    <a:pt x="734" y="3581"/>
                    <a:pt x="655" y="3581"/>
                    <a:pt x="606" y="3630"/>
                  </a:cubicBezTo>
                  <a:lnTo>
                    <a:pt x="49" y="4187"/>
                  </a:lnTo>
                  <a:cubicBezTo>
                    <a:pt x="0" y="4236"/>
                    <a:pt x="0" y="4315"/>
                    <a:pt x="49" y="4364"/>
                  </a:cubicBezTo>
                  <a:cubicBezTo>
                    <a:pt x="98" y="4412"/>
                    <a:pt x="177" y="4413"/>
                    <a:pt x="226" y="4364"/>
                  </a:cubicBezTo>
                  <a:close/>
                  <a:moveTo>
                    <a:pt x="226" y="43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1725">
              <a:extLst>
                <a:ext uri="{FF2B5EF4-FFF2-40B4-BE49-F238E27FC236}">
                  <a16:creationId xmlns:a16="http://schemas.microsoft.com/office/drawing/2014/main" id="{D0087726-8CC2-4C4D-8E0F-E5D9B6F99F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0" y="876"/>
              <a:ext cx="68" cy="110"/>
            </a:xfrm>
            <a:custGeom>
              <a:avLst/>
              <a:gdLst>
                <a:gd name="T0" fmla="*/ 1209 w 3366"/>
                <a:gd name="T1" fmla="*/ 493 h 5417"/>
                <a:gd name="T2" fmla="*/ 2583 w 3366"/>
                <a:gd name="T3" fmla="*/ 1866 h 5417"/>
                <a:gd name="T4" fmla="*/ 2760 w 3366"/>
                <a:gd name="T5" fmla="*/ 1866 h 5417"/>
                <a:gd name="T6" fmla="*/ 3317 w 3366"/>
                <a:gd name="T7" fmla="*/ 1309 h 5417"/>
                <a:gd name="T8" fmla="*/ 3317 w 3366"/>
                <a:gd name="T9" fmla="*/ 1132 h 5417"/>
                <a:gd name="T10" fmla="*/ 3141 w 3366"/>
                <a:gd name="T11" fmla="*/ 1132 h 5417"/>
                <a:gd name="T12" fmla="*/ 2672 w 3366"/>
                <a:gd name="T13" fmla="*/ 1601 h 5417"/>
                <a:gd name="T14" fmla="*/ 1386 w 3366"/>
                <a:gd name="T15" fmla="*/ 316 h 5417"/>
                <a:gd name="T16" fmla="*/ 238 w 3366"/>
                <a:gd name="T17" fmla="*/ 316 h 5417"/>
                <a:gd name="T18" fmla="*/ 0 w 3366"/>
                <a:gd name="T19" fmla="*/ 890 h 5417"/>
                <a:gd name="T20" fmla="*/ 238 w 3366"/>
                <a:gd name="T21" fmla="*/ 1463 h 5417"/>
                <a:gd name="T22" fmla="*/ 1523 w 3366"/>
                <a:gd name="T23" fmla="*/ 2748 h 5417"/>
                <a:gd name="T24" fmla="*/ 238 w 3366"/>
                <a:gd name="T25" fmla="*/ 4032 h 5417"/>
                <a:gd name="T26" fmla="*/ 0 w 3366"/>
                <a:gd name="T27" fmla="*/ 4606 h 5417"/>
                <a:gd name="T28" fmla="*/ 238 w 3366"/>
                <a:gd name="T29" fmla="*/ 5180 h 5417"/>
                <a:gd name="T30" fmla="*/ 812 w 3366"/>
                <a:gd name="T31" fmla="*/ 5417 h 5417"/>
                <a:gd name="T32" fmla="*/ 1386 w 3366"/>
                <a:gd name="T33" fmla="*/ 5180 h 5417"/>
                <a:gd name="T34" fmla="*/ 1791 w 3366"/>
                <a:gd name="T35" fmla="*/ 4775 h 5417"/>
                <a:gd name="T36" fmla="*/ 1791 w 3366"/>
                <a:gd name="T37" fmla="*/ 4598 h 5417"/>
                <a:gd name="T38" fmla="*/ 1615 w 3366"/>
                <a:gd name="T39" fmla="*/ 4598 h 5417"/>
                <a:gd name="T40" fmla="*/ 1209 w 3366"/>
                <a:gd name="T41" fmla="*/ 5003 h 5417"/>
                <a:gd name="T42" fmla="*/ 415 w 3366"/>
                <a:gd name="T43" fmla="*/ 5003 h 5417"/>
                <a:gd name="T44" fmla="*/ 250 w 3366"/>
                <a:gd name="T45" fmla="*/ 4606 h 5417"/>
                <a:gd name="T46" fmla="*/ 415 w 3366"/>
                <a:gd name="T47" fmla="*/ 4209 h 5417"/>
                <a:gd name="T48" fmla="*/ 1789 w 3366"/>
                <a:gd name="T49" fmla="*/ 2836 h 5417"/>
                <a:gd name="T50" fmla="*/ 1825 w 3366"/>
                <a:gd name="T51" fmla="*/ 2748 h 5417"/>
                <a:gd name="T52" fmla="*/ 1789 w 3366"/>
                <a:gd name="T53" fmla="*/ 2659 h 5417"/>
                <a:gd name="T54" fmla="*/ 415 w 3366"/>
                <a:gd name="T55" fmla="*/ 1286 h 5417"/>
                <a:gd name="T56" fmla="*/ 250 w 3366"/>
                <a:gd name="T57" fmla="*/ 890 h 5417"/>
                <a:gd name="T58" fmla="*/ 415 w 3366"/>
                <a:gd name="T59" fmla="*/ 493 h 5417"/>
                <a:gd name="T60" fmla="*/ 1209 w 3366"/>
                <a:gd name="T61" fmla="*/ 493 h 5417"/>
                <a:gd name="T62" fmla="*/ 1209 w 3366"/>
                <a:gd name="T63" fmla="*/ 493 h 5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66" h="5417">
                  <a:moveTo>
                    <a:pt x="1209" y="493"/>
                  </a:moveTo>
                  <a:lnTo>
                    <a:pt x="2583" y="1866"/>
                  </a:lnTo>
                  <a:cubicBezTo>
                    <a:pt x="2632" y="1914"/>
                    <a:pt x="2711" y="1914"/>
                    <a:pt x="2760" y="1866"/>
                  </a:cubicBezTo>
                  <a:lnTo>
                    <a:pt x="3317" y="1309"/>
                  </a:lnTo>
                  <a:cubicBezTo>
                    <a:pt x="3366" y="1260"/>
                    <a:pt x="3366" y="1181"/>
                    <a:pt x="3317" y="1132"/>
                  </a:cubicBezTo>
                  <a:cubicBezTo>
                    <a:pt x="3269" y="1083"/>
                    <a:pt x="3190" y="1083"/>
                    <a:pt x="3141" y="1132"/>
                  </a:cubicBezTo>
                  <a:lnTo>
                    <a:pt x="2672" y="1601"/>
                  </a:lnTo>
                  <a:lnTo>
                    <a:pt x="1386" y="316"/>
                  </a:lnTo>
                  <a:cubicBezTo>
                    <a:pt x="1069" y="0"/>
                    <a:pt x="554" y="0"/>
                    <a:pt x="238" y="316"/>
                  </a:cubicBezTo>
                  <a:cubicBezTo>
                    <a:pt x="84" y="469"/>
                    <a:pt x="0" y="673"/>
                    <a:pt x="0" y="890"/>
                  </a:cubicBezTo>
                  <a:cubicBezTo>
                    <a:pt x="0" y="1106"/>
                    <a:pt x="84" y="1310"/>
                    <a:pt x="238" y="1463"/>
                  </a:cubicBezTo>
                  <a:lnTo>
                    <a:pt x="1523" y="2748"/>
                  </a:lnTo>
                  <a:lnTo>
                    <a:pt x="238" y="4032"/>
                  </a:lnTo>
                  <a:cubicBezTo>
                    <a:pt x="84" y="4185"/>
                    <a:pt x="0" y="4389"/>
                    <a:pt x="0" y="4606"/>
                  </a:cubicBezTo>
                  <a:cubicBezTo>
                    <a:pt x="0" y="4823"/>
                    <a:pt x="84" y="5026"/>
                    <a:pt x="238" y="5180"/>
                  </a:cubicBezTo>
                  <a:cubicBezTo>
                    <a:pt x="396" y="5338"/>
                    <a:pt x="604" y="5417"/>
                    <a:pt x="812" y="5417"/>
                  </a:cubicBezTo>
                  <a:cubicBezTo>
                    <a:pt x="1020" y="5417"/>
                    <a:pt x="1228" y="5338"/>
                    <a:pt x="1386" y="5180"/>
                  </a:cubicBezTo>
                  <a:lnTo>
                    <a:pt x="1791" y="4775"/>
                  </a:lnTo>
                  <a:cubicBezTo>
                    <a:pt x="1840" y="4726"/>
                    <a:pt x="1840" y="4647"/>
                    <a:pt x="1791" y="4598"/>
                  </a:cubicBezTo>
                  <a:cubicBezTo>
                    <a:pt x="1743" y="4549"/>
                    <a:pt x="1663" y="4549"/>
                    <a:pt x="1615" y="4598"/>
                  </a:cubicBezTo>
                  <a:lnTo>
                    <a:pt x="1209" y="5003"/>
                  </a:lnTo>
                  <a:cubicBezTo>
                    <a:pt x="990" y="5222"/>
                    <a:pt x="634" y="5222"/>
                    <a:pt x="415" y="5003"/>
                  </a:cubicBezTo>
                  <a:cubicBezTo>
                    <a:pt x="308" y="4897"/>
                    <a:pt x="250" y="4756"/>
                    <a:pt x="250" y="4606"/>
                  </a:cubicBezTo>
                  <a:cubicBezTo>
                    <a:pt x="250" y="4456"/>
                    <a:pt x="308" y="4315"/>
                    <a:pt x="415" y="4209"/>
                  </a:cubicBezTo>
                  <a:lnTo>
                    <a:pt x="1789" y="2836"/>
                  </a:lnTo>
                  <a:cubicBezTo>
                    <a:pt x="1812" y="2813"/>
                    <a:pt x="1825" y="2781"/>
                    <a:pt x="1825" y="2748"/>
                  </a:cubicBezTo>
                  <a:cubicBezTo>
                    <a:pt x="1825" y="2715"/>
                    <a:pt x="1812" y="2683"/>
                    <a:pt x="1789" y="2659"/>
                  </a:cubicBezTo>
                  <a:lnTo>
                    <a:pt x="415" y="1286"/>
                  </a:lnTo>
                  <a:cubicBezTo>
                    <a:pt x="308" y="1180"/>
                    <a:pt x="250" y="1039"/>
                    <a:pt x="250" y="890"/>
                  </a:cubicBezTo>
                  <a:cubicBezTo>
                    <a:pt x="250" y="740"/>
                    <a:pt x="308" y="599"/>
                    <a:pt x="415" y="493"/>
                  </a:cubicBezTo>
                  <a:cubicBezTo>
                    <a:pt x="634" y="274"/>
                    <a:pt x="990" y="274"/>
                    <a:pt x="1209" y="493"/>
                  </a:cubicBezTo>
                  <a:close/>
                  <a:moveTo>
                    <a:pt x="1209" y="49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2" name="Объект 2">
            <a:extLst>
              <a:ext uri="{FF2B5EF4-FFF2-40B4-BE49-F238E27FC236}">
                <a16:creationId xmlns:a16="http://schemas.microsoft.com/office/drawing/2014/main" id="{568EF517-8295-42AD-AB17-FBECABBB1188}"/>
              </a:ext>
            </a:extLst>
          </p:cNvPr>
          <p:cNvSpPr txBox="1">
            <a:spLocks/>
          </p:cNvSpPr>
          <p:nvPr/>
        </p:nvSpPr>
        <p:spPr>
          <a:xfrm>
            <a:off x="1424709" y="1415060"/>
            <a:ext cx="5207883" cy="49642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err="1">
                <a:solidFill>
                  <a:srgbClr val="0070C0"/>
                </a:solidFill>
              </a:rPr>
              <a:t>Коррупциянинг</a:t>
            </a:r>
            <a:r>
              <a:rPr lang="ru-RU" sz="2000" dirty="0">
                <a:solidFill>
                  <a:srgbClr val="0070C0"/>
                </a:solidFill>
              </a:rPr>
              <a:t>  </a:t>
            </a:r>
            <a:r>
              <a:rPr lang="ru-RU" sz="2000" dirty="0" err="1">
                <a:solidFill>
                  <a:srgbClr val="0070C0"/>
                </a:solidFill>
              </a:rPr>
              <a:t>ижтимоий</a:t>
            </a:r>
            <a:r>
              <a:rPr lang="ru-RU" sz="2000" dirty="0">
                <a:solidFill>
                  <a:srgbClr val="0070C0"/>
                </a:solidFill>
              </a:rPr>
              <a:t> </a:t>
            </a:r>
            <a:r>
              <a:rPr lang="ru-RU" sz="2000" dirty="0" err="1">
                <a:solidFill>
                  <a:srgbClr val="0070C0"/>
                </a:solidFill>
              </a:rPr>
              <a:t>оқибатлари</a:t>
            </a:r>
            <a:endParaRPr lang="ru-RU" sz="2000" dirty="0">
              <a:solidFill>
                <a:srgbClr val="0070C0"/>
              </a:solidFill>
            </a:endParaRPr>
          </a:p>
        </p:txBody>
      </p:sp>
      <p:sp>
        <p:nvSpPr>
          <p:cNvPr id="103" name="object 12">
            <a:extLst>
              <a:ext uri="{FF2B5EF4-FFF2-40B4-BE49-F238E27FC236}">
                <a16:creationId xmlns:a16="http://schemas.microsoft.com/office/drawing/2014/main" id="{080F661F-07FB-4C4E-82AE-3632897562C5}"/>
              </a:ext>
            </a:extLst>
          </p:cNvPr>
          <p:cNvSpPr/>
          <p:nvPr/>
        </p:nvSpPr>
        <p:spPr>
          <a:xfrm>
            <a:off x="441831" y="127084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EE548D99-4431-4FC9-931C-BEC8E9D38474}"/>
              </a:ext>
            </a:extLst>
          </p:cNvPr>
          <p:cNvGrpSpPr/>
          <p:nvPr/>
        </p:nvGrpSpPr>
        <p:grpSpPr>
          <a:xfrm>
            <a:off x="679486" y="1396731"/>
            <a:ext cx="620749" cy="489973"/>
            <a:chOff x="2374544" y="5279775"/>
            <a:chExt cx="437623" cy="345427"/>
          </a:xfrm>
        </p:grpSpPr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B0143E4D-BFB0-44E1-9B0C-7CB5B07576B0}"/>
                </a:ext>
              </a:extLst>
            </p:cNvPr>
            <p:cNvSpPr/>
            <p:nvPr/>
          </p:nvSpPr>
          <p:spPr>
            <a:xfrm>
              <a:off x="2619444" y="5432506"/>
              <a:ext cx="174292" cy="174292"/>
            </a:xfrm>
            <a:custGeom>
              <a:avLst/>
              <a:gdLst>
                <a:gd name="connsiteX0" fmla="*/ 112012 w 174292"/>
                <a:gd name="connsiteY0" fmla="*/ 35818 h 174292"/>
                <a:gd name="connsiteX1" fmla="*/ 141230 w 174292"/>
                <a:gd name="connsiteY1" fmla="*/ 112012 h 174292"/>
                <a:gd name="connsiteX2" fmla="*/ 65036 w 174292"/>
                <a:gd name="connsiteY2" fmla="*/ 141230 h 174292"/>
                <a:gd name="connsiteX3" fmla="*/ 35818 w 174292"/>
                <a:gd name="connsiteY3" fmla="*/ 65035 h 174292"/>
                <a:gd name="connsiteX4" fmla="*/ 112012 w 174292"/>
                <a:gd name="connsiteY4" fmla="*/ 35818 h 17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292" h="174292">
                  <a:moveTo>
                    <a:pt x="112012" y="35818"/>
                  </a:moveTo>
                  <a:cubicBezTo>
                    <a:pt x="141121" y="48790"/>
                    <a:pt x="154202" y="82903"/>
                    <a:pt x="141230" y="112012"/>
                  </a:cubicBezTo>
                  <a:cubicBezTo>
                    <a:pt x="128258" y="141121"/>
                    <a:pt x="94144" y="154202"/>
                    <a:pt x="65036" y="141230"/>
                  </a:cubicBezTo>
                  <a:cubicBezTo>
                    <a:pt x="35927" y="128258"/>
                    <a:pt x="22845" y="94144"/>
                    <a:pt x="35818" y="65035"/>
                  </a:cubicBezTo>
                  <a:cubicBezTo>
                    <a:pt x="48790" y="35926"/>
                    <a:pt x="82903" y="22845"/>
                    <a:pt x="112012" y="35818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7FC676C-0031-4820-AE55-7C0F3F89F699}"/>
                </a:ext>
              </a:extLst>
            </p:cNvPr>
            <p:cNvSpPr/>
            <p:nvPr/>
          </p:nvSpPr>
          <p:spPr>
            <a:xfrm>
              <a:off x="2600527" y="5413562"/>
              <a:ext cx="211640" cy="211640"/>
            </a:xfrm>
            <a:custGeom>
              <a:avLst/>
              <a:gdLst>
                <a:gd name="connsiteX0" fmla="*/ 127807 w 211640"/>
                <a:gd name="connsiteY0" fmla="*/ 31900 h 211640"/>
                <a:gd name="connsiteX1" fmla="*/ 182823 w 211640"/>
                <a:gd name="connsiteY1" fmla="*/ 127807 h 211640"/>
                <a:gd name="connsiteX2" fmla="*/ 86916 w 211640"/>
                <a:gd name="connsiteY2" fmla="*/ 182823 h 211640"/>
                <a:gd name="connsiteX3" fmla="*/ 31900 w 211640"/>
                <a:gd name="connsiteY3" fmla="*/ 86916 h 211640"/>
                <a:gd name="connsiteX4" fmla="*/ 127807 w 211640"/>
                <a:gd name="connsiteY4" fmla="*/ 31900 h 211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1640" h="211640">
                  <a:moveTo>
                    <a:pt x="127807" y="31900"/>
                  </a:moveTo>
                  <a:cubicBezTo>
                    <a:pt x="169484" y="43192"/>
                    <a:pt x="194115" y="86131"/>
                    <a:pt x="182823" y="127807"/>
                  </a:cubicBezTo>
                  <a:cubicBezTo>
                    <a:pt x="171531" y="169484"/>
                    <a:pt x="128592" y="194115"/>
                    <a:pt x="86916" y="182823"/>
                  </a:cubicBezTo>
                  <a:cubicBezTo>
                    <a:pt x="45239" y="171531"/>
                    <a:pt x="20608" y="128592"/>
                    <a:pt x="31900" y="86916"/>
                  </a:cubicBezTo>
                  <a:cubicBezTo>
                    <a:pt x="43192" y="45239"/>
                    <a:pt x="86131" y="20608"/>
                    <a:pt x="127807" y="31900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747DE1D-224D-4064-9EDE-0AEA366A3ABD}"/>
                </a:ext>
              </a:extLst>
            </p:cNvPr>
            <p:cNvSpPr/>
            <p:nvPr/>
          </p:nvSpPr>
          <p:spPr>
            <a:xfrm>
              <a:off x="2698604" y="5478530"/>
              <a:ext cx="49798" cy="49798"/>
            </a:xfrm>
            <a:custGeom>
              <a:avLst/>
              <a:gdLst>
                <a:gd name="connsiteX0" fmla="*/ 9337 w 49797"/>
                <a:gd name="connsiteY0" fmla="*/ 9337 h 49797"/>
                <a:gd name="connsiteX1" fmla="*/ 42390 w 49797"/>
                <a:gd name="connsiteY1" fmla="*/ 42390 h 49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7" h="49797">
                  <a:moveTo>
                    <a:pt x="9337" y="9337"/>
                  </a:moveTo>
                  <a:cubicBezTo>
                    <a:pt x="27576" y="9337"/>
                    <a:pt x="42390" y="24152"/>
                    <a:pt x="42390" y="42390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7042C31-B9E8-4644-8894-1B01315C28A6}"/>
                </a:ext>
              </a:extLst>
            </p:cNvPr>
            <p:cNvSpPr/>
            <p:nvPr/>
          </p:nvSpPr>
          <p:spPr>
            <a:xfrm>
              <a:off x="2391647" y="5433838"/>
              <a:ext cx="168067" cy="168067"/>
            </a:xfrm>
            <a:custGeom>
              <a:avLst/>
              <a:gdLst>
                <a:gd name="connsiteX0" fmla="*/ 140610 w 168067"/>
                <a:gd name="connsiteY0" fmla="*/ 65819 h 168067"/>
                <a:gd name="connsiteX1" fmla="*/ 107966 w 168067"/>
                <a:gd name="connsiteY1" fmla="*/ 140610 h 168067"/>
                <a:gd name="connsiteX2" fmla="*/ 33176 w 168067"/>
                <a:gd name="connsiteY2" fmla="*/ 107966 h 168067"/>
                <a:gd name="connsiteX3" fmla="*/ 65820 w 168067"/>
                <a:gd name="connsiteY3" fmla="*/ 33175 h 168067"/>
                <a:gd name="connsiteX4" fmla="*/ 140610 w 168067"/>
                <a:gd name="connsiteY4" fmla="*/ 65819 h 16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67" h="168067">
                  <a:moveTo>
                    <a:pt x="140610" y="65819"/>
                  </a:moveTo>
                  <a:cubicBezTo>
                    <a:pt x="152249" y="95487"/>
                    <a:pt x="137633" y="128972"/>
                    <a:pt x="107966" y="140610"/>
                  </a:cubicBezTo>
                  <a:cubicBezTo>
                    <a:pt x="78299" y="152249"/>
                    <a:pt x="44814" y="137633"/>
                    <a:pt x="33176" y="107966"/>
                  </a:cubicBezTo>
                  <a:cubicBezTo>
                    <a:pt x="21537" y="78299"/>
                    <a:pt x="36152" y="44814"/>
                    <a:pt x="65820" y="33175"/>
                  </a:cubicBezTo>
                  <a:cubicBezTo>
                    <a:pt x="95487" y="21537"/>
                    <a:pt x="128972" y="36152"/>
                    <a:pt x="140610" y="65819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9558427C-9BD6-490D-A0A3-EA1E2A620947}"/>
                </a:ext>
              </a:extLst>
            </p:cNvPr>
            <p:cNvSpPr/>
            <p:nvPr/>
          </p:nvSpPr>
          <p:spPr>
            <a:xfrm>
              <a:off x="2374544" y="5417209"/>
              <a:ext cx="205416" cy="205416"/>
            </a:xfrm>
            <a:custGeom>
              <a:avLst/>
              <a:gdLst>
                <a:gd name="connsiteX0" fmla="*/ 180286 w 205415"/>
                <a:gd name="connsiteY0" fmla="*/ 87547 h 205415"/>
                <a:gd name="connsiteX1" fmla="*/ 120083 w 205415"/>
                <a:gd name="connsiteY1" fmla="*/ 180286 h 205415"/>
                <a:gd name="connsiteX2" fmla="*/ 27344 w 205415"/>
                <a:gd name="connsiteY2" fmla="*/ 120083 h 205415"/>
                <a:gd name="connsiteX3" fmla="*/ 87547 w 205415"/>
                <a:gd name="connsiteY3" fmla="*/ 27344 h 205415"/>
                <a:gd name="connsiteX4" fmla="*/ 180286 w 205415"/>
                <a:gd name="connsiteY4" fmla="*/ 87547 h 205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415" h="205415">
                  <a:moveTo>
                    <a:pt x="180286" y="87547"/>
                  </a:moveTo>
                  <a:cubicBezTo>
                    <a:pt x="189271" y="129781"/>
                    <a:pt x="162317" y="171301"/>
                    <a:pt x="120083" y="180286"/>
                  </a:cubicBezTo>
                  <a:cubicBezTo>
                    <a:pt x="77850" y="189271"/>
                    <a:pt x="36329" y="162317"/>
                    <a:pt x="27344" y="120083"/>
                  </a:cubicBezTo>
                  <a:cubicBezTo>
                    <a:pt x="18359" y="77850"/>
                    <a:pt x="45313" y="36329"/>
                    <a:pt x="87547" y="27344"/>
                  </a:cubicBezTo>
                  <a:cubicBezTo>
                    <a:pt x="129781" y="18359"/>
                    <a:pt x="171301" y="45313"/>
                    <a:pt x="180286" y="87547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22588472-2A09-4C05-A52B-B9A4AD2E2CE7}"/>
                </a:ext>
              </a:extLst>
            </p:cNvPr>
            <p:cNvSpPr/>
            <p:nvPr/>
          </p:nvSpPr>
          <p:spPr>
            <a:xfrm>
              <a:off x="2689952" y="5314010"/>
              <a:ext cx="93371" cy="174292"/>
            </a:xfrm>
            <a:custGeom>
              <a:avLst/>
              <a:gdLst>
                <a:gd name="connsiteX0" fmla="*/ 9337 w 93370"/>
                <a:gd name="connsiteY0" fmla="*/ 9337 h 174292"/>
                <a:gd name="connsiteX1" fmla="*/ 42826 w 93370"/>
                <a:gd name="connsiteY1" fmla="*/ 34672 h 174292"/>
                <a:gd name="connsiteX2" fmla="*/ 86959 w 93370"/>
                <a:gd name="connsiteY2" fmla="*/ 170059 h 17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370" h="174292">
                  <a:moveTo>
                    <a:pt x="9337" y="9337"/>
                  </a:moveTo>
                  <a:cubicBezTo>
                    <a:pt x="24650" y="9960"/>
                    <a:pt x="38033" y="19981"/>
                    <a:pt x="42826" y="34672"/>
                  </a:cubicBezTo>
                  <a:lnTo>
                    <a:pt x="86959" y="170059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CFE0676-A289-414E-BFB9-9735C3D2D494}"/>
                </a:ext>
              </a:extLst>
            </p:cNvPr>
            <p:cNvSpPr/>
            <p:nvPr/>
          </p:nvSpPr>
          <p:spPr>
            <a:xfrm>
              <a:off x="2569379" y="5325153"/>
              <a:ext cx="43573" cy="24899"/>
            </a:xfrm>
            <a:custGeom>
              <a:avLst/>
              <a:gdLst>
                <a:gd name="connsiteX0" fmla="*/ 9337 w 43573"/>
                <a:gd name="connsiteY0" fmla="*/ 9337 h 24898"/>
                <a:gd name="connsiteX1" fmla="*/ 23778 w 43573"/>
                <a:gd name="connsiteY1" fmla="*/ 16433 h 24898"/>
                <a:gd name="connsiteX2" fmla="*/ 38220 w 43573"/>
                <a:gd name="connsiteY2" fmla="*/ 9337 h 24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573" h="24898">
                  <a:moveTo>
                    <a:pt x="9337" y="9337"/>
                  </a:moveTo>
                  <a:cubicBezTo>
                    <a:pt x="12698" y="13632"/>
                    <a:pt x="17927" y="16433"/>
                    <a:pt x="23778" y="16433"/>
                  </a:cubicBezTo>
                  <a:cubicBezTo>
                    <a:pt x="29630" y="16433"/>
                    <a:pt x="34921" y="13632"/>
                    <a:pt x="38220" y="9337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89099E87-9369-493F-A3F7-D939AA42E54B}"/>
                </a:ext>
              </a:extLst>
            </p:cNvPr>
            <p:cNvSpPr/>
            <p:nvPr/>
          </p:nvSpPr>
          <p:spPr>
            <a:xfrm>
              <a:off x="2400129" y="5313948"/>
              <a:ext cx="93371" cy="174292"/>
            </a:xfrm>
            <a:custGeom>
              <a:avLst/>
              <a:gdLst>
                <a:gd name="connsiteX0" fmla="*/ 9337 w 93370"/>
                <a:gd name="connsiteY0" fmla="*/ 170059 h 174292"/>
                <a:gd name="connsiteX1" fmla="*/ 53470 w 93370"/>
                <a:gd name="connsiteY1" fmla="*/ 34672 h 174292"/>
                <a:gd name="connsiteX2" fmla="*/ 86897 w 93370"/>
                <a:gd name="connsiteY2" fmla="*/ 9337 h 174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3370" h="174292">
                  <a:moveTo>
                    <a:pt x="9337" y="170059"/>
                  </a:moveTo>
                  <a:lnTo>
                    <a:pt x="53470" y="34672"/>
                  </a:lnTo>
                  <a:cubicBezTo>
                    <a:pt x="58263" y="20044"/>
                    <a:pt x="71646" y="9960"/>
                    <a:pt x="86897" y="9337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A2A56C06-E822-4840-8256-D1E6E5E5A691}"/>
                </a:ext>
              </a:extLst>
            </p:cNvPr>
            <p:cNvSpPr/>
            <p:nvPr/>
          </p:nvSpPr>
          <p:spPr>
            <a:xfrm>
              <a:off x="2547343" y="5325153"/>
              <a:ext cx="37348" cy="199191"/>
            </a:xfrm>
            <a:custGeom>
              <a:avLst/>
              <a:gdLst>
                <a:gd name="connsiteX0" fmla="*/ 9337 w 37348"/>
                <a:gd name="connsiteY0" fmla="*/ 195767 h 199190"/>
                <a:gd name="connsiteX1" fmla="*/ 31373 w 37348"/>
                <a:gd name="connsiteY1" fmla="*/ 9337 h 19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48" h="199190">
                  <a:moveTo>
                    <a:pt x="9337" y="195767"/>
                  </a:moveTo>
                  <a:lnTo>
                    <a:pt x="31373" y="933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45066EED-CDEA-4303-956A-4C1641F9C428}"/>
                </a:ext>
              </a:extLst>
            </p:cNvPr>
            <p:cNvSpPr/>
            <p:nvPr/>
          </p:nvSpPr>
          <p:spPr>
            <a:xfrm>
              <a:off x="2598324" y="5325153"/>
              <a:ext cx="37348" cy="199191"/>
            </a:xfrm>
            <a:custGeom>
              <a:avLst/>
              <a:gdLst>
                <a:gd name="connsiteX0" fmla="*/ 31435 w 37348"/>
                <a:gd name="connsiteY0" fmla="*/ 195767 h 199190"/>
                <a:gd name="connsiteX1" fmla="*/ 9337 w 37348"/>
                <a:gd name="connsiteY1" fmla="*/ 9337 h 199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348" h="199190">
                  <a:moveTo>
                    <a:pt x="31435" y="195767"/>
                  </a:moveTo>
                  <a:lnTo>
                    <a:pt x="9337" y="9337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799FBEE9-E740-4B9C-B557-2AC7068F244A}"/>
                </a:ext>
              </a:extLst>
            </p:cNvPr>
            <p:cNvSpPr/>
            <p:nvPr/>
          </p:nvSpPr>
          <p:spPr>
            <a:xfrm>
              <a:off x="2469099" y="5478530"/>
              <a:ext cx="49798" cy="49798"/>
            </a:xfrm>
            <a:custGeom>
              <a:avLst/>
              <a:gdLst>
                <a:gd name="connsiteX0" fmla="*/ 42390 w 49797"/>
                <a:gd name="connsiteY0" fmla="*/ 42390 h 49797"/>
                <a:gd name="connsiteX1" fmla="*/ 9337 w 49797"/>
                <a:gd name="connsiteY1" fmla="*/ 9337 h 49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797" h="49797">
                  <a:moveTo>
                    <a:pt x="42390" y="42390"/>
                  </a:moveTo>
                  <a:cubicBezTo>
                    <a:pt x="42390" y="24152"/>
                    <a:pt x="27575" y="9337"/>
                    <a:pt x="9337" y="9337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6A60CB51-C9DC-4624-9D42-EBE2C2931D20}"/>
                </a:ext>
              </a:extLst>
            </p:cNvPr>
            <p:cNvSpPr/>
            <p:nvPr/>
          </p:nvSpPr>
          <p:spPr>
            <a:xfrm>
              <a:off x="2547343" y="5475044"/>
              <a:ext cx="87146" cy="87146"/>
            </a:xfrm>
            <a:custGeom>
              <a:avLst/>
              <a:gdLst>
                <a:gd name="connsiteX0" fmla="*/ 82415 w 87146"/>
                <a:gd name="connsiteY0" fmla="*/ 45876 h 87146"/>
                <a:gd name="connsiteX1" fmla="*/ 45876 w 87146"/>
                <a:gd name="connsiteY1" fmla="*/ 82415 h 87146"/>
                <a:gd name="connsiteX2" fmla="*/ 9337 w 87146"/>
                <a:gd name="connsiteY2" fmla="*/ 45876 h 87146"/>
                <a:gd name="connsiteX3" fmla="*/ 45876 w 87146"/>
                <a:gd name="connsiteY3" fmla="*/ 9337 h 87146"/>
                <a:gd name="connsiteX4" fmla="*/ 82415 w 87146"/>
                <a:gd name="connsiteY4" fmla="*/ 45876 h 8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7146" h="87146">
                  <a:moveTo>
                    <a:pt x="82415" y="45876"/>
                  </a:moveTo>
                  <a:cubicBezTo>
                    <a:pt x="82415" y="66044"/>
                    <a:pt x="66044" y="82415"/>
                    <a:pt x="45876" y="82415"/>
                  </a:cubicBezTo>
                  <a:cubicBezTo>
                    <a:pt x="25708" y="82415"/>
                    <a:pt x="9337" y="66044"/>
                    <a:pt x="9337" y="45876"/>
                  </a:cubicBezTo>
                  <a:cubicBezTo>
                    <a:pt x="9337" y="25708"/>
                    <a:pt x="25708" y="9337"/>
                    <a:pt x="45876" y="9337"/>
                  </a:cubicBezTo>
                  <a:cubicBezTo>
                    <a:pt x="66044" y="9337"/>
                    <a:pt x="82415" y="25708"/>
                    <a:pt x="82415" y="45876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230AD51-2FFE-454A-864A-B36E12027CA4}"/>
                </a:ext>
              </a:extLst>
            </p:cNvPr>
            <p:cNvSpPr/>
            <p:nvPr/>
          </p:nvSpPr>
          <p:spPr>
            <a:xfrm>
              <a:off x="2568570" y="5496270"/>
              <a:ext cx="43573" cy="43573"/>
            </a:xfrm>
            <a:custGeom>
              <a:avLst/>
              <a:gdLst>
                <a:gd name="connsiteX0" fmla="*/ 39963 w 43573"/>
                <a:gd name="connsiteY0" fmla="*/ 24650 h 43573"/>
                <a:gd name="connsiteX1" fmla="*/ 24650 w 43573"/>
                <a:gd name="connsiteY1" fmla="*/ 39963 h 43573"/>
                <a:gd name="connsiteX2" fmla="*/ 9337 w 43573"/>
                <a:gd name="connsiteY2" fmla="*/ 24650 h 43573"/>
                <a:gd name="connsiteX3" fmla="*/ 24650 w 43573"/>
                <a:gd name="connsiteY3" fmla="*/ 9337 h 43573"/>
                <a:gd name="connsiteX4" fmla="*/ 39963 w 43573"/>
                <a:gd name="connsiteY4" fmla="*/ 24650 h 43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573" h="43573">
                  <a:moveTo>
                    <a:pt x="39963" y="24650"/>
                  </a:moveTo>
                  <a:cubicBezTo>
                    <a:pt x="39963" y="33116"/>
                    <a:pt x="33116" y="39963"/>
                    <a:pt x="24650" y="39963"/>
                  </a:cubicBezTo>
                  <a:cubicBezTo>
                    <a:pt x="16184" y="39963"/>
                    <a:pt x="9337" y="33116"/>
                    <a:pt x="9337" y="24650"/>
                  </a:cubicBezTo>
                  <a:cubicBezTo>
                    <a:pt x="9337" y="16184"/>
                    <a:pt x="16184" y="9337"/>
                    <a:pt x="24650" y="9337"/>
                  </a:cubicBezTo>
                  <a:cubicBezTo>
                    <a:pt x="33116" y="9337"/>
                    <a:pt x="39963" y="16184"/>
                    <a:pt x="39963" y="24650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3CC4F2C-E57B-45C5-9B67-A93C3FFCA779}"/>
                </a:ext>
              </a:extLst>
            </p:cNvPr>
            <p:cNvSpPr/>
            <p:nvPr/>
          </p:nvSpPr>
          <p:spPr>
            <a:xfrm>
              <a:off x="2598386" y="5279775"/>
              <a:ext cx="105820" cy="62247"/>
            </a:xfrm>
            <a:custGeom>
              <a:avLst/>
              <a:gdLst>
                <a:gd name="connsiteX0" fmla="*/ 100903 w 105820"/>
                <a:gd name="connsiteY0" fmla="*/ 43511 h 62247"/>
                <a:gd name="connsiteX1" fmla="*/ 55960 w 105820"/>
                <a:gd name="connsiteY1" fmla="*/ 9337 h 62247"/>
                <a:gd name="connsiteX2" fmla="*/ 9337 w 105820"/>
                <a:gd name="connsiteY2" fmla="*/ 54093 h 6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820" h="62247">
                  <a:moveTo>
                    <a:pt x="100903" y="43511"/>
                  </a:moveTo>
                  <a:cubicBezTo>
                    <a:pt x="95425" y="23778"/>
                    <a:pt x="77373" y="9337"/>
                    <a:pt x="55960" y="9337"/>
                  </a:cubicBezTo>
                  <a:cubicBezTo>
                    <a:pt x="30812" y="9337"/>
                    <a:pt x="10333" y="29194"/>
                    <a:pt x="9337" y="54093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FE2628A9-D306-411D-A236-B04AB1314B6C}"/>
                </a:ext>
              </a:extLst>
            </p:cNvPr>
            <p:cNvSpPr/>
            <p:nvPr/>
          </p:nvSpPr>
          <p:spPr>
            <a:xfrm>
              <a:off x="2477813" y="5279775"/>
              <a:ext cx="105820" cy="62247"/>
            </a:xfrm>
            <a:custGeom>
              <a:avLst/>
              <a:gdLst>
                <a:gd name="connsiteX0" fmla="*/ 9337 w 105820"/>
                <a:gd name="connsiteY0" fmla="*/ 43511 h 62247"/>
                <a:gd name="connsiteX1" fmla="*/ 54280 w 105820"/>
                <a:gd name="connsiteY1" fmla="*/ 9337 h 62247"/>
                <a:gd name="connsiteX2" fmla="*/ 100903 w 105820"/>
                <a:gd name="connsiteY2" fmla="*/ 54093 h 6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5820" h="62247">
                  <a:moveTo>
                    <a:pt x="9337" y="43511"/>
                  </a:moveTo>
                  <a:cubicBezTo>
                    <a:pt x="14815" y="23778"/>
                    <a:pt x="32866" y="9337"/>
                    <a:pt x="54280" y="9337"/>
                  </a:cubicBezTo>
                  <a:cubicBezTo>
                    <a:pt x="79427" y="9337"/>
                    <a:pt x="99907" y="29194"/>
                    <a:pt x="100903" y="54093"/>
                  </a:cubicBez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350359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550DCA-4156-49C6-9E5C-28251D85F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оррупциянинг</a:t>
            </a:r>
            <a:r>
              <a:rPr lang="ru-RU" dirty="0"/>
              <a:t> </a:t>
            </a:r>
            <a:r>
              <a:rPr lang="ru-RU" dirty="0" err="1"/>
              <a:t>оқибатлари</a:t>
            </a:r>
            <a:endParaRPr lang="en-US" dirty="0"/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4027BB70-1A89-4797-A265-39929052A158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4114EB7-8354-4B22-83E3-4897758C3EA9}"/>
              </a:ext>
            </a:extLst>
          </p:cNvPr>
          <p:cNvSpPr/>
          <p:nvPr/>
        </p:nvSpPr>
        <p:spPr>
          <a:xfrm>
            <a:off x="1362873" y="791595"/>
            <a:ext cx="1033864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000" b="1" dirty="0" err="1">
                <a:solidFill>
                  <a:srgbClr val="49A9F6"/>
                </a:solidFill>
              </a:rPr>
              <a:t>Бирлашган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Миллатла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Ташкилотининг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Наркотикла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в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жиноятчилик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бўйич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бошқармас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(</a:t>
            </a:r>
            <a:r>
              <a:rPr lang="ru-RU" sz="2000" i="1" dirty="0" err="1">
                <a:solidFill>
                  <a:schemeClr val="bg2">
                    <a:lumMod val="25000"/>
                  </a:schemeClr>
                </a:solidFill>
              </a:rPr>
              <a:t>United</a:t>
            </a:r>
            <a:r>
              <a:rPr lang="ru-RU" sz="2000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i="1" dirty="0" err="1">
                <a:solidFill>
                  <a:schemeClr val="bg2">
                    <a:lumMod val="25000"/>
                  </a:schemeClr>
                </a:solidFill>
              </a:rPr>
              <a:t>Nations</a:t>
            </a:r>
            <a:r>
              <a:rPr lang="ru-RU" sz="2000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i="1" dirty="0" err="1">
                <a:solidFill>
                  <a:schemeClr val="bg2">
                    <a:lumMod val="25000"/>
                  </a:schemeClr>
                </a:solidFill>
              </a:rPr>
              <a:t>Office</a:t>
            </a:r>
            <a:r>
              <a:rPr lang="ru-RU" sz="2000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i="1" dirty="0" err="1">
                <a:solidFill>
                  <a:schemeClr val="bg2">
                    <a:lumMod val="25000"/>
                  </a:schemeClr>
                </a:solidFill>
              </a:rPr>
              <a:t>on</a:t>
            </a:r>
            <a:r>
              <a:rPr lang="ru-RU" sz="2000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i="1" dirty="0" err="1">
                <a:solidFill>
                  <a:schemeClr val="bg2">
                    <a:lumMod val="25000"/>
                  </a:schemeClr>
                </a:solidFill>
              </a:rPr>
              <a:t>Drugs</a:t>
            </a:r>
            <a:r>
              <a:rPr lang="ru-RU" sz="2000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i="1" dirty="0" err="1">
                <a:solidFill>
                  <a:schemeClr val="bg2">
                    <a:lumMod val="25000"/>
                  </a:schemeClr>
                </a:solidFill>
              </a:rPr>
              <a:t>and</a:t>
            </a:r>
            <a:r>
              <a:rPr lang="ru-RU" sz="2000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2000" i="1" dirty="0" err="1">
                <a:solidFill>
                  <a:schemeClr val="bg2">
                    <a:lumMod val="25000"/>
                  </a:schemeClr>
                </a:solidFill>
              </a:rPr>
              <a:t>Crime</a:t>
            </a:r>
            <a:r>
              <a:rPr lang="ru-RU" sz="2000" i="1" dirty="0">
                <a:solidFill>
                  <a:schemeClr val="bg2">
                    <a:lumMod val="25000"/>
                  </a:schemeClr>
                </a:solidFill>
              </a:rPr>
              <a:t> – UNODC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</a:rPr>
              <a:t>) </a:t>
            </a:r>
            <a:r>
              <a:rPr lang="ru-RU" sz="2000" b="1" dirty="0" err="1">
                <a:solidFill>
                  <a:srgbClr val="49A9F6"/>
                </a:solidFill>
              </a:rPr>
              <a:t>фуқаролар</a:t>
            </a:r>
            <a:r>
              <a:rPr lang="ru-RU" sz="2000" b="1" dirty="0">
                <a:solidFill>
                  <a:srgbClr val="49A9F6"/>
                </a:solidFill>
              </a:rPr>
              <a:t>, </a:t>
            </a:r>
            <a:r>
              <a:rPr lang="ru-RU" sz="2000" b="1" dirty="0" err="1">
                <a:solidFill>
                  <a:srgbClr val="49A9F6"/>
                </a:solidFill>
              </a:rPr>
              <a:t>ташкилотла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в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умуман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мамлакатла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учун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коррупциянинг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қуйидаги</a:t>
            </a:r>
            <a:r>
              <a:rPr lang="ru-RU" sz="2000" b="1" dirty="0">
                <a:solidFill>
                  <a:srgbClr val="49A9F6"/>
                </a:solidFill>
              </a:rPr>
              <a:t>  </a:t>
            </a:r>
            <a:r>
              <a:rPr lang="ru-RU" sz="2000" b="1" dirty="0" err="1">
                <a:solidFill>
                  <a:srgbClr val="49A9F6"/>
                </a:solidFill>
              </a:rPr>
              <a:t>оқибатларин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таснифлайди</a:t>
            </a:r>
            <a:r>
              <a:rPr lang="ru-RU" sz="2000" b="1" dirty="0">
                <a:solidFill>
                  <a:srgbClr val="49A9F6"/>
                </a:solidFill>
              </a:rPr>
              <a:t>:</a:t>
            </a:r>
          </a:p>
        </p:txBody>
      </p:sp>
      <p:grpSp>
        <p:nvGrpSpPr>
          <p:cNvPr id="5" name="Group 836">
            <a:extLst>
              <a:ext uri="{FF2B5EF4-FFF2-40B4-BE49-F238E27FC236}">
                <a16:creationId xmlns:a16="http://schemas.microsoft.com/office/drawing/2014/main" id="{AA951FE1-26D2-4FD8-B377-C4B2C68C1A4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3775" y="1359327"/>
            <a:ext cx="535684" cy="532571"/>
            <a:chOff x="1943" y="3214"/>
            <a:chExt cx="172" cy="171"/>
          </a:xfrm>
          <a:solidFill>
            <a:schemeClr val="bg2">
              <a:lumMod val="25000"/>
            </a:schemeClr>
          </a:solidFill>
        </p:grpSpPr>
        <p:sp>
          <p:nvSpPr>
            <p:cNvPr id="6" name="Freeform 837">
              <a:extLst>
                <a:ext uri="{FF2B5EF4-FFF2-40B4-BE49-F238E27FC236}">
                  <a16:creationId xmlns:a16="http://schemas.microsoft.com/office/drawing/2014/main" id="{9FB12085-BA40-4F6A-A211-0546CA5106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43" y="3214"/>
              <a:ext cx="136" cy="171"/>
            </a:xfrm>
            <a:custGeom>
              <a:avLst/>
              <a:gdLst>
                <a:gd name="T0" fmla="*/ 4425 w 5050"/>
                <a:gd name="T1" fmla="*/ 800 h 6400"/>
                <a:gd name="T2" fmla="*/ 3750 w 5050"/>
                <a:gd name="T3" fmla="*/ 800 h 6400"/>
                <a:gd name="T4" fmla="*/ 3750 w 5050"/>
                <a:gd name="T5" fmla="*/ 768 h 6400"/>
                <a:gd name="T6" fmla="*/ 3388 w 5050"/>
                <a:gd name="T7" fmla="*/ 406 h 6400"/>
                <a:gd name="T8" fmla="*/ 3156 w 5050"/>
                <a:gd name="T9" fmla="*/ 406 h 6400"/>
                <a:gd name="T10" fmla="*/ 2537 w 5050"/>
                <a:gd name="T11" fmla="*/ 0 h 6400"/>
                <a:gd name="T12" fmla="*/ 2513 w 5050"/>
                <a:gd name="T13" fmla="*/ 0 h 6400"/>
                <a:gd name="T14" fmla="*/ 1894 w 5050"/>
                <a:gd name="T15" fmla="*/ 406 h 6400"/>
                <a:gd name="T16" fmla="*/ 1662 w 5050"/>
                <a:gd name="T17" fmla="*/ 406 h 6400"/>
                <a:gd name="T18" fmla="*/ 1300 w 5050"/>
                <a:gd name="T19" fmla="*/ 768 h 6400"/>
                <a:gd name="T20" fmla="*/ 1300 w 5050"/>
                <a:gd name="T21" fmla="*/ 800 h 6400"/>
                <a:gd name="T22" fmla="*/ 625 w 5050"/>
                <a:gd name="T23" fmla="*/ 800 h 6400"/>
                <a:gd name="T24" fmla="*/ 0 w 5050"/>
                <a:gd name="T25" fmla="*/ 1300 h 6400"/>
                <a:gd name="T26" fmla="*/ 0 w 5050"/>
                <a:gd name="T27" fmla="*/ 5775 h 6400"/>
                <a:gd name="T28" fmla="*/ 625 w 5050"/>
                <a:gd name="T29" fmla="*/ 6400 h 6400"/>
                <a:gd name="T30" fmla="*/ 4425 w 5050"/>
                <a:gd name="T31" fmla="*/ 6400 h 6400"/>
                <a:gd name="T32" fmla="*/ 5050 w 5050"/>
                <a:gd name="T33" fmla="*/ 5775 h 6400"/>
                <a:gd name="T34" fmla="*/ 5050 w 5050"/>
                <a:gd name="T35" fmla="*/ 2946 h 6400"/>
                <a:gd name="T36" fmla="*/ 4925 w 5050"/>
                <a:gd name="T37" fmla="*/ 2821 h 6400"/>
                <a:gd name="T38" fmla="*/ 4800 w 5050"/>
                <a:gd name="T39" fmla="*/ 2946 h 6400"/>
                <a:gd name="T40" fmla="*/ 4800 w 5050"/>
                <a:gd name="T41" fmla="*/ 5775 h 6400"/>
                <a:gd name="T42" fmla="*/ 4425 w 5050"/>
                <a:gd name="T43" fmla="*/ 6150 h 6400"/>
                <a:gd name="T44" fmla="*/ 625 w 5050"/>
                <a:gd name="T45" fmla="*/ 6150 h 6400"/>
                <a:gd name="T46" fmla="*/ 250 w 5050"/>
                <a:gd name="T47" fmla="*/ 5775 h 6400"/>
                <a:gd name="T48" fmla="*/ 250 w 5050"/>
                <a:gd name="T49" fmla="*/ 1300 h 6400"/>
                <a:gd name="T50" fmla="*/ 625 w 5050"/>
                <a:gd name="T51" fmla="*/ 1050 h 6400"/>
                <a:gd name="T52" fmla="*/ 1300 w 5050"/>
                <a:gd name="T53" fmla="*/ 1050 h 6400"/>
                <a:gd name="T54" fmla="*/ 1300 w 5050"/>
                <a:gd name="T55" fmla="*/ 1225 h 6400"/>
                <a:gd name="T56" fmla="*/ 1425 w 5050"/>
                <a:gd name="T57" fmla="*/ 1350 h 6400"/>
                <a:gd name="T58" fmla="*/ 3625 w 5050"/>
                <a:gd name="T59" fmla="*/ 1350 h 6400"/>
                <a:gd name="T60" fmla="*/ 3750 w 5050"/>
                <a:gd name="T61" fmla="*/ 1225 h 6400"/>
                <a:gd name="T62" fmla="*/ 3750 w 5050"/>
                <a:gd name="T63" fmla="*/ 1050 h 6400"/>
                <a:gd name="T64" fmla="*/ 4425 w 5050"/>
                <a:gd name="T65" fmla="*/ 1050 h 6400"/>
                <a:gd name="T66" fmla="*/ 4800 w 5050"/>
                <a:gd name="T67" fmla="*/ 1425 h 6400"/>
                <a:gd name="T68" fmla="*/ 4800 w 5050"/>
                <a:gd name="T69" fmla="*/ 1846 h 6400"/>
                <a:gd name="T70" fmla="*/ 4925 w 5050"/>
                <a:gd name="T71" fmla="*/ 1971 h 6400"/>
                <a:gd name="T72" fmla="*/ 5050 w 5050"/>
                <a:gd name="T73" fmla="*/ 1846 h 6400"/>
                <a:gd name="T74" fmla="*/ 5050 w 5050"/>
                <a:gd name="T75" fmla="*/ 1425 h 6400"/>
                <a:gd name="T76" fmla="*/ 4425 w 5050"/>
                <a:gd name="T77" fmla="*/ 800 h 6400"/>
                <a:gd name="T78" fmla="*/ 3500 w 5050"/>
                <a:gd name="T79" fmla="*/ 1100 h 6400"/>
                <a:gd name="T80" fmla="*/ 1550 w 5050"/>
                <a:gd name="T81" fmla="*/ 1100 h 6400"/>
                <a:gd name="T82" fmla="*/ 1550 w 5050"/>
                <a:gd name="T83" fmla="*/ 768 h 6400"/>
                <a:gd name="T84" fmla="*/ 1662 w 5050"/>
                <a:gd name="T85" fmla="*/ 656 h 6400"/>
                <a:gd name="T86" fmla="*/ 1982 w 5050"/>
                <a:gd name="T87" fmla="*/ 656 h 6400"/>
                <a:gd name="T88" fmla="*/ 2103 w 5050"/>
                <a:gd name="T89" fmla="*/ 563 h 6400"/>
                <a:gd name="T90" fmla="*/ 2513 w 5050"/>
                <a:gd name="T91" fmla="*/ 250 h 6400"/>
                <a:gd name="T92" fmla="*/ 2537 w 5050"/>
                <a:gd name="T93" fmla="*/ 250 h 6400"/>
                <a:gd name="T94" fmla="*/ 2947 w 5050"/>
                <a:gd name="T95" fmla="*/ 563 h 6400"/>
                <a:gd name="T96" fmla="*/ 3068 w 5050"/>
                <a:gd name="T97" fmla="*/ 656 h 6400"/>
                <a:gd name="T98" fmla="*/ 3388 w 5050"/>
                <a:gd name="T99" fmla="*/ 656 h 6400"/>
                <a:gd name="T100" fmla="*/ 3500 w 5050"/>
                <a:gd name="T101" fmla="*/ 768 h 6400"/>
                <a:gd name="T102" fmla="*/ 3500 w 5050"/>
                <a:gd name="T103" fmla="*/ 1100 h 6400"/>
                <a:gd name="T104" fmla="*/ 3500 w 5050"/>
                <a:gd name="T105" fmla="*/ 1100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050" h="6400">
                  <a:moveTo>
                    <a:pt x="4425" y="800"/>
                  </a:moveTo>
                  <a:lnTo>
                    <a:pt x="3750" y="800"/>
                  </a:lnTo>
                  <a:lnTo>
                    <a:pt x="3750" y="768"/>
                  </a:lnTo>
                  <a:cubicBezTo>
                    <a:pt x="3750" y="568"/>
                    <a:pt x="3588" y="406"/>
                    <a:pt x="3388" y="406"/>
                  </a:cubicBezTo>
                  <a:lnTo>
                    <a:pt x="3156" y="406"/>
                  </a:lnTo>
                  <a:cubicBezTo>
                    <a:pt x="3050" y="163"/>
                    <a:pt x="2808" y="0"/>
                    <a:pt x="2537" y="0"/>
                  </a:cubicBezTo>
                  <a:lnTo>
                    <a:pt x="2513" y="0"/>
                  </a:lnTo>
                  <a:cubicBezTo>
                    <a:pt x="2242" y="0"/>
                    <a:pt x="2000" y="163"/>
                    <a:pt x="1894" y="406"/>
                  </a:cubicBezTo>
                  <a:lnTo>
                    <a:pt x="1662" y="406"/>
                  </a:lnTo>
                  <a:cubicBezTo>
                    <a:pt x="1462" y="406"/>
                    <a:pt x="1300" y="568"/>
                    <a:pt x="1300" y="768"/>
                  </a:cubicBezTo>
                  <a:lnTo>
                    <a:pt x="1300" y="800"/>
                  </a:lnTo>
                  <a:lnTo>
                    <a:pt x="625" y="800"/>
                  </a:lnTo>
                  <a:cubicBezTo>
                    <a:pt x="234" y="800"/>
                    <a:pt x="0" y="987"/>
                    <a:pt x="0" y="1300"/>
                  </a:cubicBezTo>
                  <a:lnTo>
                    <a:pt x="0" y="5775"/>
                  </a:lnTo>
                  <a:cubicBezTo>
                    <a:pt x="0" y="6120"/>
                    <a:pt x="280" y="6400"/>
                    <a:pt x="625" y="6400"/>
                  </a:cubicBezTo>
                  <a:lnTo>
                    <a:pt x="4425" y="6400"/>
                  </a:lnTo>
                  <a:cubicBezTo>
                    <a:pt x="4770" y="6400"/>
                    <a:pt x="5050" y="6120"/>
                    <a:pt x="5050" y="5775"/>
                  </a:cubicBezTo>
                  <a:lnTo>
                    <a:pt x="5050" y="2946"/>
                  </a:lnTo>
                  <a:cubicBezTo>
                    <a:pt x="5050" y="2877"/>
                    <a:pt x="4994" y="2821"/>
                    <a:pt x="4925" y="2821"/>
                  </a:cubicBezTo>
                  <a:cubicBezTo>
                    <a:pt x="4856" y="2821"/>
                    <a:pt x="4800" y="2877"/>
                    <a:pt x="4800" y="2946"/>
                  </a:cubicBezTo>
                  <a:lnTo>
                    <a:pt x="4800" y="5775"/>
                  </a:lnTo>
                  <a:cubicBezTo>
                    <a:pt x="4800" y="5982"/>
                    <a:pt x="4632" y="6150"/>
                    <a:pt x="4425" y="6150"/>
                  </a:cubicBezTo>
                  <a:lnTo>
                    <a:pt x="625" y="6150"/>
                  </a:lnTo>
                  <a:cubicBezTo>
                    <a:pt x="418" y="6150"/>
                    <a:pt x="250" y="5982"/>
                    <a:pt x="250" y="5775"/>
                  </a:cubicBezTo>
                  <a:lnTo>
                    <a:pt x="250" y="1300"/>
                  </a:lnTo>
                  <a:cubicBezTo>
                    <a:pt x="250" y="1238"/>
                    <a:pt x="250" y="1050"/>
                    <a:pt x="625" y="1050"/>
                  </a:cubicBezTo>
                  <a:lnTo>
                    <a:pt x="1300" y="1050"/>
                  </a:lnTo>
                  <a:lnTo>
                    <a:pt x="1300" y="1225"/>
                  </a:lnTo>
                  <a:cubicBezTo>
                    <a:pt x="1300" y="1294"/>
                    <a:pt x="1356" y="1350"/>
                    <a:pt x="1425" y="1350"/>
                  </a:cubicBezTo>
                  <a:lnTo>
                    <a:pt x="3625" y="1350"/>
                  </a:lnTo>
                  <a:cubicBezTo>
                    <a:pt x="3694" y="1350"/>
                    <a:pt x="3750" y="1294"/>
                    <a:pt x="3750" y="1225"/>
                  </a:cubicBezTo>
                  <a:lnTo>
                    <a:pt x="3750" y="1050"/>
                  </a:lnTo>
                  <a:lnTo>
                    <a:pt x="4425" y="1050"/>
                  </a:lnTo>
                  <a:cubicBezTo>
                    <a:pt x="4632" y="1050"/>
                    <a:pt x="4800" y="1218"/>
                    <a:pt x="4800" y="1425"/>
                  </a:cubicBezTo>
                  <a:lnTo>
                    <a:pt x="4800" y="1846"/>
                  </a:lnTo>
                  <a:cubicBezTo>
                    <a:pt x="4800" y="1915"/>
                    <a:pt x="4856" y="1971"/>
                    <a:pt x="4925" y="1971"/>
                  </a:cubicBezTo>
                  <a:cubicBezTo>
                    <a:pt x="4994" y="1971"/>
                    <a:pt x="5050" y="1915"/>
                    <a:pt x="5050" y="1846"/>
                  </a:cubicBezTo>
                  <a:lnTo>
                    <a:pt x="5050" y="1425"/>
                  </a:lnTo>
                  <a:cubicBezTo>
                    <a:pt x="5050" y="1080"/>
                    <a:pt x="4770" y="800"/>
                    <a:pt x="4425" y="800"/>
                  </a:cubicBezTo>
                  <a:close/>
                  <a:moveTo>
                    <a:pt x="3500" y="1100"/>
                  </a:moveTo>
                  <a:lnTo>
                    <a:pt x="1550" y="1100"/>
                  </a:lnTo>
                  <a:lnTo>
                    <a:pt x="1550" y="768"/>
                  </a:lnTo>
                  <a:cubicBezTo>
                    <a:pt x="1550" y="706"/>
                    <a:pt x="1600" y="656"/>
                    <a:pt x="1662" y="656"/>
                  </a:cubicBezTo>
                  <a:lnTo>
                    <a:pt x="1982" y="656"/>
                  </a:lnTo>
                  <a:cubicBezTo>
                    <a:pt x="2039" y="656"/>
                    <a:pt x="2088" y="618"/>
                    <a:pt x="2103" y="563"/>
                  </a:cubicBezTo>
                  <a:cubicBezTo>
                    <a:pt x="2153" y="379"/>
                    <a:pt x="2322" y="250"/>
                    <a:pt x="2513" y="250"/>
                  </a:cubicBezTo>
                  <a:lnTo>
                    <a:pt x="2537" y="250"/>
                  </a:lnTo>
                  <a:cubicBezTo>
                    <a:pt x="2728" y="250"/>
                    <a:pt x="2897" y="379"/>
                    <a:pt x="2947" y="563"/>
                  </a:cubicBezTo>
                  <a:cubicBezTo>
                    <a:pt x="2962" y="618"/>
                    <a:pt x="3011" y="656"/>
                    <a:pt x="3068" y="656"/>
                  </a:cubicBezTo>
                  <a:lnTo>
                    <a:pt x="3388" y="656"/>
                  </a:lnTo>
                  <a:cubicBezTo>
                    <a:pt x="3450" y="656"/>
                    <a:pt x="3500" y="706"/>
                    <a:pt x="3500" y="768"/>
                  </a:cubicBezTo>
                  <a:lnTo>
                    <a:pt x="3500" y="1100"/>
                  </a:lnTo>
                  <a:close/>
                  <a:moveTo>
                    <a:pt x="3500" y="11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838">
              <a:extLst>
                <a:ext uri="{FF2B5EF4-FFF2-40B4-BE49-F238E27FC236}">
                  <a16:creationId xmlns:a16="http://schemas.microsoft.com/office/drawing/2014/main" id="{3A7E27CA-A4E2-4B7F-9504-45FB9F244F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2" y="3274"/>
              <a:ext cx="7" cy="7"/>
            </a:xfrm>
            <a:custGeom>
              <a:avLst/>
              <a:gdLst>
                <a:gd name="T0" fmla="*/ 125 w 250"/>
                <a:gd name="T1" fmla="*/ 0 h 250"/>
                <a:gd name="T2" fmla="*/ 37 w 250"/>
                <a:gd name="T3" fmla="*/ 36 h 250"/>
                <a:gd name="T4" fmla="*/ 0 w 250"/>
                <a:gd name="T5" fmla="*/ 125 h 250"/>
                <a:gd name="T6" fmla="*/ 37 w 250"/>
                <a:gd name="T7" fmla="*/ 213 h 250"/>
                <a:gd name="T8" fmla="*/ 125 w 250"/>
                <a:gd name="T9" fmla="*/ 250 h 250"/>
                <a:gd name="T10" fmla="*/ 213 w 250"/>
                <a:gd name="T11" fmla="*/ 213 h 250"/>
                <a:gd name="T12" fmla="*/ 250 w 250"/>
                <a:gd name="T13" fmla="*/ 125 h 250"/>
                <a:gd name="T14" fmla="*/ 213 w 250"/>
                <a:gd name="T15" fmla="*/ 36 h 250"/>
                <a:gd name="T16" fmla="*/ 125 w 250"/>
                <a:gd name="T17" fmla="*/ 0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0"/>
                  </a:moveTo>
                  <a:cubicBezTo>
                    <a:pt x="92" y="0"/>
                    <a:pt x="60" y="13"/>
                    <a:pt x="37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7" y="213"/>
                  </a:cubicBezTo>
                  <a:cubicBezTo>
                    <a:pt x="60" y="237"/>
                    <a:pt x="92" y="250"/>
                    <a:pt x="125" y="250"/>
                  </a:cubicBezTo>
                  <a:cubicBezTo>
                    <a:pt x="158" y="250"/>
                    <a:pt x="190" y="237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ubicBezTo>
                    <a:pt x="190" y="13"/>
                    <a:pt x="158" y="0"/>
                    <a:pt x="125" y="0"/>
                  </a:cubicBezTo>
                  <a:close/>
                  <a:moveTo>
                    <a:pt x="125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839">
              <a:extLst>
                <a:ext uri="{FF2B5EF4-FFF2-40B4-BE49-F238E27FC236}">
                  <a16:creationId xmlns:a16="http://schemas.microsoft.com/office/drawing/2014/main" id="{C49034BD-F091-45DE-8FBA-96D90B48D9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9" y="3322"/>
              <a:ext cx="6" cy="6"/>
            </a:xfrm>
            <a:custGeom>
              <a:avLst/>
              <a:gdLst>
                <a:gd name="T0" fmla="*/ 125 w 250"/>
                <a:gd name="T1" fmla="*/ 0 h 250"/>
                <a:gd name="T2" fmla="*/ 37 w 250"/>
                <a:gd name="T3" fmla="*/ 37 h 250"/>
                <a:gd name="T4" fmla="*/ 0 w 250"/>
                <a:gd name="T5" fmla="*/ 125 h 250"/>
                <a:gd name="T6" fmla="*/ 37 w 250"/>
                <a:gd name="T7" fmla="*/ 213 h 250"/>
                <a:gd name="T8" fmla="*/ 125 w 250"/>
                <a:gd name="T9" fmla="*/ 250 h 250"/>
                <a:gd name="T10" fmla="*/ 213 w 250"/>
                <a:gd name="T11" fmla="*/ 213 h 250"/>
                <a:gd name="T12" fmla="*/ 250 w 250"/>
                <a:gd name="T13" fmla="*/ 125 h 250"/>
                <a:gd name="T14" fmla="*/ 213 w 250"/>
                <a:gd name="T15" fmla="*/ 37 h 250"/>
                <a:gd name="T16" fmla="*/ 125 w 250"/>
                <a:gd name="T17" fmla="*/ 0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0"/>
                  </a:moveTo>
                  <a:cubicBezTo>
                    <a:pt x="92" y="0"/>
                    <a:pt x="60" y="13"/>
                    <a:pt x="37" y="37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7" y="213"/>
                  </a:cubicBezTo>
                  <a:cubicBezTo>
                    <a:pt x="60" y="237"/>
                    <a:pt x="92" y="250"/>
                    <a:pt x="125" y="250"/>
                  </a:cubicBezTo>
                  <a:cubicBezTo>
                    <a:pt x="158" y="250"/>
                    <a:pt x="190" y="237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7"/>
                  </a:cubicBezTo>
                  <a:cubicBezTo>
                    <a:pt x="190" y="13"/>
                    <a:pt x="158" y="0"/>
                    <a:pt x="125" y="0"/>
                  </a:cubicBezTo>
                  <a:close/>
                  <a:moveTo>
                    <a:pt x="125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840">
              <a:extLst>
                <a:ext uri="{FF2B5EF4-FFF2-40B4-BE49-F238E27FC236}">
                  <a16:creationId xmlns:a16="http://schemas.microsoft.com/office/drawing/2014/main" id="{7B0FC718-C861-4FA7-84AD-D4A5F34C06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7" y="3250"/>
              <a:ext cx="28" cy="135"/>
            </a:xfrm>
            <a:custGeom>
              <a:avLst/>
              <a:gdLst>
                <a:gd name="T0" fmla="*/ 1039 w 1050"/>
                <a:gd name="T1" fmla="*/ 968 h 5050"/>
                <a:gd name="T2" fmla="*/ 639 w 1050"/>
                <a:gd name="T3" fmla="*/ 74 h 5050"/>
                <a:gd name="T4" fmla="*/ 525 w 1050"/>
                <a:gd name="T5" fmla="*/ 0 h 5050"/>
                <a:gd name="T6" fmla="*/ 411 w 1050"/>
                <a:gd name="T7" fmla="*/ 74 h 5050"/>
                <a:gd name="T8" fmla="*/ 11 w 1050"/>
                <a:gd name="T9" fmla="*/ 968 h 5050"/>
                <a:gd name="T10" fmla="*/ 0 w 1050"/>
                <a:gd name="T11" fmla="*/ 1019 h 5050"/>
                <a:gd name="T12" fmla="*/ 0 w 1050"/>
                <a:gd name="T13" fmla="*/ 4752 h 5050"/>
                <a:gd name="T14" fmla="*/ 298 w 1050"/>
                <a:gd name="T15" fmla="*/ 5050 h 5050"/>
                <a:gd name="T16" fmla="*/ 752 w 1050"/>
                <a:gd name="T17" fmla="*/ 5050 h 5050"/>
                <a:gd name="T18" fmla="*/ 1050 w 1050"/>
                <a:gd name="T19" fmla="*/ 4752 h 5050"/>
                <a:gd name="T20" fmla="*/ 1050 w 1050"/>
                <a:gd name="T21" fmla="*/ 3346 h 5050"/>
                <a:gd name="T22" fmla="*/ 925 w 1050"/>
                <a:gd name="T23" fmla="*/ 3221 h 5050"/>
                <a:gd name="T24" fmla="*/ 800 w 1050"/>
                <a:gd name="T25" fmla="*/ 3346 h 5050"/>
                <a:gd name="T26" fmla="*/ 800 w 1050"/>
                <a:gd name="T27" fmla="*/ 4220 h 5050"/>
                <a:gd name="T28" fmla="*/ 250 w 1050"/>
                <a:gd name="T29" fmla="*/ 4220 h 5050"/>
                <a:gd name="T30" fmla="*/ 250 w 1050"/>
                <a:gd name="T31" fmla="*/ 1144 h 5050"/>
                <a:gd name="T32" fmla="*/ 800 w 1050"/>
                <a:gd name="T33" fmla="*/ 1144 h 5050"/>
                <a:gd name="T34" fmla="*/ 800 w 1050"/>
                <a:gd name="T35" fmla="*/ 2298 h 5050"/>
                <a:gd name="T36" fmla="*/ 925 w 1050"/>
                <a:gd name="T37" fmla="*/ 2423 h 5050"/>
                <a:gd name="T38" fmla="*/ 1050 w 1050"/>
                <a:gd name="T39" fmla="*/ 2298 h 5050"/>
                <a:gd name="T40" fmla="*/ 1050 w 1050"/>
                <a:gd name="T41" fmla="*/ 1019 h 5050"/>
                <a:gd name="T42" fmla="*/ 1039 w 1050"/>
                <a:gd name="T43" fmla="*/ 968 h 5050"/>
                <a:gd name="T44" fmla="*/ 525 w 1050"/>
                <a:gd name="T45" fmla="*/ 431 h 5050"/>
                <a:gd name="T46" fmla="*/ 732 w 1050"/>
                <a:gd name="T47" fmla="*/ 894 h 5050"/>
                <a:gd name="T48" fmla="*/ 318 w 1050"/>
                <a:gd name="T49" fmla="*/ 894 h 5050"/>
                <a:gd name="T50" fmla="*/ 525 w 1050"/>
                <a:gd name="T51" fmla="*/ 431 h 5050"/>
                <a:gd name="T52" fmla="*/ 800 w 1050"/>
                <a:gd name="T53" fmla="*/ 4470 h 5050"/>
                <a:gd name="T54" fmla="*/ 800 w 1050"/>
                <a:gd name="T55" fmla="*/ 4752 h 5050"/>
                <a:gd name="T56" fmla="*/ 752 w 1050"/>
                <a:gd name="T57" fmla="*/ 4800 h 5050"/>
                <a:gd name="T58" fmla="*/ 298 w 1050"/>
                <a:gd name="T59" fmla="*/ 4800 h 5050"/>
                <a:gd name="T60" fmla="*/ 250 w 1050"/>
                <a:gd name="T61" fmla="*/ 4752 h 5050"/>
                <a:gd name="T62" fmla="*/ 250 w 1050"/>
                <a:gd name="T63" fmla="*/ 4470 h 5050"/>
                <a:gd name="T64" fmla="*/ 800 w 1050"/>
                <a:gd name="T65" fmla="*/ 4470 h 5050"/>
                <a:gd name="T66" fmla="*/ 800 w 1050"/>
                <a:gd name="T67" fmla="*/ 4470 h 5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5050">
                  <a:moveTo>
                    <a:pt x="1039" y="968"/>
                  </a:moveTo>
                  <a:lnTo>
                    <a:pt x="639" y="74"/>
                  </a:lnTo>
                  <a:cubicBezTo>
                    <a:pt x="619" y="29"/>
                    <a:pt x="574" y="0"/>
                    <a:pt x="525" y="0"/>
                  </a:cubicBezTo>
                  <a:cubicBezTo>
                    <a:pt x="476" y="0"/>
                    <a:pt x="431" y="29"/>
                    <a:pt x="411" y="74"/>
                  </a:cubicBezTo>
                  <a:lnTo>
                    <a:pt x="11" y="968"/>
                  </a:lnTo>
                  <a:cubicBezTo>
                    <a:pt x="4" y="984"/>
                    <a:pt x="0" y="1001"/>
                    <a:pt x="0" y="1019"/>
                  </a:cubicBezTo>
                  <a:lnTo>
                    <a:pt x="0" y="4752"/>
                  </a:lnTo>
                  <a:cubicBezTo>
                    <a:pt x="0" y="4916"/>
                    <a:pt x="134" y="5050"/>
                    <a:pt x="298" y="5050"/>
                  </a:cubicBezTo>
                  <a:lnTo>
                    <a:pt x="752" y="5050"/>
                  </a:lnTo>
                  <a:cubicBezTo>
                    <a:pt x="916" y="5050"/>
                    <a:pt x="1050" y="4916"/>
                    <a:pt x="1050" y="4752"/>
                  </a:cubicBezTo>
                  <a:lnTo>
                    <a:pt x="1050" y="3346"/>
                  </a:lnTo>
                  <a:cubicBezTo>
                    <a:pt x="1050" y="3277"/>
                    <a:pt x="994" y="3221"/>
                    <a:pt x="925" y="3221"/>
                  </a:cubicBezTo>
                  <a:cubicBezTo>
                    <a:pt x="856" y="3221"/>
                    <a:pt x="800" y="3277"/>
                    <a:pt x="800" y="3346"/>
                  </a:cubicBezTo>
                  <a:lnTo>
                    <a:pt x="800" y="4220"/>
                  </a:lnTo>
                  <a:lnTo>
                    <a:pt x="250" y="4220"/>
                  </a:lnTo>
                  <a:lnTo>
                    <a:pt x="250" y="1144"/>
                  </a:lnTo>
                  <a:lnTo>
                    <a:pt x="800" y="1144"/>
                  </a:lnTo>
                  <a:lnTo>
                    <a:pt x="800" y="2298"/>
                  </a:lnTo>
                  <a:cubicBezTo>
                    <a:pt x="800" y="2367"/>
                    <a:pt x="856" y="2423"/>
                    <a:pt x="925" y="2423"/>
                  </a:cubicBezTo>
                  <a:cubicBezTo>
                    <a:pt x="994" y="2423"/>
                    <a:pt x="1050" y="2367"/>
                    <a:pt x="1050" y="2298"/>
                  </a:cubicBezTo>
                  <a:lnTo>
                    <a:pt x="1050" y="1019"/>
                  </a:lnTo>
                  <a:cubicBezTo>
                    <a:pt x="1050" y="1001"/>
                    <a:pt x="1046" y="984"/>
                    <a:pt x="1039" y="968"/>
                  </a:cubicBezTo>
                  <a:close/>
                  <a:moveTo>
                    <a:pt x="525" y="431"/>
                  </a:moveTo>
                  <a:lnTo>
                    <a:pt x="732" y="894"/>
                  </a:lnTo>
                  <a:lnTo>
                    <a:pt x="318" y="894"/>
                  </a:lnTo>
                  <a:lnTo>
                    <a:pt x="525" y="431"/>
                  </a:lnTo>
                  <a:close/>
                  <a:moveTo>
                    <a:pt x="800" y="4470"/>
                  </a:moveTo>
                  <a:lnTo>
                    <a:pt x="800" y="4752"/>
                  </a:lnTo>
                  <a:cubicBezTo>
                    <a:pt x="800" y="4778"/>
                    <a:pt x="778" y="4800"/>
                    <a:pt x="752" y="4800"/>
                  </a:cubicBezTo>
                  <a:lnTo>
                    <a:pt x="298" y="4800"/>
                  </a:lnTo>
                  <a:cubicBezTo>
                    <a:pt x="272" y="4800"/>
                    <a:pt x="250" y="4778"/>
                    <a:pt x="250" y="4752"/>
                  </a:cubicBezTo>
                  <a:lnTo>
                    <a:pt x="250" y="4470"/>
                  </a:lnTo>
                  <a:lnTo>
                    <a:pt x="800" y="4470"/>
                  </a:lnTo>
                  <a:close/>
                  <a:moveTo>
                    <a:pt x="800" y="447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841">
              <a:extLst>
                <a:ext uri="{FF2B5EF4-FFF2-40B4-BE49-F238E27FC236}">
                  <a16:creationId xmlns:a16="http://schemas.microsoft.com/office/drawing/2014/main" id="{053128A1-5F94-4000-8453-736ED0478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9" y="3262"/>
              <a:ext cx="28" cy="28"/>
            </a:xfrm>
            <a:custGeom>
              <a:avLst/>
              <a:gdLst>
                <a:gd name="T0" fmla="*/ 525 w 1050"/>
                <a:gd name="T1" fmla="*/ 0 h 1050"/>
                <a:gd name="T2" fmla="*/ 0 w 1050"/>
                <a:gd name="T3" fmla="*/ 525 h 1050"/>
                <a:gd name="T4" fmla="*/ 525 w 1050"/>
                <a:gd name="T5" fmla="*/ 1050 h 1050"/>
                <a:gd name="T6" fmla="*/ 1050 w 1050"/>
                <a:gd name="T7" fmla="*/ 525 h 1050"/>
                <a:gd name="T8" fmla="*/ 525 w 1050"/>
                <a:gd name="T9" fmla="*/ 0 h 1050"/>
                <a:gd name="T10" fmla="*/ 525 w 1050"/>
                <a:gd name="T11" fmla="*/ 800 h 1050"/>
                <a:gd name="T12" fmla="*/ 250 w 1050"/>
                <a:gd name="T13" fmla="*/ 525 h 1050"/>
                <a:gd name="T14" fmla="*/ 525 w 1050"/>
                <a:gd name="T15" fmla="*/ 250 h 1050"/>
                <a:gd name="T16" fmla="*/ 800 w 1050"/>
                <a:gd name="T17" fmla="*/ 525 h 1050"/>
                <a:gd name="T18" fmla="*/ 525 w 1050"/>
                <a:gd name="T19" fmla="*/ 800 h 1050"/>
                <a:gd name="T20" fmla="*/ 525 w 1050"/>
                <a:gd name="T21" fmla="*/ 800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0" h="1050">
                  <a:moveTo>
                    <a:pt x="525" y="0"/>
                  </a:moveTo>
                  <a:cubicBezTo>
                    <a:pt x="235" y="0"/>
                    <a:pt x="0" y="235"/>
                    <a:pt x="0" y="525"/>
                  </a:cubicBezTo>
                  <a:cubicBezTo>
                    <a:pt x="0" y="815"/>
                    <a:pt x="235" y="1050"/>
                    <a:pt x="525" y="1050"/>
                  </a:cubicBezTo>
                  <a:cubicBezTo>
                    <a:pt x="814" y="1050"/>
                    <a:pt x="1050" y="815"/>
                    <a:pt x="1050" y="525"/>
                  </a:cubicBezTo>
                  <a:cubicBezTo>
                    <a:pt x="1050" y="235"/>
                    <a:pt x="814" y="0"/>
                    <a:pt x="525" y="0"/>
                  </a:cubicBezTo>
                  <a:close/>
                  <a:moveTo>
                    <a:pt x="525" y="800"/>
                  </a:moveTo>
                  <a:cubicBezTo>
                    <a:pt x="373" y="800"/>
                    <a:pt x="250" y="677"/>
                    <a:pt x="250" y="525"/>
                  </a:cubicBezTo>
                  <a:cubicBezTo>
                    <a:pt x="250" y="373"/>
                    <a:pt x="373" y="250"/>
                    <a:pt x="525" y="250"/>
                  </a:cubicBezTo>
                  <a:cubicBezTo>
                    <a:pt x="676" y="250"/>
                    <a:pt x="800" y="373"/>
                    <a:pt x="800" y="525"/>
                  </a:cubicBezTo>
                  <a:cubicBezTo>
                    <a:pt x="800" y="677"/>
                    <a:pt x="676" y="800"/>
                    <a:pt x="525" y="800"/>
                  </a:cubicBezTo>
                  <a:close/>
                  <a:moveTo>
                    <a:pt x="525" y="8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842">
              <a:extLst>
                <a:ext uri="{FF2B5EF4-FFF2-40B4-BE49-F238E27FC236}">
                  <a16:creationId xmlns:a16="http://schemas.microsoft.com/office/drawing/2014/main" id="{A9064EF1-0D48-4184-962F-1EA2D2F9BA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9" y="3302"/>
              <a:ext cx="28" cy="28"/>
            </a:xfrm>
            <a:custGeom>
              <a:avLst/>
              <a:gdLst>
                <a:gd name="T0" fmla="*/ 525 w 1050"/>
                <a:gd name="T1" fmla="*/ 0 h 1050"/>
                <a:gd name="T2" fmla="*/ 0 w 1050"/>
                <a:gd name="T3" fmla="*/ 525 h 1050"/>
                <a:gd name="T4" fmla="*/ 525 w 1050"/>
                <a:gd name="T5" fmla="*/ 1050 h 1050"/>
                <a:gd name="T6" fmla="*/ 1050 w 1050"/>
                <a:gd name="T7" fmla="*/ 525 h 1050"/>
                <a:gd name="T8" fmla="*/ 525 w 1050"/>
                <a:gd name="T9" fmla="*/ 0 h 1050"/>
                <a:gd name="T10" fmla="*/ 525 w 1050"/>
                <a:gd name="T11" fmla="*/ 800 h 1050"/>
                <a:gd name="T12" fmla="*/ 250 w 1050"/>
                <a:gd name="T13" fmla="*/ 525 h 1050"/>
                <a:gd name="T14" fmla="*/ 525 w 1050"/>
                <a:gd name="T15" fmla="*/ 250 h 1050"/>
                <a:gd name="T16" fmla="*/ 800 w 1050"/>
                <a:gd name="T17" fmla="*/ 525 h 1050"/>
                <a:gd name="T18" fmla="*/ 525 w 1050"/>
                <a:gd name="T19" fmla="*/ 800 h 1050"/>
                <a:gd name="T20" fmla="*/ 525 w 1050"/>
                <a:gd name="T21" fmla="*/ 800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0" h="1050">
                  <a:moveTo>
                    <a:pt x="525" y="0"/>
                  </a:moveTo>
                  <a:cubicBezTo>
                    <a:pt x="235" y="0"/>
                    <a:pt x="0" y="235"/>
                    <a:pt x="0" y="525"/>
                  </a:cubicBezTo>
                  <a:cubicBezTo>
                    <a:pt x="0" y="815"/>
                    <a:pt x="235" y="1050"/>
                    <a:pt x="525" y="1050"/>
                  </a:cubicBezTo>
                  <a:cubicBezTo>
                    <a:pt x="814" y="1050"/>
                    <a:pt x="1050" y="815"/>
                    <a:pt x="1050" y="525"/>
                  </a:cubicBezTo>
                  <a:cubicBezTo>
                    <a:pt x="1050" y="235"/>
                    <a:pt x="814" y="0"/>
                    <a:pt x="525" y="0"/>
                  </a:cubicBezTo>
                  <a:close/>
                  <a:moveTo>
                    <a:pt x="525" y="800"/>
                  </a:moveTo>
                  <a:cubicBezTo>
                    <a:pt x="373" y="800"/>
                    <a:pt x="250" y="677"/>
                    <a:pt x="250" y="525"/>
                  </a:cubicBezTo>
                  <a:cubicBezTo>
                    <a:pt x="250" y="373"/>
                    <a:pt x="373" y="250"/>
                    <a:pt x="525" y="250"/>
                  </a:cubicBezTo>
                  <a:cubicBezTo>
                    <a:pt x="676" y="250"/>
                    <a:pt x="800" y="373"/>
                    <a:pt x="800" y="525"/>
                  </a:cubicBezTo>
                  <a:cubicBezTo>
                    <a:pt x="800" y="677"/>
                    <a:pt x="676" y="800"/>
                    <a:pt x="525" y="800"/>
                  </a:cubicBezTo>
                  <a:close/>
                  <a:moveTo>
                    <a:pt x="525" y="8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843">
              <a:extLst>
                <a:ext uri="{FF2B5EF4-FFF2-40B4-BE49-F238E27FC236}">
                  <a16:creationId xmlns:a16="http://schemas.microsoft.com/office/drawing/2014/main" id="{CE340100-24DF-4D7A-A3C0-531D2F5EDE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9" y="3343"/>
              <a:ext cx="28" cy="28"/>
            </a:xfrm>
            <a:custGeom>
              <a:avLst/>
              <a:gdLst>
                <a:gd name="T0" fmla="*/ 525 w 1050"/>
                <a:gd name="T1" fmla="*/ 0 h 1050"/>
                <a:gd name="T2" fmla="*/ 0 w 1050"/>
                <a:gd name="T3" fmla="*/ 525 h 1050"/>
                <a:gd name="T4" fmla="*/ 525 w 1050"/>
                <a:gd name="T5" fmla="*/ 1050 h 1050"/>
                <a:gd name="T6" fmla="*/ 1050 w 1050"/>
                <a:gd name="T7" fmla="*/ 525 h 1050"/>
                <a:gd name="T8" fmla="*/ 525 w 1050"/>
                <a:gd name="T9" fmla="*/ 0 h 1050"/>
                <a:gd name="T10" fmla="*/ 525 w 1050"/>
                <a:gd name="T11" fmla="*/ 800 h 1050"/>
                <a:gd name="T12" fmla="*/ 250 w 1050"/>
                <a:gd name="T13" fmla="*/ 525 h 1050"/>
                <a:gd name="T14" fmla="*/ 525 w 1050"/>
                <a:gd name="T15" fmla="*/ 250 h 1050"/>
                <a:gd name="T16" fmla="*/ 800 w 1050"/>
                <a:gd name="T17" fmla="*/ 525 h 1050"/>
                <a:gd name="T18" fmla="*/ 525 w 1050"/>
                <a:gd name="T19" fmla="*/ 800 h 1050"/>
                <a:gd name="T20" fmla="*/ 525 w 1050"/>
                <a:gd name="T21" fmla="*/ 800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50" h="1050">
                  <a:moveTo>
                    <a:pt x="525" y="0"/>
                  </a:moveTo>
                  <a:cubicBezTo>
                    <a:pt x="235" y="0"/>
                    <a:pt x="0" y="235"/>
                    <a:pt x="0" y="525"/>
                  </a:cubicBezTo>
                  <a:cubicBezTo>
                    <a:pt x="0" y="815"/>
                    <a:pt x="235" y="1050"/>
                    <a:pt x="525" y="1050"/>
                  </a:cubicBezTo>
                  <a:cubicBezTo>
                    <a:pt x="814" y="1050"/>
                    <a:pt x="1050" y="815"/>
                    <a:pt x="1050" y="525"/>
                  </a:cubicBezTo>
                  <a:cubicBezTo>
                    <a:pt x="1050" y="235"/>
                    <a:pt x="814" y="0"/>
                    <a:pt x="525" y="0"/>
                  </a:cubicBezTo>
                  <a:close/>
                  <a:moveTo>
                    <a:pt x="525" y="800"/>
                  </a:moveTo>
                  <a:cubicBezTo>
                    <a:pt x="373" y="800"/>
                    <a:pt x="250" y="677"/>
                    <a:pt x="250" y="525"/>
                  </a:cubicBezTo>
                  <a:cubicBezTo>
                    <a:pt x="250" y="373"/>
                    <a:pt x="373" y="250"/>
                    <a:pt x="525" y="250"/>
                  </a:cubicBezTo>
                  <a:cubicBezTo>
                    <a:pt x="676" y="250"/>
                    <a:pt x="800" y="373"/>
                    <a:pt x="800" y="525"/>
                  </a:cubicBezTo>
                  <a:cubicBezTo>
                    <a:pt x="800" y="677"/>
                    <a:pt x="676" y="800"/>
                    <a:pt x="525" y="800"/>
                  </a:cubicBezTo>
                  <a:close/>
                  <a:moveTo>
                    <a:pt x="525" y="8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844">
              <a:extLst>
                <a:ext uri="{FF2B5EF4-FFF2-40B4-BE49-F238E27FC236}">
                  <a16:creationId xmlns:a16="http://schemas.microsoft.com/office/drawing/2014/main" id="{83596707-AD52-4C19-95C0-4AA108F4E0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8" y="3284"/>
              <a:ext cx="46" cy="6"/>
            </a:xfrm>
            <a:custGeom>
              <a:avLst/>
              <a:gdLst>
                <a:gd name="T0" fmla="*/ 1558 w 1683"/>
                <a:gd name="T1" fmla="*/ 0 h 250"/>
                <a:gd name="T2" fmla="*/ 125 w 1683"/>
                <a:gd name="T3" fmla="*/ 0 h 250"/>
                <a:gd name="T4" fmla="*/ 0 w 1683"/>
                <a:gd name="T5" fmla="*/ 125 h 250"/>
                <a:gd name="T6" fmla="*/ 125 w 1683"/>
                <a:gd name="T7" fmla="*/ 250 h 250"/>
                <a:gd name="T8" fmla="*/ 1558 w 1683"/>
                <a:gd name="T9" fmla="*/ 250 h 250"/>
                <a:gd name="T10" fmla="*/ 1683 w 1683"/>
                <a:gd name="T11" fmla="*/ 125 h 250"/>
                <a:gd name="T12" fmla="*/ 1558 w 1683"/>
                <a:gd name="T13" fmla="*/ 0 h 250"/>
                <a:gd name="T14" fmla="*/ 1558 w 1683"/>
                <a:gd name="T15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3" h="250">
                  <a:moveTo>
                    <a:pt x="1558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558" y="250"/>
                  </a:lnTo>
                  <a:cubicBezTo>
                    <a:pt x="1627" y="250"/>
                    <a:pt x="1683" y="194"/>
                    <a:pt x="1683" y="125"/>
                  </a:cubicBezTo>
                  <a:cubicBezTo>
                    <a:pt x="1683" y="56"/>
                    <a:pt x="1627" y="0"/>
                    <a:pt x="1558" y="0"/>
                  </a:cubicBezTo>
                  <a:close/>
                  <a:moveTo>
                    <a:pt x="1558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845">
              <a:extLst>
                <a:ext uri="{FF2B5EF4-FFF2-40B4-BE49-F238E27FC236}">
                  <a16:creationId xmlns:a16="http://schemas.microsoft.com/office/drawing/2014/main" id="{9BF45DD7-9188-4ECB-8002-808CF3E397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8" y="3268"/>
              <a:ext cx="46" cy="6"/>
            </a:xfrm>
            <a:custGeom>
              <a:avLst/>
              <a:gdLst>
                <a:gd name="T0" fmla="*/ 1558 w 1683"/>
                <a:gd name="T1" fmla="*/ 0 h 250"/>
                <a:gd name="T2" fmla="*/ 125 w 1683"/>
                <a:gd name="T3" fmla="*/ 0 h 250"/>
                <a:gd name="T4" fmla="*/ 0 w 1683"/>
                <a:gd name="T5" fmla="*/ 125 h 250"/>
                <a:gd name="T6" fmla="*/ 125 w 1683"/>
                <a:gd name="T7" fmla="*/ 250 h 250"/>
                <a:gd name="T8" fmla="*/ 1558 w 1683"/>
                <a:gd name="T9" fmla="*/ 250 h 250"/>
                <a:gd name="T10" fmla="*/ 1683 w 1683"/>
                <a:gd name="T11" fmla="*/ 125 h 250"/>
                <a:gd name="T12" fmla="*/ 1558 w 1683"/>
                <a:gd name="T13" fmla="*/ 0 h 250"/>
                <a:gd name="T14" fmla="*/ 1558 w 1683"/>
                <a:gd name="T15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3" h="250">
                  <a:moveTo>
                    <a:pt x="1558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558" y="250"/>
                  </a:lnTo>
                  <a:cubicBezTo>
                    <a:pt x="1627" y="250"/>
                    <a:pt x="1683" y="194"/>
                    <a:pt x="1683" y="125"/>
                  </a:cubicBezTo>
                  <a:cubicBezTo>
                    <a:pt x="1683" y="56"/>
                    <a:pt x="1627" y="0"/>
                    <a:pt x="1558" y="0"/>
                  </a:cubicBezTo>
                  <a:close/>
                  <a:moveTo>
                    <a:pt x="1558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846">
              <a:extLst>
                <a:ext uri="{FF2B5EF4-FFF2-40B4-BE49-F238E27FC236}">
                  <a16:creationId xmlns:a16="http://schemas.microsoft.com/office/drawing/2014/main" id="{3BB3AFD7-CEDD-49AF-A081-AAB52C6C36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8" y="3324"/>
              <a:ext cx="46" cy="6"/>
            </a:xfrm>
            <a:custGeom>
              <a:avLst/>
              <a:gdLst>
                <a:gd name="T0" fmla="*/ 1558 w 1683"/>
                <a:gd name="T1" fmla="*/ 0 h 250"/>
                <a:gd name="T2" fmla="*/ 125 w 1683"/>
                <a:gd name="T3" fmla="*/ 0 h 250"/>
                <a:gd name="T4" fmla="*/ 0 w 1683"/>
                <a:gd name="T5" fmla="*/ 125 h 250"/>
                <a:gd name="T6" fmla="*/ 125 w 1683"/>
                <a:gd name="T7" fmla="*/ 250 h 250"/>
                <a:gd name="T8" fmla="*/ 1558 w 1683"/>
                <a:gd name="T9" fmla="*/ 250 h 250"/>
                <a:gd name="T10" fmla="*/ 1683 w 1683"/>
                <a:gd name="T11" fmla="*/ 125 h 250"/>
                <a:gd name="T12" fmla="*/ 1558 w 1683"/>
                <a:gd name="T13" fmla="*/ 0 h 250"/>
                <a:gd name="T14" fmla="*/ 1558 w 1683"/>
                <a:gd name="T15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3" h="250">
                  <a:moveTo>
                    <a:pt x="1558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558" y="250"/>
                  </a:lnTo>
                  <a:cubicBezTo>
                    <a:pt x="1627" y="250"/>
                    <a:pt x="1683" y="194"/>
                    <a:pt x="1683" y="125"/>
                  </a:cubicBezTo>
                  <a:cubicBezTo>
                    <a:pt x="1683" y="56"/>
                    <a:pt x="1627" y="0"/>
                    <a:pt x="1558" y="0"/>
                  </a:cubicBezTo>
                  <a:close/>
                  <a:moveTo>
                    <a:pt x="1558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47">
              <a:extLst>
                <a:ext uri="{FF2B5EF4-FFF2-40B4-BE49-F238E27FC236}">
                  <a16:creationId xmlns:a16="http://schemas.microsoft.com/office/drawing/2014/main" id="{ABABBEF7-AD75-473E-8FE8-CF7AD95FB0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8" y="3308"/>
              <a:ext cx="46" cy="6"/>
            </a:xfrm>
            <a:custGeom>
              <a:avLst/>
              <a:gdLst>
                <a:gd name="T0" fmla="*/ 1558 w 1683"/>
                <a:gd name="T1" fmla="*/ 0 h 250"/>
                <a:gd name="T2" fmla="*/ 125 w 1683"/>
                <a:gd name="T3" fmla="*/ 0 h 250"/>
                <a:gd name="T4" fmla="*/ 0 w 1683"/>
                <a:gd name="T5" fmla="*/ 125 h 250"/>
                <a:gd name="T6" fmla="*/ 125 w 1683"/>
                <a:gd name="T7" fmla="*/ 250 h 250"/>
                <a:gd name="T8" fmla="*/ 1558 w 1683"/>
                <a:gd name="T9" fmla="*/ 250 h 250"/>
                <a:gd name="T10" fmla="*/ 1683 w 1683"/>
                <a:gd name="T11" fmla="*/ 125 h 250"/>
                <a:gd name="T12" fmla="*/ 1558 w 1683"/>
                <a:gd name="T13" fmla="*/ 0 h 250"/>
                <a:gd name="T14" fmla="*/ 1558 w 1683"/>
                <a:gd name="T15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3" h="250">
                  <a:moveTo>
                    <a:pt x="1558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558" y="250"/>
                  </a:lnTo>
                  <a:cubicBezTo>
                    <a:pt x="1627" y="250"/>
                    <a:pt x="1683" y="194"/>
                    <a:pt x="1683" y="125"/>
                  </a:cubicBezTo>
                  <a:cubicBezTo>
                    <a:pt x="1683" y="56"/>
                    <a:pt x="1627" y="0"/>
                    <a:pt x="1558" y="0"/>
                  </a:cubicBezTo>
                  <a:close/>
                  <a:moveTo>
                    <a:pt x="1558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848">
              <a:extLst>
                <a:ext uri="{FF2B5EF4-FFF2-40B4-BE49-F238E27FC236}">
                  <a16:creationId xmlns:a16="http://schemas.microsoft.com/office/drawing/2014/main" id="{3FD99EBD-1EA2-4261-8E3F-2E7EEE4011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8" y="3364"/>
              <a:ext cx="46" cy="7"/>
            </a:xfrm>
            <a:custGeom>
              <a:avLst/>
              <a:gdLst>
                <a:gd name="T0" fmla="*/ 1558 w 1683"/>
                <a:gd name="T1" fmla="*/ 0 h 250"/>
                <a:gd name="T2" fmla="*/ 125 w 1683"/>
                <a:gd name="T3" fmla="*/ 0 h 250"/>
                <a:gd name="T4" fmla="*/ 0 w 1683"/>
                <a:gd name="T5" fmla="*/ 125 h 250"/>
                <a:gd name="T6" fmla="*/ 125 w 1683"/>
                <a:gd name="T7" fmla="*/ 250 h 250"/>
                <a:gd name="T8" fmla="*/ 1558 w 1683"/>
                <a:gd name="T9" fmla="*/ 250 h 250"/>
                <a:gd name="T10" fmla="*/ 1683 w 1683"/>
                <a:gd name="T11" fmla="*/ 125 h 250"/>
                <a:gd name="T12" fmla="*/ 1558 w 1683"/>
                <a:gd name="T13" fmla="*/ 0 h 250"/>
                <a:gd name="T14" fmla="*/ 1558 w 1683"/>
                <a:gd name="T15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3" h="250">
                  <a:moveTo>
                    <a:pt x="1558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558" y="250"/>
                  </a:lnTo>
                  <a:cubicBezTo>
                    <a:pt x="1627" y="250"/>
                    <a:pt x="1683" y="194"/>
                    <a:pt x="1683" y="125"/>
                  </a:cubicBezTo>
                  <a:cubicBezTo>
                    <a:pt x="1683" y="56"/>
                    <a:pt x="1627" y="0"/>
                    <a:pt x="1558" y="0"/>
                  </a:cubicBezTo>
                  <a:close/>
                  <a:moveTo>
                    <a:pt x="1558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49">
              <a:extLst>
                <a:ext uri="{FF2B5EF4-FFF2-40B4-BE49-F238E27FC236}">
                  <a16:creationId xmlns:a16="http://schemas.microsoft.com/office/drawing/2014/main" id="{1879249A-2A42-4B4B-9785-31530B5141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8" y="3348"/>
              <a:ext cx="46" cy="7"/>
            </a:xfrm>
            <a:custGeom>
              <a:avLst/>
              <a:gdLst>
                <a:gd name="T0" fmla="*/ 1558 w 1683"/>
                <a:gd name="T1" fmla="*/ 0 h 250"/>
                <a:gd name="T2" fmla="*/ 125 w 1683"/>
                <a:gd name="T3" fmla="*/ 0 h 250"/>
                <a:gd name="T4" fmla="*/ 0 w 1683"/>
                <a:gd name="T5" fmla="*/ 125 h 250"/>
                <a:gd name="T6" fmla="*/ 125 w 1683"/>
                <a:gd name="T7" fmla="*/ 250 h 250"/>
                <a:gd name="T8" fmla="*/ 1558 w 1683"/>
                <a:gd name="T9" fmla="*/ 250 h 250"/>
                <a:gd name="T10" fmla="*/ 1683 w 1683"/>
                <a:gd name="T11" fmla="*/ 125 h 250"/>
                <a:gd name="T12" fmla="*/ 1558 w 1683"/>
                <a:gd name="T13" fmla="*/ 0 h 250"/>
                <a:gd name="T14" fmla="*/ 1558 w 1683"/>
                <a:gd name="T15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83" h="250">
                  <a:moveTo>
                    <a:pt x="1558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558" y="250"/>
                  </a:lnTo>
                  <a:cubicBezTo>
                    <a:pt x="1627" y="250"/>
                    <a:pt x="1683" y="194"/>
                    <a:pt x="1683" y="125"/>
                  </a:cubicBezTo>
                  <a:cubicBezTo>
                    <a:pt x="1683" y="56"/>
                    <a:pt x="1627" y="0"/>
                    <a:pt x="1558" y="0"/>
                  </a:cubicBezTo>
                  <a:close/>
                  <a:moveTo>
                    <a:pt x="1558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26F4A497-7D00-4C6A-9C62-48B774D77FDA}"/>
              </a:ext>
            </a:extLst>
          </p:cNvPr>
          <p:cNvSpPr/>
          <p:nvPr/>
        </p:nvSpPr>
        <p:spPr>
          <a:xfrm>
            <a:off x="440352" y="2657139"/>
            <a:ext cx="3577231" cy="3616661"/>
          </a:xfrm>
          <a:prstGeom prst="roundRect">
            <a:avLst>
              <a:gd name="adj" fmla="val 11286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33F6B38-5702-4C91-A0A7-BB8FE2E5BE4C}"/>
              </a:ext>
            </a:extLst>
          </p:cNvPr>
          <p:cNvSpPr/>
          <p:nvPr/>
        </p:nvSpPr>
        <p:spPr>
          <a:xfrm>
            <a:off x="4306104" y="2657139"/>
            <a:ext cx="3577231" cy="3616661"/>
          </a:xfrm>
          <a:prstGeom prst="roundRect">
            <a:avLst>
              <a:gd name="adj" fmla="val 11286"/>
            </a:avLst>
          </a:prstGeom>
          <a:solidFill>
            <a:schemeClr val="bg1"/>
          </a:solidFill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9FD6EE53-FC3E-4984-8679-DC290F8BC773}"/>
              </a:ext>
            </a:extLst>
          </p:cNvPr>
          <p:cNvSpPr/>
          <p:nvPr/>
        </p:nvSpPr>
        <p:spPr>
          <a:xfrm>
            <a:off x="8171856" y="2657139"/>
            <a:ext cx="3577231" cy="3616661"/>
          </a:xfrm>
          <a:prstGeom prst="roundRect">
            <a:avLst>
              <a:gd name="adj" fmla="val 11286"/>
            </a:avLst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3045275-5281-4EFC-8F4A-C64BA1DFA530}"/>
              </a:ext>
            </a:extLst>
          </p:cNvPr>
          <p:cNvSpPr/>
          <p:nvPr/>
        </p:nvSpPr>
        <p:spPr>
          <a:xfrm>
            <a:off x="649670" y="3433526"/>
            <a:ext cx="3130826" cy="532111"/>
          </a:xfrm>
          <a:prstGeom prst="roundRect">
            <a:avLst>
              <a:gd name="adj" fmla="val 50000"/>
            </a:avLst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z-Cyrl-UZ" sz="1600" b="1" dirty="0"/>
              <a:t>Фуқаролар учун оқибатлари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3570933-DEBB-4FC7-8658-E59191E919F9}"/>
              </a:ext>
            </a:extLst>
          </p:cNvPr>
          <p:cNvSpPr/>
          <p:nvPr/>
        </p:nvSpPr>
        <p:spPr>
          <a:xfrm>
            <a:off x="4396957" y="3433527"/>
            <a:ext cx="3398085" cy="397566"/>
          </a:xfrm>
          <a:prstGeom prst="roundRect">
            <a:avLst>
              <a:gd name="adj" fmla="val 41667"/>
            </a:avLst>
          </a:prstGeom>
          <a:solidFill>
            <a:srgbClr val="49A9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/>
              <a:t>Ташкилотлар</a:t>
            </a:r>
            <a:r>
              <a:rPr lang="ru-RU" sz="1600" b="1" dirty="0"/>
              <a:t> </a:t>
            </a:r>
            <a:r>
              <a:rPr lang="ru-RU" sz="1600" b="1" dirty="0" err="1"/>
              <a:t>учун</a:t>
            </a:r>
            <a:r>
              <a:rPr lang="ru-RU" sz="1600" b="1" dirty="0"/>
              <a:t> </a:t>
            </a:r>
            <a:r>
              <a:rPr lang="ru-RU" sz="1600" b="1" dirty="0" err="1"/>
              <a:t>оқибатлари</a:t>
            </a:r>
            <a:endParaRPr lang="en-US" sz="1600" b="1" dirty="0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849B24FA-0940-4ABD-8E4F-298B7FA7E74C}"/>
              </a:ext>
            </a:extLst>
          </p:cNvPr>
          <p:cNvSpPr/>
          <p:nvPr/>
        </p:nvSpPr>
        <p:spPr>
          <a:xfrm>
            <a:off x="8438322" y="3433527"/>
            <a:ext cx="3104008" cy="532110"/>
          </a:xfrm>
          <a:prstGeom prst="roundRect">
            <a:avLst>
              <a:gd name="adj" fmla="val 41667"/>
            </a:avLst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/>
              <a:t>Мамалакат</a:t>
            </a:r>
            <a:r>
              <a:rPr lang="ru-RU" sz="1600" b="1" dirty="0"/>
              <a:t> </a:t>
            </a:r>
            <a:r>
              <a:rPr lang="ru-RU" sz="1600" b="1" dirty="0" err="1"/>
              <a:t>учун</a:t>
            </a:r>
            <a:r>
              <a:rPr lang="ru-RU" sz="1600" b="1" dirty="0"/>
              <a:t> </a:t>
            </a:r>
            <a:r>
              <a:rPr lang="ru-RU" sz="1600" b="1" dirty="0" err="1"/>
              <a:t>оқибатлари</a:t>
            </a:r>
            <a:endParaRPr lang="en-US" sz="1600" b="1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B04110C-43D2-44AA-83D8-C9185C035025}"/>
              </a:ext>
            </a:extLst>
          </p:cNvPr>
          <p:cNvSpPr/>
          <p:nvPr/>
        </p:nvSpPr>
        <p:spPr>
          <a:xfrm>
            <a:off x="517775" y="3967605"/>
            <a:ext cx="3422383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гсизлик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шшоқлик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қуқларининг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зилиши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фатсиз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лим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фатсиз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ббиёт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ратузилм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фатининг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тлиги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тибсизлик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ҳолис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олат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2AFFC41-4EDD-4F63-90D1-6288458925A9}"/>
              </a:ext>
            </a:extLst>
          </p:cNvPr>
          <p:cNvSpPr/>
          <p:nvPr/>
        </p:nvSpPr>
        <p:spPr>
          <a:xfrm>
            <a:off x="4372659" y="3965638"/>
            <a:ext cx="342238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ларин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моя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маслик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длариг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ришиш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ўшимч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сиқлар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отишлар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арасизликлар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BA30A36-D043-4B7E-BA4F-46FCB003437F}"/>
              </a:ext>
            </a:extLst>
          </p:cNvPr>
          <p:cNvSpPr/>
          <p:nvPr/>
        </p:nvSpPr>
        <p:spPr>
          <a:xfrm>
            <a:off x="8279134" y="3965638"/>
            <a:ext cx="3422383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омалаг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ёқатсиз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лари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мон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ў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млакатг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ар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ришининг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майиши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қтисодий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сишнинг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инлашиши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ҳитнинг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гариши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Graphic 12">
            <a:extLst>
              <a:ext uri="{FF2B5EF4-FFF2-40B4-BE49-F238E27FC236}">
                <a16:creationId xmlns:a16="http://schemas.microsoft.com/office/drawing/2014/main" id="{0952A420-EC3B-49C9-94F6-614ED833D93A}"/>
              </a:ext>
            </a:extLst>
          </p:cNvPr>
          <p:cNvSpPr/>
          <p:nvPr/>
        </p:nvSpPr>
        <p:spPr>
          <a:xfrm>
            <a:off x="9713803" y="2838895"/>
            <a:ext cx="493336" cy="527359"/>
          </a:xfrm>
          <a:custGeom>
            <a:avLst/>
            <a:gdLst>
              <a:gd name="connsiteX0" fmla="*/ 331470 w 331470"/>
              <a:gd name="connsiteY0" fmla="*/ 165735 h 354330"/>
              <a:gd name="connsiteX1" fmla="*/ 165735 w 331470"/>
              <a:gd name="connsiteY1" fmla="*/ 0 h 354330"/>
              <a:gd name="connsiteX2" fmla="*/ 0 w 331470"/>
              <a:gd name="connsiteY2" fmla="*/ 165735 h 354330"/>
              <a:gd name="connsiteX3" fmla="*/ 11419 w 331470"/>
              <a:gd name="connsiteY3" fmla="*/ 226257 h 354330"/>
              <a:gd name="connsiteX4" fmla="*/ 11419 w 331470"/>
              <a:gd name="connsiteY4" fmla="*/ 245745 h 354330"/>
              <a:gd name="connsiteX5" fmla="*/ 28564 w 331470"/>
              <a:gd name="connsiteY5" fmla="*/ 262890 h 354330"/>
              <a:gd name="connsiteX6" fmla="*/ 34279 w 331470"/>
              <a:gd name="connsiteY6" fmla="*/ 261838 h 354330"/>
              <a:gd name="connsiteX7" fmla="*/ 34279 w 331470"/>
              <a:gd name="connsiteY7" fmla="*/ 314325 h 354330"/>
              <a:gd name="connsiteX8" fmla="*/ 51424 w 331470"/>
              <a:gd name="connsiteY8" fmla="*/ 331470 h 354330"/>
              <a:gd name="connsiteX9" fmla="*/ 68569 w 331470"/>
              <a:gd name="connsiteY9" fmla="*/ 314325 h 354330"/>
              <a:gd name="connsiteX10" fmla="*/ 68569 w 331470"/>
              <a:gd name="connsiteY10" fmla="*/ 291465 h 354330"/>
              <a:gd name="connsiteX11" fmla="*/ 74284 w 331470"/>
              <a:gd name="connsiteY11" fmla="*/ 285750 h 354330"/>
              <a:gd name="connsiteX12" fmla="*/ 79999 w 331470"/>
              <a:gd name="connsiteY12" fmla="*/ 291465 h 354330"/>
              <a:gd name="connsiteX13" fmla="*/ 79999 w 331470"/>
              <a:gd name="connsiteY13" fmla="*/ 325755 h 354330"/>
              <a:gd name="connsiteX14" fmla="*/ 97144 w 331470"/>
              <a:gd name="connsiteY14" fmla="*/ 342900 h 354330"/>
              <a:gd name="connsiteX15" fmla="*/ 114289 w 331470"/>
              <a:gd name="connsiteY15" fmla="*/ 325755 h 354330"/>
              <a:gd name="connsiteX16" fmla="*/ 114289 w 331470"/>
              <a:gd name="connsiteY16" fmla="*/ 302895 h 354330"/>
              <a:gd name="connsiteX17" fmla="*/ 120004 w 331470"/>
              <a:gd name="connsiteY17" fmla="*/ 297180 h 354330"/>
              <a:gd name="connsiteX18" fmla="*/ 125719 w 331470"/>
              <a:gd name="connsiteY18" fmla="*/ 302895 h 354330"/>
              <a:gd name="connsiteX19" fmla="*/ 125730 w 331470"/>
              <a:gd name="connsiteY19" fmla="*/ 302895 h 354330"/>
              <a:gd name="connsiteX20" fmla="*/ 125730 w 331470"/>
              <a:gd name="connsiteY20" fmla="*/ 337185 h 354330"/>
              <a:gd name="connsiteX21" fmla="*/ 142875 w 331470"/>
              <a:gd name="connsiteY21" fmla="*/ 354330 h 354330"/>
              <a:gd name="connsiteX22" fmla="*/ 160020 w 331470"/>
              <a:gd name="connsiteY22" fmla="*/ 337185 h 354330"/>
              <a:gd name="connsiteX23" fmla="*/ 160020 w 331470"/>
              <a:gd name="connsiteY23" fmla="*/ 314325 h 354330"/>
              <a:gd name="connsiteX24" fmla="*/ 165735 w 331470"/>
              <a:gd name="connsiteY24" fmla="*/ 308610 h 354330"/>
              <a:gd name="connsiteX25" fmla="*/ 171450 w 331470"/>
              <a:gd name="connsiteY25" fmla="*/ 314325 h 354330"/>
              <a:gd name="connsiteX26" fmla="*/ 171450 w 331470"/>
              <a:gd name="connsiteY26" fmla="*/ 337185 h 354330"/>
              <a:gd name="connsiteX27" fmla="*/ 188595 w 331470"/>
              <a:gd name="connsiteY27" fmla="*/ 354330 h 354330"/>
              <a:gd name="connsiteX28" fmla="*/ 205740 w 331470"/>
              <a:gd name="connsiteY28" fmla="*/ 337185 h 354330"/>
              <a:gd name="connsiteX29" fmla="*/ 205740 w 331470"/>
              <a:gd name="connsiteY29" fmla="*/ 302895 h 354330"/>
              <a:gd name="connsiteX30" fmla="*/ 211455 w 331470"/>
              <a:gd name="connsiteY30" fmla="*/ 297180 h 354330"/>
              <a:gd name="connsiteX31" fmla="*/ 217170 w 331470"/>
              <a:gd name="connsiteY31" fmla="*/ 302895 h 354330"/>
              <a:gd name="connsiteX32" fmla="*/ 217170 w 331470"/>
              <a:gd name="connsiteY32" fmla="*/ 325755 h 354330"/>
              <a:gd name="connsiteX33" fmla="*/ 234315 w 331470"/>
              <a:gd name="connsiteY33" fmla="*/ 342900 h 354330"/>
              <a:gd name="connsiteX34" fmla="*/ 251460 w 331470"/>
              <a:gd name="connsiteY34" fmla="*/ 325755 h 354330"/>
              <a:gd name="connsiteX35" fmla="*/ 251460 w 331470"/>
              <a:gd name="connsiteY35" fmla="*/ 291465 h 354330"/>
              <a:gd name="connsiteX36" fmla="*/ 257175 w 331470"/>
              <a:gd name="connsiteY36" fmla="*/ 285750 h 354330"/>
              <a:gd name="connsiteX37" fmla="*/ 262890 w 331470"/>
              <a:gd name="connsiteY37" fmla="*/ 291465 h 354330"/>
              <a:gd name="connsiteX38" fmla="*/ 262890 w 331470"/>
              <a:gd name="connsiteY38" fmla="*/ 314325 h 354330"/>
              <a:gd name="connsiteX39" fmla="*/ 280035 w 331470"/>
              <a:gd name="connsiteY39" fmla="*/ 331470 h 354330"/>
              <a:gd name="connsiteX40" fmla="*/ 297180 w 331470"/>
              <a:gd name="connsiteY40" fmla="*/ 314325 h 354330"/>
              <a:gd name="connsiteX41" fmla="*/ 297180 w 331470"/>
              <a:gd name="connsiteY41" fmla="*/ 261838 h 354330"/>
              <a:gd name="connsiteX42" fmla="*/ 302895 w 331470"/>
              <a:gd name="connsiteY42" fmla="*/ 262890 h 354330"/>
              <a:gd name="connsiteX43" fmla="*/ 320040 w 331470"/>
              <a:gd name="connsiteY43" fmla="*/ 245745 h 354330"/>
              <a:gd name="connsiteX44" fmla="*/ 320040 w 331470"/>
              <a:gd name="connsiteY44" fmla="*/ 226280 h 354330"/>
              <a:gd name="connsiteX45" fmla="*/ 331470 w 331470"/>
              <a:gd name="connsiteY45" fmla="*/ 165735 h 354330"/>
              <a:gd name="connsiteX46" fmla="*/ 317594 w 331470"/>
              <a:gd name="connsiteY46" fmla="*/ 193093 h 354330"/>
              <a:gd name="connsiteX47" fmla="*/ 285750 w 331470"/>
              <a:gd name="connsiteY47" fmla="*/ 171450 h 354330"/>
              <a:gd name="connsiteX48" fmla="*/ 282652 w 331470"/>
              <a:gd name="connsiteY48" fmla="*/ 171450 h 354330"/>
              <a:gd name="connsiteX49" fmla="*/ 290939 w 331470"/>
              <a:gd name="connsiteY49" fmla="*/ 154305 h 354330"/>
              <a:gd name="connsiteX50" fmla="*/ 319571 w 331470"/>
              <a:gd name="connsiteY50" fmla="*/ 154305 h 354330"/>
              <a:gd name="connsiteX51" fmla="*/ 320040 w 331470"/>
              <a:gd name="connsiteY51" fmla="*/ 165735 h 354330"/>
              <a:gd name="connsiteX52" fmla="*/ 317594 w 331470"/>
              <a:gd name="connsiteY52" fmla="*/ 193093 h 354330"/>
              <a:gd name="connsiteX53" fmla="*/ 51435 w 331470"/>
              <a:gd name="connsiteY53" fmla="*/ 148590 h 354330"/>
              <a:gd name="connsiteX54" fmla="*/ 74295 w 331470"/>
              <a:gd name="connsiteY54" fmla="*/ 125730 h 354330"/>
              <a:gd name="connsiteX55" fmla="*/ 94263 w 331470"/>
              <a:gd name="connsiteY55" fmla="*/ 137457 h 354330"/>
              <a:gd name="connsiteX56" fmla="*/ 85725 w 331470"/>
              <a:gd name="connsiteY56" fmla="*/ 160020 h 354330"/>
              <a:gd name="connsiteX57" fmla="*/ 86639 w 331470"/>
              <a:gd name="connsiteY57" fmla="*/ 167770 h 354330"/>
              <a:gd name="connsiteX58" fmla="*/ 74295 w 331470"/>
              <a:gd name="connsiteY58" fmla="*/ 171450 h 354330"/>
              <a:gd name="connsiteX59" fmla="*/ 51435 w 331470"/>
              <a:gd name="connsiteY59" fmla="*/ 148590 h 354330"/>
              <a:gd name="connsiteX60" fmla="*/ 97155 w 331470"/>
              <a:gd name="connsiteY60" fmla="*/ 160020 h 354330"/>
              <a:gd name="connsiteX61" fmla="*/ 120015 w 331470"/>
              <a:gd name="connsiteY61" fmla="*/ 137160 h 354330"/>
              <a:gd name="connsiteX62" fmla="*/ 139978 w 331470"/>
              <a:gd name="connsiteY62" fmla="*/ 148887 h 354330"/>
              <a:gd name="connsiteX63" fmla="*/ 131445 w 331470"/>
              <a:gd name="connsiteY63" fmla="*/ 171450 h 354330"/>
              <a:gd name="connsiteX64" fmla="*/ 132359 w 331470"/>
              <a:gd name="connsiteY64" fmla="*/ 179205 h 354330"/>
              <a:gd name="connsiteX65" fmla="*/ 120015 w 331470"/>
              <a:gd name="connsiteY65" fmla="*/ 182880 h 354330"/>
              <a:gd name="connsiteX66" fmla="*/ 97155 w 331470"/>
              <a:gd name="connsiteY66" fmla="*/ 160020 h 354330"/>
              <a:gd name="connsiteX67" fmla="*/ 142875 w 331470"/>
              <a:gd name="connsiteY67" fmla="*/ 171450 h 354330"/>
              <a:gd name="connsiteX68" fmla="*/ 165735 w 331470"/>
              <a:gd name="connsiteY68" fmla="*/ 148590 h 354330"/>
              <a:gd name="connsiteX69" fmla="*/ 188595 w 331470"/>
              <a:gd name="connsiteY69" fmla="*/ 171450 h 354330"/>
              <a:gd name="connsiteX70" fmla="*/ 165735 w 331470"/>
              <a:gd name="connsiteY70" fmla="*/ 194310 h 354330"/>
              <a:gd name="connsiteX71" fmla="*/ 142875 w 331470"/>
              <a:gd name="connsiteY71" fmla="*/ 171450 h 354330"/>
              <a:gd name="connsiteX72" fmla="*/ 191481 w 331470"/>
              <a:gd name="connsiteY72" fmla="*/ 148876 h 354330"/>
              <a:gd name="connsiteX73" fmla="*/ 211444 w 331470"/>
              <a:gd name="connsiteY73" fmla="*/ 137160 h 354330"/>
              <a:gd name="connsiteX74" fmla="*/ 234304 w 331470"/>
              <a:gd name="connsiteY74" fmla="*/ 160020 h 354330"/>
              <a:gd name="connsiteX75" fmla="*/ 211444 w 331470"/>
              <a:gd name="connsiteY75" fmla="*/ 182880 h 354330"/>
              <a:gd name="connsiteX76" fmla="*/ 199105 w 331470"/>
              <a:gd name="connsiteY76" fmla="*/ 179211 h 354330"/>
              <a:gd name="connsiteX77" fmla="*/ 200025 w 331470"/>
              <a:gd name="connsiteY77" fmla="*/ 171450 h 354330"/>
              <a:gd name="connsiteX78" fmla="*/ 191481 w 331470"/>
              <a:gd name="connsiteY78" fmla="*/ 148876 h 354330"/>
              <a:gd name="connsiteX79" fmla="*/ 318337 w 331470"/>
              <a:gd name="connsiteY79" fmla="*/ 142875 h 354330"/>
              <a:gd name="connsiteX80" fmla="*/ 290939 w 331470"/>
              <a:gd name="connsiteY80" fmla="*/ 142875 h 354330"/>
              <a:gd name="connsiteX81" fmla="*/ 257164 w 331470"/>
              <a:gd name="connsiteY81" fmla="*/ 114300 h 354330"/>
              <a:gd name="connsiteX82" fmla="*/ 245745 w 331470"/>
              <a:gd name="connsiteY82" fmla="*/ 116346 h 354330"/>
              <a:gd name="connsiteX83" fmla="*/ 245745 w 331470"/>
              <a:gd name="connsiteY83" fmla="*/ 108585 h 354330"/>
              <a:gd name="connsiteX84" fmla="*/ 251460 w 331470"/>
              <a:gd name="connsiteY84" fmla="*/ 102870 h 354330"/>
              <a:gd name="connsiteX85" fmla="*/ 268605 w 331470"/>
              <a:gd name="connsiteY85" fmla="*/ 85725 h 354330"/>
              <a:gd name="connsiteX86" fmla="*/ 268605 w 331470"/>
              <a:gd name="connsiteY86" fmla="*/ 80010 h 354330"/>
              <a:gd name="connsiteX87" fmla="*/ 274320 w 331470"/>
              <a:gd name="connsiteY87" fmla="*/ 74295 h 354330"/>
              <a:gd name="connsiteX88" fmla="*/ 289933 w 331470"/>
              <a:gd name="connsiteY88" fmla="*/ 74295 h 354330"/>
              <a:gd name="connsiteX89" fmla="*/ 318337 w 331470"/>
              <a:gd name="connsiteY89" fmla="*/ 142875 h 354330"/>
              <a:gd name="connsiteX90" fmla="*/ 237195 w 331470"/>
              <a:gd name="connsiteY90" fmla="*/ 137457 h 354330"/>
              <a:gd name="connsiteX91" fmla="*/ 257164 w 331470"/>
              <a:gd name="connsiteY91" fmla="*/ 125730 h 354330"/>
              <a:gd name="connsiteX92" fmla="*/ 280024 w 331470"/>
              <a:gd name="connsiteY92" fmla="*/ 148590 h 354330"/>
              <a:gd name="connsiteX93" fmla="*/ 257164 w 331470"/>
              <a:gd name="connsiteY93" fmla="*/ 171450 h 354330"/>
              <a:gd name="connsiteX94" fmla="*/ 244819 w 331470"/>
              <a:gd name="connsiteY94" fmla="*/ 167775 h 354330"/>
              <a:gd name="connsiteX95" fmla="*/ 245734 w 331470"/>
              <a:gd name="connsiteY95" fmla="*/ 160020 h 354330"/>
              <a:gd name="connsiteX96" fmla="*/ 237195 w 331470"/>
              <a:gd name="connsiteY96" fmla="*/ 137457 h 354330"/>
              <a:gd name="connsiteX97" fmla="*/ 280624 w 331470"/>
              <a:gd name="connsiteY97" fmla="*/ 62865 h 354330"/>
              <a:gd name="connsiteX98" fmla="*/ 274320 w 331470"/>
              <a:gd name="connsiteY98" fmla="*/ 62865 h 354330"/>
              <a:gd name="connsiteX99" fmla="*/ 257175 w 331470"/>
              <a:gd name="connsiteY99" fmla="*/ 80010 h 354330"/>
              <a:gd name="connsiteX100" fmla="*/ 257175 w 331470"/>
              <a:gd name="connsiteY100" fmla="*/ 85725 h 354330"/>
              <a:gd name="connsiteX101" fmla="*/ 251460 w 331470"/>
              <a:gd name="connsiteY101" fmla="*/ 91440 h 354330"/>
              <a:gd name="connsiteX102" fmla="*/ 234315 w 331470"/>
              <a:gd name="connsiteY102" fmla="*/ 108585 h 354330"/>
              <a:gd name="connsiteX103" fmla="*/ 234315 w 331470"/>
              <a:gd name="connsiteY103" fmla="*/ 123124 h 354330"/>
              <a:gd name="connsiteX104" fmla="*/ 228326 w 331470"/>
              <a:gd name="connsiteY104" fmla="*/ 130205 h 354330"/>
              <a:gd name="connsiteX105" fmla="*/ 211444 w 331470"/>
              <a:gd name="connsiteY105" fmla="*/ 125730 h 354330"/>
              <a:gd name="connsiteX106" fmla="*/ 182611 w 331470"/>
              <a:gd name="connsiteY106" fmla="*/ 141635 h 354330"/>
              <a:gd name="connsiteX107" fmla="*/ 171450 w 331470"/>
              <a:gd name="connsiteY107" fmla="*/ 137674 h 354330"/>
              <a:gd name="connsiteX108" fmla="*/ 171450 w 331470"/>
              <a:gd name="connsiteY108" fmla="*/ 134634 h 354330"/>
              <a:gd name="connsiteX109" fmla="*/ 172513 w 331470"/>
              <a:gd name="connsiteY109" fmla="*/ 132068 h 354330"/>
              <a:gd name="connsiteX110" fmla="*/ 173896 w 331470"/>
              <a:gd name="connsiteY110" fmla="*/ 131439 h 354330"/>
              <a:gd name="connsiteX111" fmla="*/ 173936 w 331470"/>
              <a:gd name="connsiteY111" fmla="*/ 131439 h 354330"/>
              <a:gd name="connsiteX112" fmla="*/ 184280 w 331470"/>
              <a:gd name="connsiteY112" fmla="*/ 127393 h 354330"/>
              <a:gd name="connsiteX113" fmla="*/ 188595 w 331470"/>
              <a:gd name="connsiteY113" fmla="*/ 117158 h 354330"/>
              <a:gd name="connsiteX114" fmla="*/ 191453 w 331470"/>
              <a:gd name="connsiteY114" fmla="*/ 114300 h 354330"/>
              <a:gd name="connsiteX115" fmla="*/ 205740 w 331470"/>
              <a:gd name="connsiteY115" fmla="*/ 114300 h 354330"/>
              <a:gd name="connsiteX116" fmla="*/ 222885 w 331470"/>
              <a:gd name="connsiteY116" fmla="*/ 97155 h 354330"/>
              <a:gd name="connsiteX117" fmla="*/ 222885 w 331470"/>
              <a:gd name="connsiteY117" fmla="*/ 22449 h 354330"/>
              <a:gd name="connsiteX118" fmla="*/ 280624 w 331470"/>
              <a:gd name="connsiteY118" fmla="*/ 62865 h 354330"/>
              <a:gd name="connsiteX119" fmla="*/ 211455 w 331470"/>
              <a:gd name="connsiteY119" fmla="*/ 18345 h 354330"/>
              <a:gd name="connsiteX120" fmla="*/ 211455 w 331470"/>
              <a:gd name="connsiteY120" fmla="*/ 97155 h 354330"/>
              <a:gd name="connsiteX121" fmla="*/ 205740 w 331470"/>
              <a:gd name="connsiteY121" fmla="*/ 102870 h 354330"/>
              <a:gd name="connsiteX122" fmla="*/ 191453 w 331470"/>
              <a:gd name="connsiteY122" fmla="*/ 102870 h 354330"/>
              <a:gd name="connsiteX123" fmla="*/ 177165 w 331470"/>
              <a:gd name="connsiteY123" fmla="*/ 117158 h 354330"/>
              <a:gd name="connsiteX124" fmla="*/ 176302 w 331470"/>
              <a:gd name="connsiteY124" fmla="*/ 119203 h 354330"/>
              <a:gd name="connsiteX125" fmla="*/ 174308 w 331470"/>
              <a:gd name="connsiteY125" fmla="*/ 120015 h 354330"/>
              <a:gd name="connsiteX126" fmla="*/ 174227 w 331470"/>
              <a:gd name="connsiteY126" fmla="*/ 120009 h 354330"/>
              <a:gd name="connsiteX127" fmla="*/ 164529 w 331470"/>
              <a:gd name="connsiteY127" fmla="*/ 123890 h 354330"/>
              <a:gd name="connsiteX128" fmla="*/ 160020 w 331470"/>
              <a:gd name="connsiteY128" fmla="*/ 134640 h 354330"/>
              <a:gd name="connsiteX129" fmla="*/ 160020 w 331470"/>
              <a:gd name="connsiteY129" fmla="*/ 137680 h 354330"/>
              <a:gd name="connsiteX130" fmla="*/ 148853 w 331470"/>
              <a:gd name="connsiteY130" fmla="*/ 141646 h 354330"/>
              <a:gd name="connsiteX131" fmla="*/ 120015 w 331470"/>
              <a:gd name="connsiteY131" fmla="*/ 125730 h 354330"/>
              <a:gd name="connsiteX132" fmla="*/ 103133 w 331470"/>
              <a:gd name="connsiteY132" fmla="*/ 130211 h 354330"/>
              <a:gd name="connsiteX133" fmla="*/ 93446 w 331470"/>
              <a:gd name="connsiteY133" fmla="*/ 120215 h 354330"/>
              <a:gd name="connsiteX134" fmla="*/ 95069 w 331470"/>
              <a:gd name="connsiteY134" fmla="*/ 120015 h 354330"/>
              <a:gd name="connsiteX135" fmla="*/ 137160 w 331470"/>
              <a:gd name="connsiteY135" fmla="*/ 120015 h 354330"/>
              <a:gd name="connsiteX136" fmla="*/ 154305 w 331470"/>
              <a:gd name="connsiteY136" fmla="*/ 102870 h 354330"/>
              <a:gd name="connsiteX137" fmla="*/ 137509 w 331470"/>
              <a:gd name="connsiteY137" fmla="*/ 85725 h 354330"/>
              <a:gd name="connsiteX138" fmla="*/ 131445 w 331470"/>
              <a:gd name="connsiteY138" fmla="*/ 80467 h 354330"/>
              <a:gd name="connsiteX139" fmla="*/ 131445 w 331470"/>
              <a:gd name="connsiteY139" fmla="*/ 62734 h 354330"/>
              <a:gd name="connsiteX140" fmla="*/ 129176 w 331470"/>
              <a:gd name="connsiteY140" fmla="*/ 58173 h 354330"/>
              <a:gd name="connsiteX141" fmla="*/ 120015 w 331470"/>
              <a:gd name="connsiteY141" fmla="*/ 40005 h 354330"/>
              <a:gd name="connsiteX142" fmla="*/ 120015 w 331470"/>
              <a:gd name="connsiteY142" fmla="*/ 18345 h 354330"/>
              <a:gd name="connsiteX143" fmla="*/ 165735 w 331470"/>
              <a:gd name="connsiteY143" fmla="*/ 11430 h 354330"/>
              <a:gd name="connsiteX144" fmla="*/ 211455 w 331470"/>
              <a:gd name="connsiteY144" fmla="*/ 18345 h 354330"/>
              <a:gd name="connsiteX145" fmla="*/ 45971 w 331470"/>
              <a:gd name="connsiteY145" fmla="*/ 68580 h 354330"/>
              <a:gd name="connsiteX146" fmla="*/ 71438 w 331470"/>
              <a:gd name="connsiteY146" fmla="*/ 68580 h 354330"/>
              <a:gd name="connsiteX147" fmla="*/ 80010 w 331470"/>
              <a:gd name="connsiteY147" fmla="*/ 77153 h 354330"/>
              <a:gd name="connsiteX148" fmla="*/ 71438 w 331470"/>
              <a:gd name="connsiteY148" fmla="*/ 85725 h 354330"/>
              <a:gd name="connsiteX149" fmla="*/ 60008 w 331470"/>
              <a:gd name="connsiteY149" fmla="*/ 85725 h 354330"/>
              <a:gd name="connsiteX150" fmla="*/ 45720 w 331470"/>
              <a:gd name="connsiteY150" fmla="*/ 100013 h 354330"/>
              <a:gd name="connsiteX151" fmla="*/ 42863 w 331470"/>
              <a:gd name="connsiteY151" fmla="*/ 102870 h 354330"/>
              <a:gd name="connsiteX152" fmla="*/ 24872 w 331470"/>
              <a:gd name="connsiteY152" fmla="*/ 102870 h 354330"/>
              <a:gd name="connsiteX153" fmla="*/ 45971 w 331470"/>
              <a:gd name="connsiteY153" fmla="*/ 68580 h 354330"/>
              <a:gd name="connsiteX154" fmla="*/ 20277 w 331470"/>
              <a:gd name="connsiteY154" fmla="*/ 114300 h 354330"/>
              <a:gd name="connsiteX155" fmla="*/ 42863 w 331470"/>
              <a:gd name="connsiteY155" fmla="*/ 114300 h 354330"/>
              <a:gd name="connsiteX156" fmla="*/ 57150 w 331470"/>
              <a:gd name="connsiteY156" fmla="*/ 100013 h 354330"/>
              <a:gd name="connsiteX157" fmla="*/ 60008 w 331470"/>
              <a:gd name="connsiteY157" fmla="*/ 97155 h 354330"/>
              <a:gd name="connsiteX158" fmla="*/ 71438 w 331470"/>
              <a:gd name="connsiteY158" fmla="*/ 97155 h 354330"/>
              <a:gd name="connsiteX159" fmla="*/ 91440 w 331470"/>
              <a:gd name="connsiteY159" fmla="*/ 77153 h 354330"/>
              <a:gd name="connsiteX160" fmla="*/ 71438 w 331470"/>
              <a:gd name="connsiteY160" fmla="*/ 57150 h 354330"/>
              <a:gd name="connsiteX161" fmla="*/ 56224 w 331470"/>
              <a:gd name="connsiteY161" fmla="*/ 57150 h 354330"/>
              <a:gd name="connsiteX162" fmla="*/ 108585 w 331470"/>
              <a:gd name="connsiteY162" fmla="*/ 22449 h 354330"/>
              <a:gd name="connsiteX163" fmla="*/ 108585 w 331470"/>
              <a:gd name="connsiteY163" fmla="*/ 40005 h 354330"/>
              <a:gd name="connsiteX164" fmla="*/ 120015 w 331470"/>
              <a:gd name="connsiteY164" fmla="*/ 65431 h 354330"/>
              <a:gd name="connsiteX165" fmla="*/ 120015 w 331470"/>
              <a:gd name="connsiteY165" fmla="*/ 80467 h 354330"/>
              <a:gd name="connsiteX166" fmla="*/ 137280 w 331470"/>
              <a:gd name="connsiteY166" fmla="*/ 97155 h 354330"/>
              <a:gd name="connsiteX167" fmla="*/ 142875 w 331470"/>
              <a:gd name="connsiteY167" fmla="*/ 102870 h 354330"/>
              <a:gd name="connsiteX168" fmla="*/ 137160 w 331470"/>
              <a:gd name="connsiteY168" fmla="*/ 108585 h 354330"/>
              <a:gd name="connsiteX169" fmla="*/ 95069 w 331470"/>
              <a:gd name="connsiteY169" fmla="*/ 108585 h 354330"/>
              <a:gd name="connsiteX170" fmla="*/ 80039 w 331470"/>
              <a:gd name="connsiteY170" fmla="*/ 114820 h 354330"/>
              <a:gd name="connsiteX171" fmla="*/ 74295 w 331470"/>
              <a:gd name="connsiteY171" fmla="*/ 114300 h 354330"/>
              <a:gd name="connsiteX172" fmla="*/ 40005 w 331470"/>
              <a:gd name="connsiteY172" fmla="*/ 148590 h 354330"/>
              <a:gd name="connsiteX173" fmla="*/ 48806 w 331470"/>
              <a:gd name="connsiteY173" fmla="*/ 171450 h 354330"/>
              <a:gd name="connsiteX174" fmla="*/ 45709 w 331470"/>
              <a:gd name="connsiteY174" fmla="*/ 171450 h 354330"/>
              <a:gd name="connsiteX175" fmla="*/ 13870 w 331470"/>
              <a:gd name="connsiteY175" fmla="*/ 193076 h 354330"/>
              <a:gd name="connsiteX176" fmla="*/ 11430 w 331470"/>
              <a:gd name="connsiteY176" fmla="*/ 165735 h 354330"/>
              <a:gd name="connsiteX177" fmla="*/ 20277 w 331470"/>
              <a:gd name="connsiteY177" fmla="*/ 114300 h 354330"/>
              <a:gd name="connsiteX178" fmla="*/ 74284 w 331470"/>
              <a:gd name="connsiteY178" fmla="*/ 274320 h 354330"/>
              <a:gd name="connsiteX179" fmla="*/ 57139 w 331470"/>
              <a:gd name="connsiteY179" fmla="*/ 291465 h 354330"/>
              <a:gd name="connsiteX180" fmla="*/ 57139 w 331470"/>
              <a:gd name="connsiteY180" fmla="*/ 314325 h 354330"/>
              <a:gd name="connsiteX181" fmla="*/ 51424 w 331470"/>
              <a:gd name="connsiteY181" fmla="*/ 320040 h 354330"/>
              <a:gd name="connsiteX182" fmla="*/ 45709 w 331470"/>
              <a:gd name="connsiteY182" fmla="*/ 314325 h 354330"/>
              <a:gd name="connsiteX183" fmla="*/ 45709 w 331470"/>
              <a:gd name="connsiteY183" fmla="*/ 245745 h 354330"/>
              <a:gd name="connsiteX184" fmla="*/ 45709 w 331470"/>
              <a:gd name="connsiteY184" fmla="*/ 205740 h 354330"/>
              <a:gd name="connsiteX185" fmla="*/ 34279 w 331470"/>
              <a:gd name="connsiteY185" fmla="*/ 205740 h 354330"/>
              <a:gd name="connsiteX186" fmla="*/ 34279 w 331470"/>
              <a:gd name="connsiteY186" fmla="*/ 245745 h 354330"/>
              <a:gd name="connsiteX187" fmla="*/ 28564 w 331470"/>
              <a:gd name="connsiteY187" fmla="*/ 251460 h 354330"/>
              <a:gd name="connsiteX188" fmla="*/ 22849 w 331470"/>
              <a:gd name="connsiteY188" fmla="*/ 245745 h 354330"/>
              <a:gd name="connsiteX189" fmla="*/ 22849 w 331470"/>
              <a:gd name="connsiteY189" fmla="*/ 205740 h 354330"/>
              <a:gd name="connsiteX190" fmla="*/ 45709 w 331470"/>
              <a:gd name="connsiteY190" fmla="*/ 182880 h 354330"/>
              <a:gd name="connsiteX191" fmla="*/ 74284 w 331470"/>
              <a:gd name="connsiteY191" fmla="*/ 182880 h 354330"/>
              <a:gd name="connsiteX192" fmla="*/ 74295 w 331470"/>
              <a:gd name="connsiteY192" fmla="*/ 182880 h 354330"/>
              <a:gd name="connsiteX193" fmla="*/ 91109 w 331470"/>
              <a:gd name="connsiteY193" fmla="*/ 178388 h 354330"/>
              <a:gd name="connsiteX194" fmla="*/ 94526 w 331470"/>
              <a:gd name="connsiteY194" fmla="*/ 182880 h 354330"/>
              <a:gd name="connsiteX195" fmla="*/ 91429 w 331470"/>
              <a:gd name="connsiteY195" fmla="*/ 182880 h 354330"/>
              <a:gd name="connsiteX196" fmla="*/ 57139 w 331470"/>
              <a:gd name="connsiteY196" fmla="*/ 217170 h 354330"/>
              <a:gd name="connsiteX197" fmla="*/ 57139 w 331470"/>
              <a:gd name="connsiteY197" fmla="*/ 257175 h 354330"/>
              <a:gd name="connsiteX198" fmla="*/ 74284 w 331470"/>
              <a:gd name="connsiteY198" fmla="*/ 274320 h 354330"/>
              <a:gd name="connsiteX199" fmla="*/ 79999 w 331470"/>
              <a:gd name="connsiteY199" fmla="*/ 273268 h 354330"/>
              <a:gd name="connsiteX200" fmla="*/ 79999 w 331470"/>
              <a:gd name="connsiteY200" fmla="*/ 275377 h 354330"/>
              <a:gd name="connsiteX201" fmla="*/ 74284 w 331470"/>
              <a:gd name="connsiteY201" fmla="*/ 274320 h 354330"/>
              <a:gd name="connsiteX202" fmla="*/ 120004 w 331470"/>
              <a:gd name="connsiteY202" fmla="*/ 285750 h 354330"/>
              <a:gd name="connsiteX203" fmla="*/ 102859 w 331470"/>
              <a:gd name="connsiteY203" fmla="*/ 302895 h 354330"/>
              <a:gd name="connsiteX204" fmla="*/ 102859 w 331470"/>
              <a:gd name="connsiteY204" fmla="*/ 325755 h 354330"/>
              <a:gd name="connsiteX205" fmla="*/ 97144 w 331470"/>
              <a:gd name="connsiteY205" fmla="*/ 331470 h 354330"/>
              <a:gd name="connsiteX206" fmla="*/ 91429 w 331470"/>
              <a:gd name="connsiteY206" fmla="*/ 325755 h 354330"/>
              <a:gd name="connsiteX207" fmla="*/ 91429 w 331470"/>
              <a:gd name="connsiteY207" fmla="*/ 257175 h 354330"/>
              <a:gd name="connsiteX208" fmla="*/ 91429 w 331470"/>
              <a:gd name="connsiteY208" fmla="*/ 217170 h 354330"/>
              <a:gd name="connsiteX209" fmla="*/ 79999 w 331470"/>
              <a:gd name="connsiteY209" fmla="*/ 217170 h 354330"/>
              <a:gd name="connsiteX210" fmla="*/ 79999 w 331470"/>
              <a:gd name="connsiteY210" fmla="*/ 257175 h 354330"/>
              <a:gd name="connsiteX211" fmla="*/ 74284 w 331470"/>
              <a:gd name="connsiteY211" fmla="*/ 262890 h 354330"/>
              <a:gd name="connsiteX212" fmla="*/ 68569 w 331470"/>
              <a:gd name="connsiteY212" fmla="*/ 257175 h 354330"/>
              <a:gd name="connsiteX213" fmla="*/ 68569 w 331470"/>
              <a:gd name="connsiteY213" fmla="*/ 217170 h 354330"/>
              <a:gd name="connsiteX214" fmla="*/ 91429 w 331470"/>
              <a:gd name="connsiteY214" fmla="*/ 194310 h 354330"/>
              <a:gd name="connsiteX215" fmla="*/ 120004 w 331470"/>
              <a:gd name="connsiteY215" fmla="*/ 194310 h 354330"/>
              <a:gd name="connsiteX216" fmla="*/ 120015 w 331470"/>
              <a:gd name="connsiteY216" fmla="*/ 194310 h 354330"/>
              <a:gd name="connsiteX217" fmla="*/ 136829 w 331470"/>
              <a:gd name="connsiteY217" fmla="*/ 189818 h 354330"/>
              <a:gd name="connsiteX218" fmla="*/ 140246 w 331470"/>
              <a:gd name="connsiteY218" fmla="*/ 194310 h 354330"/>
              <a:gd name="connsiteX219" fmla="*/ 137160 w 331470"/>
              <a:gd name="connsiteY219" fmla="*/ 194310 h 354330"/>
              <a:gd name="connsiteX220" fmla="*/ 102870 w 331470"/>
              <a:gd name="connsiteY220" fmla="*/ 228600 h 354330"/>
              <a:gd name="connsiteX221" fmla="*/ 102870 w 331470"/>
              <a:gd name="connsiteY221" fmla="*/ 268605 h 354330"/>
              <a:gd name="connsiteX222" fmla="*/ 120015 w 331470"/>
              <a:gd name="connsiteY222" fmla="*/ 285750 h 354330"/>
              <a:gd name="connsiteX223" fmla="*/ 125730 w 331470"/>
              <a:gd name="connsiteY223" fmla="*/ 284698 h 354330"/>
              <a:gd name="connsiteX224" fmla="*/ 125730 w 331470"/>
              <a:gd name="connsiteY224" fmla="*/ 286807 h 354330"/>
              <a:gd name="connsiteX225" fmla="*/ 120004 w 331470"/>
              <a:gd name="connsiteY225" fmla="*/ 285750 h 354330"/>
              <a:gd name="connsiteX226" fmla="*/ 194310 w 331470"/>
              <a:gd name="connsiteY226" fmla="*/ 337185 h 354330"/>
              <a:gd name="connsiteX227" fmla="*/ 188595 w 331470"/>
              <a:gd name="connsiteY227" fmla="*/ 342900 h 354330"/>
              <a:gd name="connsiteX228" fmla="*/ 182880 w 331470"/>
              <a:gd name="connsiteY228" fmla="*/ 337185 h 354330"/>
              <a:gd name="connsiteX229" fmla="*/ 182880 w 331470"/>
              <a:gd name="connsiteY229" fmla="*/ 314325 h 354330"/>
              <a:gd name="connsiteX230" fmla="*/ 165735 w 331470"/>
              <a:gd name="connsiteY230" fmla="*/ 297180 h 354330"/>
              <a:gd name="connsiteX231" fmla="*/ 148590 w 331470"/>
              <a:gd name="connsiteY231" fmla="*/ 314325 h 354330"/>
              <a:gd name="connsiteX232" fmla="*/ 148590 w 331470"/>
              <a:gd name="connsiteY232" fmla="*/ 337185 h 354330"/>
              <a:gd name="connsiteX233" fmla="*/ 142875 w 331470"/>
              <a:gd name="connsiteY233" fmla="*/ 342900 h 354330"/>
              <a:gd name="connsiteX234" fmla="*/ 137160 w 331470"/>
              <a:gd name="connsiteY234" fmla="*/ 337185 h 354330"/>
              <a:gd name="connsiteX235" fmla="*/ 137160 w 331470"/>
              <a:gd name="connsiteY235" fmla="*/ 268605 h 354330"/>
              <a:gd name="connsiteX236" fmla="*/ 137160 w 331470"/>
              <a:gd name="connsiteY236" fmla="*/ 228600 h 354330"/>
              <a:gd name="connsiteX237" fmla="*/ 125730 w 331470"/>
              <a:gd name="connsiteY237" fmla="*/ 228600 h 354330"/>
              <a:gd name="connsiteX238" fmla="*/ 125730 w 331470"/>
              <a:gd name="connsiteY238" fmla="*/ 268605 h 354330"/>
              <a:gd name="connsiteX239" fmla="*/ 120015 w 331470"/>
              <a:gd name="connsiteY239" fmla="*/ 274320 h 354330"/>
              <a:gd name="connsiteX240" fmla="*/ 114300 w 331470"/>
              <a:gd name="connsiteY240" fmla="*/ 268605 h 354330"/>
              <a:gd name="connsiteX241" fmla="*/ 114300 w 331470"/>
              <a:gd name="connsiteY241" fmla="*/ 228600 h 354330"/>
              <a:gd name="connsiteX242" fmla="*/ 137160 w 331470"/>
              <a:gd name="connsiteY242" fmla="*/ 205740 h 354330"/>
              <a:gd name="connsiteX243" fmla="*/ 194310 w 331470"/>
              <a:gd name="connsiteY243" fmla="*/ 205740 h 354330"/>
              <a:gd name="connsiteX244" fmla="*/ 217170 w 331470"/>
              <a:gd name="connsiteY244" fmla="*/ 228600 h 354330"/>
              <a:gd name="connsiteX245" fmla="*/ 217170 w 331470"/>
              <a:gd name="connsiteY245" fmla="*/ 268605 h 354330"/>
              <a:gd name="connsiteX246" fmla="*/ 211455 w 331470"/>
              <a:gd name="connsiteY246" fmla="*/ 274320 h 354330"/>
              <a:gd name="connsiteX247" fmla="*/ 205740 w 331470"/>
              <a:gd name="connsiteY247" fmla="*/ 268605 h 354330"/>
              <a:gd name="connsiteX248" fmla="*/ 205740 w 331470"/>
              <a:gd name="connsiteY248" fmla="*/ 228600 h 354330"/>
              <a:gd name="connsiteX249" fmla="*/ 194310 w 331470"/>
              <a:gd name="connsiteY249" fmla="*/ 228600 h 354330"/>
              <a:gd name="connsiteX250" fmla="*/ 194310 w 331470"/>
              <a:gd name="connsiteY250" fmla="*/ 268605 h 354330"/>
              <a:gd name="connsiteX251" fmla="*/ 240030 w 331470"/>
              <a:gd name="connsiteY251" fmla="*/ 325755 h 354330"/>
              <a:gd name="connsiteX252" fmla="*/ 234315 w 331470"/>
              <a:gd name="connsiteY252" fmla="*/ 331470 h 354330"/>
              <a:gd name="connsiteX253" fmla="*/ 228600 w 331470"/>
              <a:gd name="connsiteY253" fmla="*/ 325755 h 354330"/>
              <a:gd name="connsiteX254" fmla="*/ 228600 w 331470"/>
              <a:gd name="connsiteY254" fmla="*/ 302895 h 354330"/>
              <a:gd name="connsiteX255" fmla="*/ 211455 w 331470"/>
              <a:gd name="connsiteY255" fmla="*/ 285750 h 354330"/>
              <a:gd name="connsiteX256" fmla="*/ 205740 w 331470"/>
              <a:gd name="connsiteY256" fmla="*/ 286802 h 354330"/>
              <a:gd name="connsiteX257" fmla="*/ 205740 w 331470"/>
              <a:gd name="connsiteY257" fmla="*/ 284693 h 354330"/>
              <a:gd name="connsiteX258" fmla="*/ 211455 w 331470"/>
              <a:gd name="connsiteY258" fmla="*/ 285750 h 354330"/>
              <a:gd name="connsiteX259" fmla="*/ 228600 w 331470"/>
              <a:gd name="connsiteY259" fmla="*/ 268605 h 354330"/>
              <a:gd name="connsiteX260" fmla="*/ 228600 w 331470"/>
              <a:gd name="connsiteY260" fmla="*/ 228600 h 354330"/>
              <a:gd name="connsiteX261" fmla="*/ 194310 w 331470"/>
              <a:gd name="connsiteY261" fmla="*/ 194310 h 354330"/>
              <a:gd name="connsiteX262" fmla="*/ 191224 w 331470"/>
              <a:gd name="connsiteY262" fmla="*/ 194310 h 354330"/>
              <a:gd name="connsiteX263" fmla="*/ 194641 w 331470"/>
              <a:gd name="connsiteY263" fmla="*/ 189824 h 354330"/>
              <a:gd name="connsiteX264" fmla="*/ 211444 w 331470"/>
              <a:gd name="connsiteY264" fmla="*/ 194310 h 354330"/>
              <a:gd name="connsiteX265" fmla="*/ 211455 w 331470"/>
              <a:gd name="connsiteY265" fmla="*/ 194310 h 354330"/>
              <a:gd name="connsiteX266" fmla="*/ 240030 w 331470"/>
              <a:gd name="connsiteY266" fmla="*/ 194310 h 354330"/>
              <a:gd name="connsiteX267" fmla="*/ 262890 w 331470"/>
              <a:gd name="connsiteY267" fmla="*/ 217170 h 354330"/>
              <a:gd name="connsiteX268" fmla="*/ 262890 w 331470"/>
              <a:gd name="connsiteY268" fmla="*/ 257175 h 354330"/>
              <a:gd name="connsiteX269" fmla="*/ 257175 w 331470"/>
              <a:gd name="connsiteY269" fmla="*/ 262890 h 354330"/>
              <a:gd name="connsiteX270" fmla="*/ 251460 w 331470"/>
              <a:gd name="connsiteY270" fmla="*/ 257175 h 354330"/>
              <a:gd name="connsiteX271" fmla="*/ 251460 w 331470"/>
              <a:gd name="connsiteY271" fmla="*/ 217170 h 354330"/>
              <a:gd name="connsiteX272" fmla="*/ 240030 w 331470"/>
              <a:gd name="connsiteY272" fmla="*/ 217170 h 354330"/>
              <a:gd name="connsiteX273" fmla="*/ 240030 w 331470"/>
              <a:gd name="connsiteY273" fmla="*/ 257175 h 354330"/>
              <a:gd name="connsiteX274" fmla="*/ 308610 w 331470"/>
              <a:gd name="connsiteY274" fmla="*/ 245745 h 354330"/>
              <a:gd name="connsiteX275" fmla="*/ 302895 w 331470"/>
              <a:gd name="connsiteY275" fmla="*/ 251460 h 354330"/>
              <a:gd name="connsiteX276" fmla="*/ 297180 w 331470"/>
              <a:gd name="connsiteY276" fmla="*/ 245745 h 354330"/>
              <a:gd name="connsiteX277" fmla="*/ 297180 w 331470"/>
              <a:gd name="connsiteY277" fmla="*/ 205740 h 354330"/>
              <a:gd name="connsiteX278" fmla="*/ 285750 w 331470"/>
              <a:gd name="connsiteY278" fmla="*/ 205740 h 354330"/>
              <a:gd name="connsiteX279" fmla="*/ 285750 w 331470"/>
              <a:gd name="connsiteY279" fmla="*/ 245745 h 354330"/>
              <a:gd name="connsiteX280" fmla="*/ 285750 w 331470"/>
              <a:gd name="connsiteY280" fmla="*/ 314325 h 354330"/>
              <a:gd name="connsiteX281" fmla="*/ 280035 w 331470"/>
              <a:gd name="connsiteY281" fmla="*/ 320040 h 354330"/>
              <a:gd name="connsiteX282" fmla="*/ 274320 w 331470"/>
              <a:gd name="connsiteY282" fmla="*/ 314325 h 354330"/>
              <a:gd name="connsiteX283" fmla="*/ 274320 w 331470"/>
              <a:gd name="connsiteY283" fmla="*/ 291465 h 354330"/>
              <a:gd name="connsiteX284" fmla="*/ 257175 w 331470"/>
              <a:gd name="connsiteY284" fmla="*/ 274320 h 354330"/>
              <a:gd name="connsiteX285" fmla="*/ 251460 w 331470"/>
              <a:gd name="connsiteY285" fmla="*/ 275372 h 354330"/>
              <a:gd name="connsiteX286" fmla="*/ 251460 w 331470"/>
              <a:gd name="connsiteY286" fmla="*/ 273263 h 354330"/>
              <a:gd name="connsiteX287" fmla="*/ 257175 w 331470"/>
              <a:gd name="connsiteY287" fmla="*/ 274320 h 354330"/>
              <a:gd name="connsiteX288" fmla="*/ 274320 w 331470"/>
              <a:gd name="connsiteY288" fmla="*/ 257175 h 354330"/>
              <a:gd name="connsiteX289" fmla="*/ 274320 w 331470"/>
              <a:gd name="connsiteY289" fmla="*/ 217170 h 354330"/>
              <a:gd name="connsiteX290" fmla="*/ 240030 w 331470"/>
              <a:gd name="connsiteY290" fmla="*/ 182880 h 354330"/>
              <a:gd name="connsiteX291" fmla="*/ 236932 w 331470"/>
              <a:gd name="connsiteY291" fmla="*/ 182880 h 354330"/>
              <a:gd name="connsiteX292" fmla="*/ 240350 w 331470"/>
              <a:gd name="connsiteY292" fmla="*/ 178388 h 354330"/>
              <a:gd name="connsiteX293" fmla="*/ 257164 w 331470"/>
              <a:gd name="connsiteY293" fmla="*/ 182880 h 354330"/>
              <a:gd name="connsiteX294" fmla="*/ 257175 w 331470"/>
              <a:gd name="connsiteY294" fmla="*/ 182880 h 354330"/>
              <a:gd name="connsiteX295" fmla="*/ 285750 w 331470"/>
              <a:gd name="connsiteY295" fmla="*/ 182880 h 354330"/>
              <a:gd name="connsiteX296" fmla="*/ 308610 w 331470"/>
              <a:gd name="connsiteY296" fmla="*/ 205740 h 35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</a:cxnLst>
            <a:rect l="l" t="t" r="r" b="b"/>
            <a:pathLst>
              <a:path w="331470" h="354330">
                <a:moveTo>
                  <a:pt x="331470" y="165735"/>
                </a:moveTo>
                <a:cubicBezTo>
                  <a:pt x="331470" y="74352"/>
                  <a:pt x="257118" y="0"/>
                  <a:pt x="165735" y="0"/>
                </a:cubicBezTo>
                <a:cubicBezTo>
                  <a:pt x="74352" y="0"/>
                  <a:pt x="0" y="74352"/>
                  <a:pt x="0" y="165735"/>
                </a:cubicBezTo>
                <a:cubicBezTo>
                  <a:pt x="0" y="186640"/>
                  <a:pt x="3852" y="206986"/>
                  <a:pt x="11419" y="226257"/>
                </a:cubicBezTo>
                <a:lnTo>
                  <a:pt x="11419" y="245745"/>
                </a:lnTo>
                <a:cubicBezTo>
                  <a:pt x="11419" y="255198"/>
                  <a:pt x="19111" y="262890"/>
                  <a:pt x="28564" y="262890"/>
                </a:cubicBezTo>
                <a:cubicBezTo>
                  <a:pt x="30575" y="262890"/>
                  <a:pt x="32484" y="262479"/>
                  <a:pt x="34279" y="261838"/>
                </a:cubicBezTo>
                <a:lnTo>
                  <a:pt x="34279" y="314325"/>
                </a:lnTo>
                <a:cubicBezTo>
                  <a:pt x="34279" y="323778"/>
                  <a:pt x="41971" y="331470"/>
                  <a:pt x="51424" y="331470"/>
                </a:cubicBezTo>
                <a:cubicBezTo>
                  <a:pt x="60876" y="331470"/>
                  <a:pt x="68569" y="323778"/>
                  <a:pt x="68569" y="314325"/>
                </a:cubicBezTo>
                <a:lnTo>
                  <a:pt x="68569" y="291465"/>
                </a:lnTo>
                <a:cubicBezTo>
                  <a:pt x="68569" y="288310"/>
                  <a:pt x="71129" y="285750"/>
                  <a:pt x="74284" y="285750"/>
                </a:cubicBezTo>
                <a:cubicBezTo>
                  <a:pt x="77438" y="285750"/>
                  <a:pt x="79999" y="288310"/>
                  <a:pt x="79999" y="291465"/>
                </a:cubicBezTo>
                <a:lnTo>
                  <a:pt x="79999" y="325755"/>
                </a:lnTo>
                <a:cubicBezTo>
                  <a:pt x="79999" y="335208"/>
                  <a:pt x="87691" y="342900"/>
                  <a:pt x="97144" y="342900"/>
                </a:cubicBezTo>
                <a:cubicBezTo>
                  <a:pt x="106596" y="342900"/>
                  <a:pt x="114289" y="335208"/>
                  <a:pt x="114289" y="325755"/>
                </a:cubicBezTo>
                <a:lnTo>
                  <a:pt x="114289" y="302895"/>
                </a:lnTo>
                <a:cubicBezTo>
                  <a:pt x="114289" y="299740"/>
                  <a:pt x="116849" y="297180"/>
                  <a:pt x="120004" y="297180"/>
                </a:cubicBezTo>
                <a:cubicBezTo>
                  <a:pt x="123158" y="297180"/>
                  <a:pt x="125719" y="299740"/>
                  <a:pt x="125719" y="302895"/>
                </a:cubicBezTo>
                <a:lnTo>
                  <a:pt x="125730" y="302895"/>
                </a:lnTo>
                <a:lnTo>
                  <a:pt x="125730" y="337185"/>
                </a:lnTo>
                <a:cubicBezTo>
                  <a:pt x="125730" y="346638"/>
                  <a:pt x="133422" y="354330"/>
                  <a:pt x="142875" y="354330"/>
                </a:cubicBezTo>
                <a:cubicBezTo>
                  <a:pt x="152328" y="354330"/>
                  <a:pt x="160020" y="346638"/>
                  <a:pt x="160020" y="337185"/>
                </a:cubicBezTo>
                <a:lnTo>
                  <a:pt x="160020" y="314325"/>
                </a:lnTo>
                <a:cubicBezTo>
                  <a:pt x="160020" y="311170"/>
                  <a:pt x="162580" y="308610"/>
                  <a:pt x="165735" y="308610"/>
                </a:cubicBezTo>
                <a:cubicBezTo>
                  <a:pt x="168890" y="308610"/>
                  <a:pt x="171450" y="311170"/>
                  <a:pt x="171450" y="314325"/>
                </a:cubicBezTo>
                <a:lnTo>
                  <a:pt x="171450" y="337185"/>
                </a:lnTo>
                <a:cubicBezTo>
                  <a:pt x="171450" y="346638"/>
                  <a:pt x="179142" y="354330"/>
                  <a:pt x="188595" y="354330"/>
                </a:cubicBezTo>
                <a:cubicBezTo>
                  <a:pt x="198048" y="354330"/>
                  <a:pt x="205740" y="346638"/>
                  <a:pt x="205740" y="337185"/>
                </a:cubicBezTo>
                <a:lnTo>
                  <a:pt x="205740" y="302895"/>
                </a:lnTo>
                <a:cubicBezTo>
                  <a:pt x="205740" y="299740"/>
                  <a:pt x="208300" y="297180"/>
                  <a:pt x="211455" y="297180"/>
                </a:cubicBezTo>
                <a:cubicBezTo>
                  <a:pt x="214610" y="297180"/>
                  <a:pt x="217170" y="299740"/>
                  <a:pt x="217170" y="302895"/>
                </a:cubicBezTo>
                <a:lnTo>
                  <a:pt x="217170" y="325755"/>
                </a:lnTo>
                <a:cubicBezTo>
                  <a:pt x="217170" y="335208"/>
                  <a:pt x="224862" y="342900"/>
                  <a:pt x="234315" y="342900"/>
                </a:cubicBezTo>
                <a:cubicBezTo>
                  <a:pt x="243768" y="342900"/>
                  <a:pt x="251460" y="335208"/>
                  <a:pt x="251460" y="325755"/>
                </a:cubicBezTo>
                <a:lnTo>
                  <a:pt x="251460" y="291465"/>
                </a:lnTo>
                <a:cubicBezTo>
                  <a:pt x="251460" y="288310"/>
                  <a:pt x="254020" y="285750"/>
                  <a:pt x="257175" y="285750"/>
                </a:cubicBezTo>
                <a:cubicBezTo>
                  <a:pt x="260330" y="285750"/>
                  <a:pt x="262890" y="288310"/>
                  <a:pt x="262890" y="291465"/>
                </a:cubicBezTo>
                <a:lnTo>
                  <a:pt x="262890" y="314325"/>
                </a:lnTo>
                <a:cubicBezTo>
                  <a:pt x="262890" y="323778"/>
                  <a:pt x="270582" y="331470"/>
                  <a:pt x="280035" y="331470"/>
                </a:cubicBezTo>
                <a:cubicBezTo>
                  <a:pt x="289488" y="331470"/>
                  <a:pt x="297180" y="323778"/>
                  <a:pt x="297180" y="314325"/>
                </a:cubicBezTo>
                <a:lnTo>
                  <a:pt x="297180" y="261838"/>
                </a:lnTo>
                <a:cubicBezTo>
                  <a:pt x="298975" y="262479"/>
                  <a:pt x="300883" y="262890"/>
                  <a:pt x="302895" y="262890"/>
                </a:cubicBezTo>
                <a:cubicBezTo>
                  <a:pt x="312348" y="262890"/>
                  <a:pt x="320040" y="255198"/>
                  <a:pt x="320040" y="245745"/>
                </a:cubicBezTo>
                <a:lnTo>
                  <a:pt x="320040" y="226280"/>
                </a:lnTo>
                <a:cubicBezTo>
                  <a:pt x="327612" y="206992"/>
                  <a:pt x="331470" y="186640"/>
                  <a:pt x="331470" y="165735"/>
                </a:cubicBezTo>
                <a:close/>
                <a:moveTo>
                  <a:pt x="317594" y="193093"/>
                </a:moveTo>
                <a:cubicBezTo>
                  <a:pt x="312548" y="180434"/>
                  <a:pt x="300192" y="171450"/>
                  <a:pt x="285750" y="171450"/>
                </a:cubicBezTo>
                <a:lnTo>
                  <a:pt x="282652" y="171450"/>
                </a:lnTo>
                <a:cubicBezTo>
                  <a:pt x="286893" y="166724"/>
                  <a:pt x="289836" y="160832"/>
                  <a:pt x="290939" y="154305"/>
                </a:cubicBezTo>
                <a:lnTo>
                  <a:pt x="319571" y="154305"/>
                </a:lnTo>
                <a:cubicBezTo>
                  <a:pt x="319851" y="158083"/>
                  <a:pt x="320040" y="161889"/>
                  <a:pt x="320040" y="165735"/>
                </a:cubicBezTo>
                <a:cubicBezTo>
                  <a:pt x="320040" y="174993"/>
                  <a:pt x="319200" y="184126"/>
                  <a:pt x="317594" y="193093"/>
                </a:cubicBezTo>
                <a:close/>
                <a:moveTo>
                  <a:pt x="51435" y="148590"/>
                </a:moveTo>
                <a:cubicBezTo>
                  <a:pt x="51435" y="135983"/>
                  <a:pt x="61688" y="125730"/>
                  <a:pt x="74295" y="125730"/>
                </a:cubicBezTo>
                <a:cubicBezTo>
                  <a:pt x="82627" y="125730"/>
                  <a:pt x="90268" y="130325"/>
                  <a:pt x="94263" y="137457"/>
                </a:cubicBezTo>
                <a:cubicBezTo>
                  <a:pt x="88965" y="143492"/>
                  <a:pt x="85725" y="151373"/>
                  <a:pt x="85725" y="160020"/>
                </a:cubicBezTo>
                <a:cubicBezTo>
                  <a:pt x="85725" y="162689"/>
                  <a:pt x="86062" y="165272"/>
                  <a:pt x="86639" y="167770"/>
                </a:cubicBezTo>
                <a:cubicBezTo>
                  <a:pt x="82976" y="170136"/>
                  <a:pt x="78713" y="171450"/>
                  <a:pt x="74295" y="171450"/>
                </a:cubicBezTo>
                <a:cubicBezTo>
                  <a:pt x="61688" y="171450"/>
                  <a:pt x="51435" y="161197"/>
                  <a:pt x="51435" y="148590"/>
                </a:cubicBezTo>
                <a:close/>
                <a:moveTo>
                  <a:pt x="97155" y="160020"/>
                </a:moveTo>
                <a:cubicBezTo>
                  <a:pt x="97155" y="147413"/>
                  <a:pt x="107408" y="137160"/>
                  <a:pt x="120015" y="137160"/>
                </a:cubicBezTo>
                <a:cubicBezTo>
                  <a:pt x="128347" y="137160"/>
                  <a:pt x="135988" y="141755"/>
                  <a:pt x="139978" y="148887"/>
                </a:cubicBezTo>
                <a:cubicBezTo>
                  <a:pt x="134685" y="154922"/>
                  <a:pt x="131445" y="162809"/>
                  <a:pt x="131445" y="171450"/>
                </a:cubicBezTo>
                <a:cubicBezTo>
                  <a:pt x="131445" y="174119"/>
                  <a:pt x="131782" y="176708"/>
                  <a:pt x="132359" y="179205"/>
                </a:cubicBezTo>
                <a:cubicBezTo>
                  <a:pt x="128696" y="181560"/>
                  <a:pt x="124433" y="182880"/>
                  <a:pt x="120015" y="182880"/>
                </a:cubicBezTo>
                <a:cubicBezTo>
                  <a:pt x="107408" y="182880"/>
                  <a:pt x="97155" y="172627"/>
                  <a:pt x="97155" y="160020"/>
                </a:cubicBezTo>
                <a:close/>
                <a:moveTo>
                  <a:pt x="142875" y="171450"/>
                </a:moveTo>
                <a:cubicBezTo>
                  <a:pt x="142875" y="158843"/>
                  <a:pt x="153128" y="148590"/>
                  <a:pt x="165735" y="148590"/>
                </a:cubicBezTo>
                <a:cubicBezTo>
                  <a:pt x="178342" y="148590"/>
                  <a:pt x="188595" y="158843"/>
                  <a:pt x="188595" y="171450"/>
                </a:cubicBezTo>
                <a:cubicBezTo>
                  <a:pt x="188595" y="184057"/>
                  <a:pt x="178342" y="194310"/>
                  <a:pt x="165735" y="194310"/>
                </a:cubicBezTo>
                <a:cubicBezTo>
                  <a:pt x="153128" y="194310"/>
                  <a:pt x="142875" y="184057"/>
                  <a:pt x="142875" y="171450"/>
                </a:cubicBezTo>
                <a:close/>
                <a:moveTo>
                  <a:pt x="191481" y="148876"/>
                </a:moveTo>
                <a:cubicBezTo>
                  <a:pt x="195476" y="141749"/>
                  <a:pt x="203111" y="137160"/>
                  <a:pt x="211444" y="137160"/>
                </a:cubicBezTo>
                <a:cubicBezTo>
                  <a:pt x="224051" y="137160"/>
                  <a:pt x="234304" y="147413"/>
                  <a:pt x="234304" y="160020"/>
                </a:cubicBezTo>
                <a:cubicBezTo>
                  <a:pt x="234304" y="172627"/>
                  <a:pt x="224051" y="182880"/>
                  <a:pt x="211444" y="182880"/>
                </a:cubicBezTo>
                <a:cubicBezTo>
                  <a:pt x="207032" y="182880"/>
                  <a:pt x="202768" y="181566"/>
                  <a:pt x="199105" y="179211"/>
                </a:cubicBezTo>
                <a:cubicBezTo>
                  <a:pt x="199688" y="176714"/>
                  <a:pt x="200025" y="174125"/>
                  <a:pt x="200025" y="171450"/>
                </a:cubicBezTo>
                <a:cubicBezTo>
                  <a:pt x="200025" y="162803"/>
                  <a:pt x="196785" y="154917"/>
                  <a:pt x="191481" y="148876"/>
                </a:cubicBezTo>
                <a:close/>
                <a:moveTo>
                  <a:pt x="318337" y="142875"/>
                </a:moveTo>
                <a:lnTo>
                  <a:pt x="290939" y="142875"/>
                </a:lnTo>
                <a:cubicBezTo>
                  <a:pt x="288207" y="126684"/>
                  <a:pt x="274126" y="114300"/>
                  <a:pt x="257164" y="114300"/>
                </a:cubicBezTo>
                <a:cubicBezTo>
                  <a:pt x="253197" y="114300"/>
                  <a:pt x="249363" y="115054"/>
                  <a:pt x="245745" y="116346"/>
                </a:cubicBezTo>
                <a:lnTo>
                  <a:pt x="245745" y="108585"/>
                </a:lnTo>
                <a:cubicBezTo>
                  <a:pt x="245745" y="105430"/>
                  <a:pt x="248305" y="102870"/>
                  <a:pt x="251460" y="102870"/>
                </a:cubicBezTo>
                <a:cubicBezTo>
                  <a:pt x="260913" y="102870"/>
                  <a:pt x="268605" y="95178"/>
                  <a:pt x="268605" y="85725"/>
                </a:cubicBezTo>
                <a:lnTo>
                  <a:pt x="268605" y="80010"/>
                </a:lnTo>
                <a:cubicBezTo>
                  <a:pt x="268605" y="76855"/>
                  <a:pt x="271165" y="74295"/>
                  <a:pt x="274320" y="74295"/>
                </a:cubicBezTo>
                <a:lnTo>
                  <a:pt x="289933" y="74295"/>
                </a:lnTo>
                <a:cubicBezTo>
                  <a:pt x="304547" y="94092"/>
                  <a:pt x="314548" y="117478"/>
                  <a:pt x="318337" y="142875"/>
                </a:cubicBezTo>
                <a:close/>
                <a:moveTo>
                  <a:pt x="237195" y="137457"/>
                </a:moveTo>
                <a:cubicBezTo>
                  <a:pt x="241190" y="130325"/>
                  <a:pt x="248837" y="125730"/>
                  <a:pt x="257164" y="125730"/>
                </a:cubicBezTo>
                <a:cubicBezTo>
                  <a:pt x="269771" y="125730"/>
                  <a:pt x="280024" y="135983"/>
                  <a:pt x="280024" y="148590"/>
                </a:cubicBezTo>
                <a:cubicBezTo>
                  <a:pt x="280024" y="161197"/>
                  <a:pt x="269771" y="171450"/>
                  <a:pt x="257164" y="171450"/>
                </a:cubicBezTo>
                <a:cubicBezTo>
                  <a:pt x="252746" y="171450"/>
                  <a:pt x="248482" y="170130"/>
                  <a:pt x="244819" y="167775"/>
                </a:cubicBezTo>
                <a:cubicBezTo>
                  <a:pt x="245396" y="165278"/>
                  <a:pt x="245734" y="162695"/>
                  <a:pt x="245734" y="160020"/>
                </a:cubicBezTo>
                <a:cubicBezTo>
                  <a:pt x="245734" y="151373"/>
                  <a:pt x="242493" y="143492"/>
                  <a:pt x="237195" y="137457"/>
                </a:cubicBezTo>
                <a:close/>
                <a:moveTo>
                  <a:pt x="280624" y="62865"/>
                </a:moveTo>
                <a:lnTo>
                  <a:pt x="274320" y="62865"/>
                </a:lnTo>
                <a:cubicBezTo>
                  <a:pt x="264867" y="62865"/>
                  <a:pt x="257175" y="70557"/>
                  <a:pt x="257175" y="80010"/>
                </a:cubicBezTo>
                <a:lnTo>
                  <a:pt x="257175" y="85725"/>
                </a:lnTo>
                <a:cubicBezTo>
                  <a:pt x="257175" y="88880"/>
                  <a:pt x="254615" y="91440"/>
                  <a:pt x="251460" y="91440"/>
                </a:cubicBezTo>
                <a:cubicBezTo>
                  <a:pt x="242007" y="91440"/>
                  <a:pt x="234315" y="99132"/>
                  <a:pt x="234315" y="108585"/>
                </a:cubicBezTo>
                <a:lnTo>
                  <a:pt x="234315" y="123124"/>
                </a:lnTo>
                <a:cubicBezTo>
                  <a:pt x="232012" y="125181"/>
                  <a:pt x="230017" y="127570"/>
                  <a:pt x="228326" y="130205"/>
                </a:cubicBezTo>
                <a:cubicBezTo>
                  <a:pt x="223336" y="127370"/>
                  <a:pt x="217581" y="125730"/>
                  <a:pt x="211444" y="125730"/>
                </a:cubicBezTo>
                <a:cubicBezTo>
                  <a:pt x="199636" y="125730"/>
                  <a:pt x="188829" y="131937"/>
                  <a:pt x="182611" y="141635"/>
                </a:cubicBezTo>
                <a:cubicBezTo>
                  <a:pt x="179211" y="139703"/>
                  <a:pt x="175445" y="138349"/>
                  <a:pt x="171450" y="137674"/>
                </a:cubicBezTo>
                <a:lnTo>
                  <a:pt x="171450" y="134634"/>
                </a:lnTo>
                <a:cubicBezTo>
                  <a:pt x="171450" y="133691"/>
                  <a:pt x="171856" y="132708"/>
                  <a:pt x="172513" y="132068"/>
                </a:cubicBezTo>
                <a:cubicBezTo>
                  <a:pt x="172947" y="131651"/>
                  <a:pt x="173416" y="131439"/>
                  <a:pt x="173896" y="131439"/>
                </a:cubicBezTo>
                <a:lnTo>
                  <a:pt x="173936" y="131439"/>
                </a:lnTo>
                <a:cubicBezTo>
                  <a:pt x="177822" y="131502"/>
                  <a:pt x="181497" y="130108"/>
                  <a:pt x="184280" y="127393"/>
                </a:cubicBezTo>
                <a:cubicBezTo>
                  <a:pt x="187058" y="124678"/>
                  <a:pt x="188595" y="121049"/>
                  <a:pt x="188595" y="117158"/>
                </a:cubicBezTo>
                <a:cubicBezTo>
                  <a:pt x="188595" y="115586"/>
                  <a:pt x="189881" y="114300"/>
                  <a:pt x="191453" y="114300"/>
                </a:cubicBezTo>
                <a:lnTo>
                  <a:pt x="205740" y="114300"/>
                </a:lnTo>
                <a:cubicBezTo>
                  <a:pt x="215193" y="114300"/>
                  <a:pt x="222885" y="106608"/>
                  <a:pt x="222885" y="97155"/>
                </a:cubicBezTo>
                <a:lnTo>
                  <a:pt x="222885" y="22449"/>
                </a:lnTo>
                <a:cubicBezTo>
                  <a:pt x="245145" y="31358"/>
                  <a:pt x="264867" y="45286"/>
                  <a:pt x="280624" y="62865"/>
                </a:cubicBezTo>
                <a:close/>
                <a:moveTo>
                  <a:pt x="211455" y="18345"/>
                </a:moveTo>
                <a:lnTo>
                  <a:pt x="211455" y="97155"/>
                </a:lnTo>
                <a:cubicBezTo>
                  <a:pt x="211455" y="100310"/>
                  <a:pt x="208895" y="102870"/>
                  <a:pt x="205740" y="102870"/>
                </a:cubicBezTo>
                <a:lnTo>
                  <a:pt x="191453" y="102870"/>
                </a:lnTo>
                <a:cubicBezTo>
                  <a:pt x="183572" y="102870"/>
                  <a:pt x="177165" y="109277"/>
                  <a:pt x="177165" y="117158"/>
                </a:cubicBezTo>
                <a:cubicBezTo>
                  <a:pt x="177165" y="118209"/>
                  <a:pt x="176622" y="118895"/>
                  <a:pt x="176302" y="119203"/>
                </a:cubicBezTo>
                <a:cubicBezTo>
                  <a:pt x="175988" y="119512"/>
                  <a:pt x="175319" y="120015"/>
                  <a:pt x="174308" y="120015"/>
                </a:cubicBezTo>
                <a:cubicBezTo>
                  <a:pt x="174279" y="120015"/>
                  <a:pt x="174250" y="120009"/>
                  <a:pt x="174227" y="120009"/>
                </a:cubicBezTo>
                <a:cubicBezTo>
                  <a:pt x="170644" y="120066"/>
                  <a:pt x="167192" y="121301"/>
                  <a:pt x="164529" y="123890"/>
                </a:cubicBezTo>
                <a:cubicBezTo>
                  <a:pt x="161666" y="126684"/>
                  <a:pt x="160020" y="130605"/>
                  <a:pt x="160020" y="134640"/>
                </a:cubicBezTo>
                <a:lnTo>
                  <a:pt x="160020" y="137680"/>
                </a:lnTo>
                <a:cubicBezTo>
                  <a:pt x="156020" y="138354"/>
                  <a:pt x="152253" y="139709"/>
                  <a:pt x="148853" y="141646"/>
                </a:cubicBezTo>
                <a:cubicBezTo>
                  <a:pt x="142635" y="131937"/>
                  <a:pt x="131822" y="125730"/>
                  <a:pt x="120015" y="125730"/>
                </a:cubicBezTo>
                <a:cubicBezTo>
                  <a:pt x="113877" y="125730"/>
                  <a:pt x="108122" y="127370"/>
                  <a:pt x="103133" y="130211"/>
                </a:cubicBezTo>
                <a:cubicBezTo>
                  <a:pt x="100584" y="126233"/>
                  <a:pt x="97309" y="122821"/>
                  <a:pt x="93446" y="120215"/>
                </a:cubicBezTo>
                <a:cubicBezTo>
                  <a:pt x="93983" y="120124"/>
                  <a:pt x="94520" y="120015"/>
                  <a:pt x="95069" y="120015"/>
                </a:cubicBezTo>
                <a:lnTo>
                  <a:pt x="137160" y="120015"/>
                </a:lnTo>
                <a:cubicBezTo>
                  <a:pt x="146613" y="120015"/>
                  <a:pt x="154305" y="112323"/>
                  <a:pt x="154305" y="102870"/>
                </a:cubicBezTo>
                <a:cubicBezTo>
                  <a:pt x="154305" y="93612"/>
                  <a:pt x="146773" y="85919"/>
                  <a:pt x="137509" y="85725"/>
                </a:cubicBezTo>
                <a:cubicBezTo>
                  <a:pt x="134565" y="85668"/>
                  <a:pt x="131445" y="83805"/>
                  <a:pt x="131445" y="80467"/>
                </a:cubicBezTo>
                <a:lnTo>
                  <a:pt x="131445" y="62734"/>
                </a:lnTo>
                <a:cubicBezTo>
                  <a:pt x="131445" y="60945"/>
                  <a:pt x="130611" y="59259"/>
                  <a:pt x="129176" y="58173"/>
                </a:cubicBezTo>
                <a:cubicBezTo>
                  <a:pt x="123353" y="53778"/>
                  <a:pt x="120015" y="47154"/>
                  <a:pt x="120015" y="40005"/>
                </a:cubicBezTo>
                <a:lnTo>
                  <a:pt x="120015" y="18345"/>
                </a:lnTo>
                <a:cubicBezTo>
                  <a:pt x="134468" y="13853"/>
                  <a:pt x="149824" y="11430"/>
                  <a:pt x="165735" y="11430"/>
                </a:cubicBezTo>
                <a:cubicBezTo>
                  <a:pt x="181646" y="11430"/>
                  <a:pt x="197002" y="13853"/>
                  <a:pt x="211455" y="18345"/>
                </a:cubicBezTo>
                <a:close/>
                <a:moveTo>
                  <a:pt x="45971" y="68580"/>
                </a:moveTo>
                <a:lnTo>
                  <a:pt x="71438" y="68580"/>
                </a:lnTo>
                <a:cubicBezTo>
                  <a:pt x="76164" y="68580"/>
                  <a:pt x="80010" y="72426"/>
                  <a:pt x="80010" y="77153"/>
                </a:cubicBezTo>
                <a:cubicBezTo>
                  <a:pt x="80010" y="81879"/>
                  <a:pt x="76164" y="85725"/>
                  <a:pt x="71438" y="85725"/>
                </a:cubicBezTo>
                <a:lnTo>
                  <a:pt x="60008" y="85725"/>
                </a:lnTo>
                <a:cubicBezTo>
                  <a:pt x="52127" y="85725"/>
                  <a:pt x="45720" y="92132"/>
                  <a:pt x="45720" y="100013"/>
                </a:cubicBezTo>
                <a:cubicBezTo>
                  <a:pt x="45720" y="101584"/>
                  <a:pt x="44434" y="102870"/>
                  <a:pt x="42863" y="102870"/>
                </a:cubicBezTo>
                <a:lnTo>
                  <a:pt x="24872" y="102870"/>
                </a:lnTo>
                <a:cubicBezTo>
                  <a:pt x="30415" y="90497"/>
                  <a:pt x="37519" y="78976"/>
                  <a:pt x="45971" y="68580"/>
                </a:cubicBezTo>
                <a:close/>
                <a:moveTo>
                  <a:pt x="20277" y="114300"/>
                </a:moveTo>
                <a:lnTo>
                  <a:pt x="42863" y="114300"/>
                </a:lnTo>
                <a:cubicBezTo>
                  <a:pt x="50743" y="114300"/>
                  <a:pt x="57150" y="107893"/>
                  <a:pt x="57150" y="100013"/>
                </a:cubicBezTo>
                <a:cubicBezTo>
                  <a:pt x="57150" y="98441"/>
                  <a:pt x="58436" y="97155"/>
                  <a:pt x="60008" y="97155"/>
                </a:cubicBezTo>
                <a:lnTo>
                  <a:pt x="71438" y="97155"/>
                </a:lnTo>
                <a:cubicBezTo>
                  <a:pt x="82467" y="97155"/>
                  <a:pt x="91440" y="88182"/>
                  <a:pt x="91440" y="77153"/>
                </a:cubicBezTo>
                <a:cubicBezTo>
                  <a:pt x="91440" y="66123"/>
                  <a:pt x="82467" y="57150"/>
                  <a:pt x="71438" y="57150"/>
                </a:cubicBezTo>
                <a:lnTo>
                  <a:pt x="56224" y="57150"/>
                </a:lnTo>
                <a:cubicBezTo>
                  <a:pt x="70997" y="42251"/>
                  <a:pt x="88794" y="30370"/>
                  <a:pt x="108585" y="22449"/>
                </a:cubicBezTo>
                <a:lnTo>
                  <a:pt x="108585" y="40005"/>
                </a:lnTo>
                <a:cubicBezTo>
                  <a:pt x="108585" y="49795"/>
                  <a:pt x="112717" y="58910"/>
                  <a:pt x="120015" y="65431"/>
                </a:cubicBezTo>
                <a:lnTo>
                  <a:pt x="120015" y="80467"/>
                </a:lnTo>
                <a:cubicBezTo>
                  <a:pt x="120015" y="89634"/>
                  <a:pt x="127599" y="96966"/>
                  <a:pt x="137280" y="97155"/>
                </a:cubicBezTo>
                <a:cubicBezTo>
                  <a:pt x="140366" y="97218"/>
                  <a:pt x="142875" y="99784"/>
                  <a:pt x="142875" y="102870"/>
                </a:cubicBezTo>
                <a:cubicBezTo>
                  <a:pt x="142875" y="106025"/>
                  <a:pt x="140315" y="108585"/>
                  <a:pt x="137160" y="108585"/>
                </a:cubicBezTo>
                <a:lnTo>
                  <a:pt x="95069" y="108585"/>
                </a:lnTo>
                <a:cubicBezTo>
                  <a:pt x="89371" y="108585"/>
                  <a:pt x="83930" y="110922"/>
                  <a:pt x="80039" y="114820"/>
                </a:cubicBezTo>
                <a:cubicBezTo>
                  <a:pt x="78153" y="114500"/>
                  <a:pt x="76244" y="114300"/>
                  <a:pt x="74295" y="114300"/>
                </a:cubicBezTo>
                <a:cubicBezTo>
                  <a:pt x="55384" y="114300"/>
                  <a:pt x="40005" y="129679"/>
                  <a:pt x="40005" y="148590"/>
                </a:cubicBezTo>
                <a:cubicBezTo>
                  <a:pt x="40005" y="157380"/>
                  <a:pt x="43354" y="165375"/>
                  <a:pt x="48806" y="171450"/>
                </a:cubicBezTo>
                <a:lnTo>
                  <a:pt x="45709" y="171450"/>
                </a:lnTo>
                <a:cubicBezTo>
                  <a:pt x="31272" y="171450"/>
                  <a:pt x="18922" y="180423"/>
                  <a:pt x="13870" y="193076"/>
                </a:cubicBezTo>
                <a:cubicBezTo>
                  <a:pt x="12270" y="184114"/>
                  <a:pt x="11430" y="174988"/>
                  <a:pt x="11430" y="165735"/>
                </a:cubicBezTo>
                <a:cubicBezTo>
                  <a:pt x="11430" y="147704"/>
                  <a:pt x="14568" y="130399"/>
                  <a:pt x="20277" y="114300"/>
                </a:cubicBezTo>
                <a:close/>
                <a:moveTo>
                  <a:pt x="74284" y="274320"/>
                </a:moveTo>
                <a:cubicBezTo>
                  <a:pt x="64831" y="274320"/>
                  <a:pt x="57139" y="282012"/>
                  <a:pt x="57139" y="291465"/>
                </a:cubicBezTo>
                <a:lnTo>
                  <a:pt x="57139" y="314325"/>
                </a:lnTo>
                <a:cubicBezTo>
                  <a:pt x="57139" y="317480"/>
                  <a:pt x="54578" y="320040"/>
                  <a:pt x="51424" y="320040"/>
                </a:cubicBezTo>
                <a:cubicBezTo>
                  <a:pt x="48269" y="320040"/>
                  <a:pt x="45709" y="317480"/>
                  <a:pt x="45709" y="314325"/>
                </a:cubicBezTo>
                <a:lnTo>
                  <a:pt x="45709" y="245745"/>
                </a:lnTo>
                <a:lnTo>
                  <a:pt x="45709" y="205740"/>
                </a:lnTo>
                <a:lnTo>
                  <a:pt x="34279" y="205740"/>
                </a:lnTo>
                <a:lnTo>
                  <a:pt x="34279" y="245745"/>
                </a:lnTo>
                <a:cubicBezTo>
                  <a:pt x="34279" y="248900"/>
                  <a:pt x="31718" y="251460"/>
                  <a:pt x="28564" y="251460"/>
                </a:cubicBezTo>
                <a:cubicBezTo>
                  <a:pt x="25409" y="251460"/>
                  <a:pt x="22849" y="248900"/>
                  <a:pt x="22849" y="245745"/>
                </a:cubicBezTo>
                <a:lnTo>
                  <a:pt x="22849" y="205740"/>
                </a:lnTo>
                <a:cubicBezTo>
                  <a:pt x="22849" y="193133"/>
                  <a:pt x="33101" y="182880"/>
                  <a:pt x="45709" y="182880"/>
                </a:cubicBezTo>
                <a:lnTo>
                  <a:pt x="74284" y="182880"/>
                </a:lnTo>
                <a:lnTo>
                  <a:pt x="74295" y="182880"/>
                </a:lnTo>
                <a:cubicBezTo>
                  <a:pt x="80250" y="182880"/>
                  <a:pt x="86005" y="181268"/>
                  <a:pt x="91109" y="178388"/>
                </a:cubicBezTo>
                <a:cubicBezTo>
                  <a:pt x="92126" y="179983"/>
                  <a:pt x="93269" y="181480"/>
                  <a:pt x="94526" y="182880"/>
                </a:cubicBezTo>
                <a:lnTo>
                  <a:pt x="91429" y="182880"/>
                </a:lnTo>
                <a:cubicBezTo>
                  <a:pt x="72518" y="182880"/>
                  <a:pt x="57139" y="198259"/>
                  <a:pt x="57139" y="217170"/>
                </a:cubicBezTo>
                <a:lnTo>
                  <a:pt x="57139" y="257175"/>
                </a:lnTo>
                <a:cubicBezTo>
                  <a:pt x="57139" y="266628"/>
                  <a:pt x="64831" y="274320"/>
                  <a:pt x="74284" y="274320"/>
                </a:cubicBezTo>
                <a:cubicBezTo>
                  <a:pt x="76295" y="274320"/>
                  <a:pt x="78204" y="273909"/>
                  <a:pt x="79999" y="273268"/>
                </a:cubicBezTo>
                <a:lnTo>
                  <a:pt x="79999" y="275377"/>
                </a:lnTo>
                <a:cubicBezTo>
                  <a:pt x="78204" y="274731"/>
                  <a:pt x="76295" y="274320"/>
                  <a:pt x="74284" y="274320"/>
                </a:cubicBezTo>
                <a:close/>
                <a:moveTo>
                  <a:pt x="120004" y="285750"/>
                </a:moveTo>
                <a:cubicBezTo>
                  <a:pt x="110551" y="285750"/>
                  <a:pt x="102859" y="293442"/>
                  <a:pt x="102859" y="302895"/>
                </a:cubicBezTo>
                <a:lnTo>
                  <a:pt x="102859" y="325755"/>
                </a:lnTo>
                <a:cubicBezTo>
                  <a:pt x="102859" y="328910"/>
                  <a:pt x="100298" y="331470"/>
                  <a:pt x="97144" y="331470"/>
                </a:cubicBezTo>
                <a:cubicBezTo>
                  <a:pt x="93989" y="331470"/>
                  <a:pt x="91429" y="328910"/>
                  <a:pt x="91429" y="325755"/>
                </a:cubicBezTo>
                <a:lnTo>
                  <a:pt x="91429" y="257175"/>
                </a:lnTo>
                <a:lnTo>
                  <a:pt x="91429" y="217170"/>
                </a:lnTo>
                <a:lnTo>
                  <a:pt x="79999" y="217170"/>
                </a:lnTo>
                <a:lnTo>
                  <a:pt x="79999" y="257175"/>
                </a:lnTo>
                <a:cubicBezTo>
                  <a:pt x="79999" y="260330"/>
                  <a:pt x="77438" y="262890"/>
                  <a:pt x="74284" y="262890"/>
                </a:cubicBezTo>
                <a:cubicBezTo>
                  <a:pt x="71129" y="262890"/>
                  <a:pt x="68569" y="260330"/>
                  <a:pt x="68569" y="257175"/>
                </a:cubicBezTo>
                <a:lnTo>
                  <a:pt x="68569" y="217170"/>
                </a:lnTo>
                <a:cubicBezTo>
                  <a:pt x="68569" y="204563"/>
                  <a:pt x="78821" y="194310"/>
                  <a:pt x="91429" y="194310"/>
                </a:cubicBezTo>
                <a:lnTo>
                  <a:pt x="120004" y="194310"/>
                </a:lnTo>
                <a:lnTo>
                  <a:pt x="120015" y="194310"/>
                </a:lnTo>
                <a:cubicBezTo>
                  <a:pt x="125964" y="194310"/>
                  <a:pt x="131725" y="192698"/>
                  <a:pt x="136829" y="189818"/>
                </a:cubicBezTo>
                <a:cubicBezTo>
                  <a:pt x="137846" y="191413"/>
                  <a:pt x="138989" y="192910"/>
                  <a:pt x="140246" y="194310"/>
                </a:cubicBezTo>
                <a:lnTo>
                  <a:pt x="137160" y="194310"/>
                </a:lnTo>
                <a:cubicBezTo>
                  <a:pt x="118249" y="194310"/>
                  <a:pt x="102870" y="209689"/>
                  <a:pt x="102870" y="228600"/>
                </a:cubicBezTo>
                <a:lnTo>
                  <a:pt x="102870" y="268605"/>
                </a:lnTo>
                <a:cubicBezTo>
                  <a:pt x="102870" y="278058"/>
                  <a:pt x="110562" y="285750"/>
                  <a:pt x="120015" y="285750"/>
                </a:cubicBezTo>
                <a:cubicBezTo>
                  <a:pt x="122027" y="285750"/>
                  <a:pt x="123935" y="285339"/>
                  <a:pt x="125730" y="284698"/>
                </a:cubicBezTo>
                <a:lnTo>
                  <a:pt x="125730" y="286807"/>
                </a:lnTo>
                <a:cubicBezTo>
                  <a:pt x="123930" y="286161"/>
                  <a:pt x="122021" y="285750"/>
                  <a:pt x="120004" y="285750"/>
                </a:cubicBezTo>
                <a:close/>
                <a:moveTo>
                  <a:pt x="194310" y="337185"/>
                </a:moveTo>
                <a:cubicBezTo>
                  <a:pt x="194310" y="340340"/>
                  <a:pt x="191750" y="342900"/>
                  <a:pt x="188595" y="342900"/>
                </a:cubicBezTo>
                <a:cubicBezTo>
                  <a:pt x="185440" y="342900"/>
                  <a:pt x="182880" y="340340"/>
                  <a:pt x="182880" y="337185"/>
                </a:cubicBezTo>
                <a:lnTo>
                  <a:pt x="182880" y="314325"/>
                </a:lnTo>
                <a:cubicBezTo>
                  <a:pt x="182880" y="304872"/>
                  <a:pt x="175188" y="297180"/>
                  <a:pt x="165735" y="297180"/>
                </a:cubicBezTo>
                <a:cubicBezTo>
                  <a:pt x="156282" y="297180"/>
                  <a:pt x="148590" y="304872"/>
                  <a:pt x="148590" y="314325"/>
                </a:cubicBezTo>
                <a:lnTo>
                  <a:pt x="148590" y="337185"/>
                </a:lnTo>
                <a:cubicBezTo>
                  <a:pt x="148590" y="340340"/>
                  <a:pt x="146030" y="342900"/>
                  <a:pt x="142875" y="342900"/>
                </a:cubicBezTo>
                <a:cubicBezTo>
                  <a:pt x="139720" y="342900"/>
                  <a:pt x="137160" y="340340"/>
                  <a:pt x="137160" y="337185"/>
                </a:cubicBezTo>
                <a:lnTo>
                  <a:pt x="137160" y="268605"/>
                </a:lnTo>
                <a:lnTo>
                  <a:pt x="137160" y="228600"/>
                </a:lnTo>
                <a:lnTo>
                  <a:pt x="125730" y="228600"/>
                </a:lnTo>
                <a:lnTo>
                  <a:pt x="125730" y="268605"/>
                </a:lnTo>
                <a:cubicBezTo>
                  <a:pt x="125730" y="271760"/>
                  <a:pt x="123170" y="274320"/>
                  <a:pt x="120015" y="274320"/>
                </a:cubicBezTo>
                <a:cubicBezTo>
                  <a:pt x="116860" y="274320"/>
                  <a:pt x="114300" y="271760"/>
                  <a:pt x="114300" y="268605"/>
                </a:cubicBezTo>
                <a:lnTo>
                  <a:pt x="114300" y="228600"/>
                </a:lnTo>
                <a:cubicBezTo>
                  <a:pt x="114300" y="215993"/>
                  <a:pt x="124553" y="205740"/>
                  <a:pt x="137160" y="205740"/>
                </a:cubicBezTo>
                <a:lnTo>
                  <a:pt x="194310" y="205740"/>
                </a:lnTo>
                <a:cubicBezTo>
                  <a:pt x="206917" y="205740"/>
                  <a:pt x="217170" y="215993"/>
                  <a:pt x="217170" y="228600"/>
                </a:cubicBezTo>
                <a:lnTo>
                  <a:pt x="217170" y="268605"/>
                </a:lnTo>
                <a:cubicBezTo>
                  <a:pt x="217170" y="271760"/>
                  <a:pt x="214610" y="274320"/>
                  <a:pt x="211455" y="274320"/>
                </a:cubicBezTo>
                <a:cubicBezTo>
                  <a:pt x="208300" y="274320"/>
                  <a:pt x="205740" y="271760"/>
                  <a:pt x="205740" y="268605"/>
                </a:cubicBezTo>
                <a:lnTo>
                  <a:pt x="205740" y="228600"/>
                </a:lnTo>
                <a:lnTo>
                  <a:pt x="194310" y="228600"/>
                </a:lnTo>
                <a:lnTo>
                  <a:pt x="194310" y="268605"/>
                </a:lnTo>
                <a:close/>
                <a:moveTo>
                  <a:pt x="240030" y="325755"/>
                </a:moveTo>
                <a:cubicBezTo>
                  <a:pt x="240030" y="328910"/>
                  <a:pt x="237470" y="331470"/>
                  <a:pt x="234315" y="331470"/>
                </a:cubicBezTo>
                <a:cubicBezTo>
                  <a:pt x="231160" y="331470"/>
                  <a:pt x="228600" y="328910"/>
                  <a:pt x="228600" y="325755"/>
                </a:cubicBezTo>
                <a:lnTo>
                  <a:pt x="228600" y="302895"/>
                </a:lnTo>
                <a:cubicBezTo>
                  <a:pt x="228600" y="293442"/>
                  <a:pt x="220908" y="285750"/>
                  <a:pt x="211455" y="285750"/>
                </a:cubicBezTo>
                <a:cubicBezTo>
                  <a:pt x="209443" y="285750"/>
                  <a:pt x="207535" y="286161"/>
                  <a:pt x="205740" y="286802"/>
                </a:cubicBezTo>
                <a:lnTo>
                  <a:pt x="205740" y="284693"/>
                </a:lnTo>
                <a:cubicBezTo>
                  <a:pt x="207535" y="285339"/>
                  <a:pt x="209443" y="285750"/>
                  <a:pt x="211455" y="285750"/>
                </a:cubicBezTo>
                <a:cubicBezTo>
                  <a:pt x="220908" y="285750"/>
                  <a:pt x="228600" y="278058"/>
                  <a:pt x="228600" y="268605"/>
                </a:cubicBezTo>
                <a:lnTo>
                  <a:pt x="228600" y="228600"/>
                </a:lnTo>
                <a:cubicBezTo>
                  <a:pt x="228600" y="209689"/>
                  <a:pt x="213221" y="194310"/>
                  <a:pt x="194310" y="194310"/>
                </a:cubicBezTo>
                <a:lnTo>
                  <a:pt x="191224" y="194310"/>
                </a:lnTo>
                <a:cubicBezTo>
                  <a:pt x="192481" y="192910"/>
                  <a:pt x="193624" y="191418"/>
                  <a:pt x="194641" y="189824"/>
                </a:cubicBezTo>
                <a:cubicBezTo>
                  <a:pt x="199739" y="192698"/>
                  <a:pt x="205500" y="194310"/>
                  <a:pt x="211444" y="194310"/>
                </a:cubicBezTo>
                <a:lnTo>
                  <a:pt x="211455" y="194310"/>
                </a:lnTo>
                <a:lnTo>
                  <a:pt x="240030" y="194310"/>
                </a:lnTo>
                <a:cubicBezTo>
                  <a:pt x="252637" y="194310"/>
                  <a:pt x="262890" y="204563"/>
                  <a:pt x="262890" y="217170"/>
                </a:cubicBezTo>
                <a:lnTo>
                  <a:pt x="262890" y="257175"/>
                </a:lnTo>
                <a:cubicBezTo>
                  <a:pt x="262890" y="260330"/>
                  <a:pt x="260330" y="262890"/>
                  <a:pt x="257175" y="262890"/>
                </a:cubicBezTo>
                <a:cubicBezTo>
                  <a:pt x="254020" y="262890"/>
                  <a:pt x="251460" y="260330"/>
                  <a:pt x="251460" y="257175"/>
                </a:cubicBezTo>
                <a:lnTo>
                  <a:pt x="251460" y="217170"/>
                </a:lnTo>
                <a:lnTo>
                  <a:pt x="240030" y="217170"/>
                </a:lnTo>
                <a:lnTo>
                  <a:pt x="240030" y="257175"/>
                </a:lnTo>
                <a:close/>
                <a:moveTo>
                  <a:pt x="308610" y="245745"/>
                </a:moveTo>
                <a:cubicBezTo>
                  <a:pt x="308610" y="248900"/>
                  <a:pt x="306050" y="251460"/>
                  <a:pt x="302895" y="251460"/>
                </a:cubicBezTo>
                <a:cubicBezTo>
                  <a:pt x="299740" y="251460"/>
                  <a:pt x="297180" y="248900"/>
                  <a:pt x="297180" y="245745"/>
                </a:cubicBezTo>
                <a:lnTo>
                  <a:pt x="297180" y="205740"/>
                </a:lnTo>
                <a:lnTo>
                  <a:pt x="285750" y="205740"/>
                </a:lnTo>
                <a:lnTo>
                  <a:pt x="285750" y="245745"/>
                </a:lnTo>
                <a:lnTo>
                  <a:pt x="285750" y="314325"/>
                </a:lnTo>
                <a:cubicBezTo>
                  <a:pt x="285750" y="317480"/>
                  <a:pt x="283190" y="320040"/>
                  <a:pt x="280035" y="320040"/>
                </a:cubicBezTo>
                <a:cubicBezTo>
                  <a:pt x="276880" y="320040"/>
                  <a:pt x="274320" y="317480"/>
                  <a:pt x="274320" y="314325"/>
                </a:cubicBezTo>
                <a:lnTo>
                  <a:pt x="274320" y="291465"/>
                </a:lnTo>
                <a:cubicBezTo>
                  <a:pt x="274320" y="282012"/>
                  <a:pt x="266628" y="274320"/>
                  <a:pt x="257175" y="274320"/>
                </a:cubicBezTo>
                <a:cubicBezTo>
                  <a:pt x="255163" y="274320"/>
                  <a:pt x="253255" y="274731"/>
                  <a:pt x="251460" y="275372"/>
                </a:cubicBezTo>
                <a:lnTo>
                  <a:pt x="251460" y="273263"/>
                </a:lnTo>
                <a:cubicBezTo>
                  <a:pt x="253255" y="273909"/>
                  <a:pt x="255163" y="274320"/>
                  <a:pt x="257175" y="274320"/>
                </a:cubicBezTo>
                <a:cubicBezTo>
                  <a:pt x="266628" y="274320"/>
                  <a:pt x="274320" y="266628"/>
                  <a:pt x="274320" y="257175"/>
                </a:cubicBezTo>
                <a:lnTo>
                  <a:pt x="274320" y="217170"/>
                </a:lnTo>
                <a:cubicBezTo>
                  <a:pt x="274320" y="198259"/>
                  <a:pt x="258941" y="182880"/>
                  <a:pt x="240030" y="182880"/>
                </a:cubicBezTo>
                <a:lnTo>
                  <a:pt x="236932" y="182880"/>
                </a:lnTo>
                <a:cubicBezTo>
                  <a:pt x="238190" y="181480"/>
                  <a:pt x="239339" y="179983"/>
                  <a:pt x="240350" y="178388"/>
                </a:cubicBezTo>
                <a:cubicBezTo>
                  <a:pt x="245454" y="181268"/>
                  <a:pt x="251214" y="182880"/>
                  <a:pt x="257164" y="182880"/>
                </a:cubicBezTo>
                <a:lnTo>
                  <a:pt x="257175" y="182880"/>
                </a:lnTo>
                <a:lnTo>
                  <a:pt x="285750" y="182880"/>
                </a:lnTo>
                <a:cubicBezTo>
                  <a:pt x="298357" y="182880"/>
                  <a:pt x="308610" y="193133"/>
                  <a:pt x="308610" y="20574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565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58" name="Graphic 118">
            <a:extLst>
              <a:ext uri="{FF2B5EF4-FFF2-40B4-BE49-F238E27FC236}">
                <a16:creationId xmlns:a16="http://schemas.microsoft.com/office/drawing/2014/main" id="{2B77398F-1552-4E29-AC45-4B46525A1FFD}"/>
              </a:ext>
            </a:extLst>
          </p:cNvPr>
          <p:cNvGrpSpPr/>
          <p:nvPr/>
        </p:nvGrpSpPr>
        <p:grpSpPr>
          <a:xfrm>
            <a:off x="1948798" y="2831343"/>
            <a:ext cx="532570" cy="532570"/>
            <a:chOff x="5633200" y="4989946"/>
            <a:chExt cx="365760" cy="365760"/>
          </a:xfrm>
          <a:solidFill>
            <a:srgbClr val="1BD7D3"/>
          </a:solidFill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E4654581-6664-4269-BE12-21411414B5D4}"/>
                </a:ext>
              </a:extLst>
            </p:cNvPr>
            <p:cNvSpPr/>
            <p:nvPr/>
          </p:nvSpPr>
          <p:spPr>
            <a:xfrm>
              <a:off x="5712779" y="5121556"/>
              <a:ext cx="35004" cy="16431"/>
            </a:xfrm>
            <a:custGeom>
              <a:avLst/>
              <a:gdLst>
                <a:gd name="connsiteX0" fmla="*/ 33218 w 35004"/>
                <a:gd name="connsiteY0" fmla="*/ 1197 h 16430"/>
                <a:gd name="connsiteX1" fmla="*/ 25683 w 35004"/>
                <a:gd name="connsiteY1" fmla="*/ 1983 h 16430"/>
                <a:gd name="connsiteX2" fmla="*/ 17601 w 35004"/>
                <a:gd name="connsiteY2" fmla="*/ 6122 h 16430"/>
                <a:gd name="connsiteX3" fmla="*/ 9519 w 35004"/>
                <a:gd name="connsiteY3" fmla="*/ 1983 h 16430"/>
                <a:gd name="connsiteX4" fmla="*/ 1983 w 35004"/>
                <a:gd name="connsiteY4" fmla="*/ 1197 h 16430"/>
                <a:gd name="connsiteX5" fmla="*/ 1197 w 35004"/>
                <a:gd name="connsiteY5" fmla="*/ 8733 h 16430"/>
                <a:gd name="connsiteX6" fmla="*/ 17601 w 35004"/>
                <a:gd name="connsiteY6" fmla="*/ 16837 h 16430"/>
                <a:gd name="connsiteX7" fmla="*/ 34005 w 35004"/>
                <a:gd name="connsiteY7" fmla="*/ 8733 h 16430"/>
                <a:gd name="connsiteX8" fmla="*/ 33218 w 35004"/>
                <a:gd name="connsiteY8" fmla="*/ 1197 h 1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004" h="16430">
                  <a:moveTo>
                    <a:pt x="33218" y="1197"/>
                  </a:moveTo>
                  <a:cubicBezTo>
                    <a:pt x="30920" y="-667"/>
                    <a:pt x="27547" y="-316"/>
                    <a:pt x="25683" y="1983"/>
                  </a:cubicBezTo>
                  <a:cubicBezTo>
                    <a:pt x="23518" y="4652"/>
                    <a:pt x="20648" y="6122"/>
                    <a:pt x="17601" y="6122"/>
                  </a:cubicBezTo>
                  <a:cubicBezTo>
                    <a:pt x="14553" y="6122"/>
                    <a:pt x="11684" y="4652"/>
                    <a:pt x="9519" y="1983"/>
                  </a:cubicBezTo>
                  <a:cubicBezTo>
                    <a:pt x="7655" y="-315"/>
                    <a:pt x="4281" y="-666"/>
                    <a:pt x="1983" y="1197"/>
                  </a:cubicBezTo>
                  <a:cubicBezTo>
                    <a:pt x="-315" y="3061"/>
                    <a:pt x="-667" y="6435"/>
                    <a:pt x="1197" y="8733"/>
                  </a:cubicBezTo>
                  <a:cubicBezTo>
                    <a:pt x="5374" y="13883"/>
                    <a:pt x="11353" y="16837"/>
                    <a:pt x="17601" y="16837"/>
                  </a:cubicBezTo>
                  <a:cubicBezTo>
                    <a:pt x="23849" y="16837"/>
                    <a:pt x="29827" y="13883"/>
                    <a:pt x="34005" y="8733"/>
                  </a:cubicBezTo>
                  <a:cubicBezTo>
                    <a:pt x="35869" y="6435"/>
                    <a:pt x="35517" y="3061"/>
                    <a:pt x="33218" y="1197"/>
                  </a:cubicBezTo>
                  <a:close/>
                </a:path>
              </a:pathLst>
            </a:custGeom>
            <a:grpFill/>
            <a:ln w="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5047250-CBE2-4E9A-BC07-7890E76F3DBD}"/>
                </a:ext>
              </a:extLst>
            </p:cNvPr>
            <p:cNvSpPr/>
            <p:nvPr/>
          </p:nvSpPr>
          <p:spPr>
            <a:xfrm>
              <a:off x="5700536" y="5090949"/>
              <a:ext cx="10716" cy="16431"/>
            </a:xfrm>
            <a:custGeom>
              <a:avLst/>
              <a:gdLst>
                <a:gd name="connsiteX0" fmla="*/ 5358 w 10715"/>
                <a:gd name="connsiteY0" fmla="*/ 0 h 16430"/>
                <a:gd name="connsiteX1" fmla="*/ 0 w 10715"/>
                <a:gd name="connsiteY1" fmla="*/ 5358 h 16430"/>
                <a:gd name="connsiteX2" fmla="*/ 0 w 10715"/>
                <a:gd name="connsiteY2" fmla="*/ 11479 h 16430"/>
                <a:gd name="connsiteX3" fmla="*/ 5358 w 10715"/>
                <a:gd name="connsiteY3" fmla="*/ 16837 h 16430"/>
                <a:gd name="connsiteX4" fmla="*/ 10716 w 10715"/>
                <a:gd name="connsiteY4" fmla="*/ 11479 h 16430"/>
                <a:gd name="connsiteX5" fmla="*/ 10716 w 10715"/>
                <a:gd name="connsiteY5" fmla="*/ 5358 h 16430"/>
                <a:gd name="connsiteX6" fmla="*/ 5358 w 10715"/>
                <a:gd name="connsiteY6" fmla="*/ 0 h 1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5" h="16430">
                  <a:moveTo>
                    <a:pt x="5358" y="0"/>
                  </a:moveTo>
                  <a:cubicBezTo>
                    <a:pt x="2399" y="0"/>
                    <a:pt x="0" y="2399"/>
                    <a:pt x="0" y="5358"/>
                  </a:cubicBezTo>
                  <a:lnTo>
                    <a:pt x="0" y="11479"/>
                  </a:lnTo>
                  <a:cubicBezTo>
                    <a:pt x="0" y="14438"/>
                    <a:pt x="2399" y="16837"/>
                    <a:pt x="5358" y="16837"/>
                  </a:cubicBezTo>
                  <a:cubicBezTo>
                    <a:pt x="8317" y="16837"/>
                    <a:pt x="10716" y="14438"/>
                    <a:pt x="10716" y="11479"/>
                  </a:cubicBezTo>
                  <a:lnTo>
                    <a:pt x="10716" y="5358"/>
                  </a:lnTo>
                  <a:cubicBezTo>
                    <a:pt x="10716" y="2399"/>
                    <a:pt x="8317" y="0"/>
                    <a:pt x="5358" y="0"/>
                  </a:cubicBezTo>
                  <a:close/>
                </a:path>
              </a:pathLst>
            </a:custGeom>
            <a:grpFill/>
            <a:ln w="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F6FD2B1-AD77-434A-AD2C-4E126837FCEB}"/>
                </a:ext>
              </a:extLst>
            </p:cNvPr>
            <p:cNvSpPr/>
            <p:nvPr/>
          </p:nvSpPr>
          <p:spPr>
            <a:xfrm>
              <a:off x="5749508" y="5090949"/>
              <a:ext cx="10716" cy="16431"/>
            </a:xfrm>
            <a:custGeom>
              <a:avLst/>
              <a:gdLst>
                <a:gd name="connsiteX0" fmla="*/ 5358 w 10715"/>
                <a:gd name="connsiteY0" fmla="*/ 0 h 16430"/>
                <a:gd name="connsiteX1" fmla="*/ 0 w 10715"/>
                <a:gd name="connsiteY1" fmla="*/ 5358 h 16430"/>
                <a:gd name="connsiteX2" fmla="*/ 0 w 10715"/>
                <a:gd name="connsiteY2" fmla="*/ 11479 h 16430"/>
                <a:gd name="connsiteX3" fmla="*/ 5358 w 10715"/>
                <a:gd name="connsiteY3" fmla="*/ 16837 h 16430"/>
                <a:gd name="connsiteX4" fmla="*/ 10716 w 10715"/>
                <a:gd name="connsiteY4" fmla="*/ 11479 h 16430"/>
                <a:gd name="connsiteX5" fmla="*/ 10716 w 10715"/>
                <a:gd name="connsiteY5" fmla="*/ 5358 h 16430"/>
                <a:gd name="connsiteX6" fmla="*/ 5358 w 10715"/>
                <a:gd name="connsiteY6" fmla="*/ 0 h 1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5" h="16430">
                  <a:moveTo>
                    <a:pt x="5358" y="0"/>
                  </a:moveTo>
                  <a:cubicBezTo>
                    <a:pt x="2399" y="0"/>
                    <a:pt x="0" y="2399"/>
                    <a:pt x="0" y="5358"/>
                  </a:cubicBezTo>
                  <a:lnTo>
                    <a:pt x="0" y="11479"/>
                  </a:lnTo>
                  <a:cubicBezTo>
                    <a:pt x="0" y="14438"/>
                    <a:pt x="2398" y="16837"/>
                    <a:pt x="5358" y="16837"/>
                  </a:cubicBezTo>
                  <a:cubicBezTo>
                    <a:pt x="8317" y="16837"/>
                    <a:pt x="10716" y="14438"/>
                    <a:pt x="10716" y="11479"/>
                  </a:cubicBezTo>
                  <a:lnTo>
                    <a:pt x="10716" y="5358"/>
                  </a:lnTo>
                  <a:cubicBezTo>
                    <a:pt x="10716" y="2399"/>
                    <a:pt x="8317" y="0"/>
                    <a:pt x="5358" y="0"/>
                  </a:cubicBezTo>
                  <a:close/>
                </a:path>
              </a:pathLst>
            </a:custGeom>
            <a:grpFill/>
            <a:ln w="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CB5B76F3-2CBF-4965-89F0-48FC6A1DE213}"/>
                </a:ext>
              </a:extLst>
            </p:cNvPr>
            <p:cNvSpPr/>
            <p:nvPr/>
          </p:nvSpPr>
          <p:spPr>
            <a:xfrm>
              <a:off x="5890302" y="5152162"/>
              <a:ext cx="35004" cy="16431"/>
            </a:xfrm>
            <a:custGeom>
              <a:avLst/>
              <a:gdLst>
                <a:gd name="connsiteX0" fmla="*/ 33218 w 35004"/>
                <a:gd name="connsiteY0" fmla="*/ 1197 h 16430"/>
                <a:gd name="connsiteX1" fmla="*/ 25682 w 35004"/>
                <a:gd name="connsiteY1" fmla="*/ 1983 h 16430"/>
                <a:gd name="connsiteX2" fmla="*/ 17600 w 35004"/>
                <a:gd name="connsiteY2" fmla="*/ 6122 h 16430"/>
                <a:gd name="connsiteX3" fmla="*/ 9519 w 35004"/>
                <a:gd name="connsiteY3" fmla="*/ 1983 h 16430"/>
                <a:gd name="connsiteX4" fmla="*/ 1983 w 35004"/>
                <a:gd name="connsiteY4" fmla="*/ 1197 h 16430"/>
                <a:gd name="connsiteX5" fmla="*/ 1197 w 35004"/>
                <a:gd name="connsiteY5" fmla="*/ 8733 h 16430"/>
                <a:gd name="connsiteX6" fmla="*/ 17600 w 35004"/>
                <a:gd name="connsiteY6" fmla="*/ 16837 h 16430"/>
                <a:gd name="connsiteX7" fmla="*/ 34004 w 35004"/>
                <a:gd name="connsiteY7" fmla="*/ 8733 h 16430"/>
                <a:gd name="connsiteX8" fmla="*/ 33218 w 35004"/>
                <a:gd name="connsiteY8" fmla="*/ 1197 h 1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004" h="16430">
                  <a:moveTo>
                    <a:pt x="33218" y="1197"/>
                  </a:moveTo>
                  <a:cubicBezTo>
                    <a:pt x="30920" y="-667"/>
                    <a:pt x="27546" y="-316"/>
                    <a:pt x="25682" y="1983"/>
                  </a:cubicBezTo>
                  <a:cubicBezTo>
                    <a:pt x="23518" y="4652"/>
                    <a:pt x="20647" y="6122"/>
                    <a:pt x="17600" y="6122"/>
                  </a:cubicBezTo>
                  <a:cubicBezTo>
                    <a:pt x="14553" y="6122"/>
                    <a:pt x="11683" y="4652"/>
                    <a:pt x="9519" y="1983"/>
                  </a:cubicBezTo>
                  <a:cubicBezTo>
                    <a:pt x="7656" y="-315"/>
                    <a:pt x="4281" y="-667"/>
                    <a:pt x="1983" y="1197"/>
                  </a:cubicBezTo>
                  <a:cubicBezTo>
                    <a:pt x="-315" y="3061"/>
                    <a:pt x="-667" y="6435"/>
                    <a:pt x="1197" y="8733"/>
                  </a:cubicBezTo>
                  <a:cubicBezTo>
                    <a:pt x="5373" y="13884"/>
                    <a:pt x="11352" y="16837"/>
                    <a:pt x="17600" y="16837"/>
                  </a:cubicBezTo>
                  <a:cubicBezTo>
                    <a:pt x="23848" y="16837"/>
                    <a:pt x="29827" y="13883"/>
                    <a:pt x="34004" y="8733"/>
                  </a:cubicBezTo>
                  <a:cubicBezTo>
                    <a:pt x="35868" y="6435"/>
                    <a:pt x="35516" y="3061"/>
                    <a:pt x="33218" y="1197"/>
                  </a:cubicBezTo>
                  <a:close/>
                </a:path>
              </a:pathLst>
            </a:custGeom>
            <a:grpFill/>
            <a:ln w="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B2AAAF4-0F40-442C-A094-C46C8B8B7094}"/>
                </a:ext>
              </a:extLst>
            </p:cNvPr>
            <p:cNvSpPr/>
            <p:nvPr/>
          </p:nvSpPr>
          <p:spPr>
            <a:xfrm>
              <a:off x="5878058" y="5121556"/>
              <a:ext cx="10716" cy="16431"/>
            </a:xfrm>
            <a:custGeom>
              <a:avLst/>
              <a:gdLst>
                <a:gd name="connsiteX0" fmla="*/ 5358 w 10715"/>
                <a:gd name="connsiteY0" fmla="*/ 0 h 16430"/>
                <a:gd name="connsiteX1" fmla="*/ 0 w 10715"/>
                <a:gd name="connsiteY1" fmla="*/ 5358 h 16430"/>
                <a:gd name="connsiteX2" fmla="*/ 0 w 10715"/>
                <a:gd name="connsiteY2" fmla="*/ 11479 h 16430"/>
                <a:gd name="connsiteX3" fmla="*/ 5358 w 10715"/>
                <a:gd name="connsiteY3" fmla="*/ 16837 h 16430"/>
                <a:gd name="connsiteX4" fmla="*/ 10716 w 10715"/>
                <a:gd name="connsiteY4" fmla="*/ 11479 h 16430"/>
                <a:gd name="connsiteX5" fmla="*/ 10716 w 10715"/>
                <a:gd name="connsiteY5" fmla="*/ 5358 h 16430"/>
                <a:gd name="connsiteX6" fmla="*/ 5358 w 10715"/>
                <a:gd name="connsiteY6" fmla="*/ 0 h 1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5" h="16430">
                  <a:moveTo>
                    <a:pt x="5358" y="0"/>
                  </a:moveTo>
                  <a:cubicBezTo>
                    <a:pt x="2399" y="0"/>
                    <a:pt x="0" y="2399"/>
                    <a:pt x="0" y="5358"/>
                  </a:cubicBezTo>
                  <a:lnTo>
                    <a:pt x="0" y="11479"/>
                  </a:lnTo>
                  <a:cubicBezTo>
                    <a:pt x="0" y="14438"/>
                    <a:pt x="2399" y="16837"/>
                    <a:pt x="5358" y="16837"/>
                  </a:cubicBezTo>
                  <a:cubicBezTo>
                    <a:pt x="8317" y="16837"/>
                    <a:pt x="10716" y="14438"/>
                    <a:pt x="10716" y="11479"/>
                  </a:cubicBezTo>
                  <a:lnTo>
                    <a:pt x="10716" y="5358"/>
                  </a:lnTo>
                  <a:cubicBezTo>
                    <a:pt x="10716" y="2399"/>
                    <a:pt x="8317" y="0"/>
                    <a:pt x="5358" y="0"/>
                  </a:cubicBezTo>
                  <a:close/>
                </a:path>
              </a:pathLst>
            </a:custGeom>
            <a:grpFill/>
            <a:ln w="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F7E20D0C-B307-4D6A-8908-9D8E27C631A5}"/>
                </a:ext>
              </a:extLst>
            </p:cNvPr>
            <p:cNvSpPr/>
            <p:nvPr/>
          </p:nvSpPr>
          <p:spPr>
            <a:xfrm>
              <a:off x="5927030" y="5121556"/>
              <a:ext cx="10716" cy="16431"/>
            </a:xfrm>
            <a:custGeom>
              <a:avLst/>
              <a:gdLst>
                <a:gd name="connsiteX0" fmla="*/ 5358 w 10715"/>
                <a:gd name="connsiteY0" fmla="*/ 0 h 16430"/>
                <a:gd name="connsiteX1" fmla="*/ 0 w 10715"/>
                <a:gd name="connsiteY1" fmla="*/ 5358 h 16430"/>
                <a:gd name="connsiteX2" fmla="*/ 0 w 10715"/>
                <a:gd name="connsiteY2" fmla="*/ 11479 h 16430"/>
                <a:gd name="connsiteX3" fmla="*/ 5358 w 10715"/>
                <a:gd name="connsiteY3" fmla="*/ 16837 h 16430"/>
                <a:gd name="connsiteX4" fmla="*/ 10716 w 10715"/>
                <a:gd name="connsiteY4" fmla="*/ 11479 h 16430"/>
                <a:gd name="connsiteX5" fmla="*/ 10716 w 10715"/>
                <a:gd name="connsiteY5" fmla="*/ 5358 h 16430"/>
                <a:gd name="connsiteX6" fmla="*/ 5358 w 10715"/>
                <a:gd name="connsiteY6" fmla="*/ 0 h 1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715" h="16430">
                  <a:moveTo>
                    <a:pt x="5358" y="0"/>
                  </a:moveTo>
                  <a:cubicBezTo>
                    <a:pt x="2399" y="0"/>
                    <a:pt x="0" y="2399"/>
                    <a:pt x="0" y="5358"/>
                  </a:cubicBezTo>
                  <a:lnTo>
                    <a:pt x="0" y="11479"/>
                  </a:lnTo>
                  <a:cubicBezTo>
                    <a:pt x="0" y="14438"/>
                    <a:pt x="2398" y="16837"/>
                    <a:pt x="5358" y="16837"/>
                  </a:cubicBezTo>
                  <a:cubicBezTo>
                    <a:pt x="8317" y="16837"/>
                    <a:pt x="10716" y="14438"/>
                    <a:pt x="10716" y="11479"/>
                  </a:cubicBezTo>
                  <a:lnTo>
                    <a:pt x="10716" y="5358"/>
                  </a:lnTo>
                  <a:cubicBezTo>
                    <a:pt x="10716" y="2399"/>
                    <a:pt x="8317" y="0"/>
                    <a:pt x="5358" y="0"/>
                  </a:cubicBezTo>
                  <a:close/>
                </a:path>
              </a:pathLst>
            </a:custGeom>
            <a:grpFill/>
            <a:ln w="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4C9B9A8E-1310-4DCA-9552-4A2F873EAB0D}"/>
                </a:ext>
              </a:extLst>
            </p:cNvPr>
            <p:cNvSpPr/>
            <p:nvPr/>
          </p:nvSpPr>
          <p:spPr>
            <a:xfrm>
              <a:off x="5633200" y="5005248"/>
              <a:ext cx="365046" cy="335042"/>
            </a:xfrm>
            <a:custGeom>
              <a:avLst/>
              <a:gdLst>
                <a:gd name="connsiteX0" fmla="*/ 350848 w 365045"/>
                <a:gd name="connsiteY0" fmla="*/ 222260 h 335041"/>
                <a:gd name="connsiteX1" fmla="*/ 308874 w 365045"/>
                <a:gd name="connsiteY1" fmla="*/ 205470 h 335041"/>
                <a:gd name="connsiteX2" fmla="*/ 308224 w 365045"/>
                <a:gd name="connsiteY2" fmla="*/ 205152 h 335041"/>
                <a:gd name="connsiteX3" fmla="*/ 351555 w 365045"/>
                <a:gd name="connsiteY3" fmla="*/ 187025 h 335041"/>
                <a:gd name="connsiteX4" fmla="*/ 353463 w 365045"/>
                <a:gd name="connsiteY4" fmla="*/ 182123 h 335041"/>
                <a:gd name="connsiteX5" fmla="*/ 347395 w 365045"/>
                <a:gd name="connsiteY5" fmla="*/ 97181 h 335041"/>
                <a:gd name="connsiteX6" fmla="*/ 274701 w 365045"/>
                <a:gd name="connsiteY6" fmla="*/ 24487 h 335041"/>
                <a:gd name="connsiteX7" fmla="*/ 202007 w 365045"/>
                <a:gd name="connsiteY7" fmla="*/ 97181 h 335041"/>
                <a:gd name="connsiteX8" fmla="*/ 200697 w 365045"/>
                <a:gd name="connsiteY8" fmla="*/ 134313 h 335041"/>
                <a:gd name="connsiteX9" fmla="*/ 189001 w 365045"/>
                <a:gd name="connsiteY9" fmla="*/ 140162 h 335041"/>
                <a:gd name="connsiteX10" fmla="*/ 154668 w 365045"/>
                <a:gd name="connsiteY10" fmla="*/ 122996 h 335041"/>
                <a:gd name="connsiteX11" fmla="*/ 154365 w 365045"/>
                <a:gd name="connsiteY11" fmla="*/ 122868 h 335041"/>
                <a:gd name="connsiteX12" fmla="*/ 157458 w 365045"/>
                <a:gd name="connsiteY12" fmla="*/ 107881 h 335041"/>
                <a:gd name="connsiteX13" fmla="*/ 169873 w 365045"/>
                <a:gd name="connsiteY13" fmla="*/ 91059 h 335041"/>
                <a:gd name="connsiteX14" fmla="*/ 163751 w 365045"/>
                <a:gd name="connsiteY14" fmla="*/ 77734 h 335041"/>
                <a:gd name="connsiteX15" fmla="*/ 163751 w 365045"/>
                <a:gd name="connsiteY15" fmla="*/ 42087 h 335041"/>
                <a:gd name="connsiteX16" fmla="*/ 150616 w 365045"/>
                <a:gd name="connsiteY16" fmla="*/ 17489 h 335041"/>
                <a:gd name="connsiteX17" fmla="*/ 127786 w 365045"/>
                <a:gd name="connsiteY17" fmla="*/ 0 h 335041"/>
                <a:gd name="connsiteX18" fmla="*/ 78814 w 365045"/>
                <a:gd name="connsiteY18" fmla="*/ 0 h 335041"/>
                <a:gd name="connsiteX19" fmla="*/ 30606 w 365045"/>
                <a:gd name="connsiteY19" fmla="*/ 48208 h 335041"/>
                <a:gd name="connsiteX20" fmla="*/ 30606 w 365045"/>
                <a:gd name="connsiteY20" fmla="*/ 77733 h 335041"/>
                <a:gd name="connsiteX21" fmla="*/ 24484 w 365045"/>
                <a:gd name="connsiteY21" fmla="*/ 91059 h 335041"/>
                <a:gd name="connsiteX22" fmla="*/ 36899 w 365045"/>
                <a:gd name="connsiteY22" fmla="*/ 107880 h 335041"/>
                <a:gd name="connsiteX23" fmla="*/ 61213 w 365045"/>
                <a:gd name="connsiteY23" fmla="*/ 151843 h 335041"/>
                <a:gd name="connsiteX24" fmla="*/ 61213 w 365045"/>
                <a:gd name="connsiteY24" fmla="*/ 166652 h 335041"/>
                <a:gd name="connsiteX25" fmla="*/ 16905 w 365045"/>
                <a:gd name="connsiteY25" fmla="*/ 179944 h 335041"/>
                <a:gd name="connsiteX26" fmla="*/ 0 w 365045"/>
                <a:gd name="connsiteY26" fmla="*/ 202665 h 335041"/>
                <a:gd name="connsiteX27" fmla="*/ 0 w 365045"/>
                <a:gd name="connsiteY27" fmla="*/ 262459 h 335041"/>
                <a:gd name="connsiteX28" fmla="*/ 5358 w 365045"/>
                <a:gd name="connsiteY28" fmla="*/ 267817 h 335041"/>
                <a:gd name="connsiteX29" fmla="*/ 6121 w 365045"/>
                <a:gd name="connsiteY29" fmla="*/ 267817 h 335041"/>
                <a:gd name="connsiteX30" fmla="*/ 6121 w 365045"/>
                <a:gd name="connsiteY30" fmla="*/ 329796 h 335041"/>
                <a:gd name="connsiteX31" fmla="*/ 11479 w 365045"/>
                <a:gd name="connsiteY31" fmla="*/ 335153 h 335041"/>
                <a:gd name="connsiteX32" fmla="*/ 16837 w 365045"/>
                <a:gd name="connsiteY32" fmla="*/ 329796 h 335041"/>
                <a:gd name="connsiteX33" fmla="*/ 16837 w 365045"/>
                <a:gd name="connsiteY33" fmla="*/ 267817 h 335041"/>
                <a:gd name="connsiteX34" fmla="*/ 36729 w 365045"/>
                <a:gd name="connsiteY34" fmla="*/ 267817 h 335041"/>
                <a:gd name="connsiteX35" fmla="*/ 36729 w 365045"/>
                <a:gd name="connsiteY35" fmla="*/ 329796 h 335041"/>
                <a:gd name="connsiteX36" fmla="*/ 42087 w 365045"/>
                <a:gd name="connsiteY36" fmla="*/ 335153 h 335041"/>
                <a:gd name="connsiteX37" fmla="*/ 47445 w 365045"/>
                <a:gd name="connsiteY37" fmla="*/ 329796 h 335041"/>
                <a:gd name="connsiteX38" fmla="*/ 47445 w 365045"/>
                <a:gd name="connsiteY38" fmla="*/ 237413 h 335041"/>
                <a:gd name="connsiteX39" fmla="*/ 43460 w 365045"/>
                <a:gd name="connsiteY39" fmla="*/ 224254 h 335041"/>
                <a:gd name="connsiteX40" fmla="*/ 34302 w 365045"/>
                <a:gd name="connsiteY40" fmla="*/ 210516 h 335041"/>
                <a:gd name="connsiteX41" fmla="*/ 26873 w 365045"/>
                <a:gd name="connsiteY41" fmla="*/ 209030 h 335041"/>
                <a:gd name="connsiteX42" fmla="*/ 25387 w 365045"/>
                <a:gd name="connsiteY42" fmla="*/ 216460 h 335041"/>
                <a:gd name="connsiteX43" fmla="*/ 34545 w 365045"/>
                <a:gd name="connsiteY43" fmla="*/ 230198 h 335041"/>
                <a:gd name="connsiteX44" fmla="*/ 36730 w 365045"/>
                <a:gd name="connsiteY44" fmla="*/ 237413 h 335041"/>
                <a:gd name="connsiteX45" fmla="*/ 36730 w 365045"/>
                <a:gd name="connsiteY45" fmla="*/ 257101 h 335041"/>
                <a:gd name="connsiteX46" fmla="*/ 11479 w 365045"/>
                <a:gd name="connsiteY46" fmla="*/ 257101 h 335041"/>
                <a:gd name="connsiteX47" fmla="*/ 10716 w 365045"/>
                <a:gd name="connsiteY47" fmla="*/ 257101 h 335041"/>
                <a:gd name="connsiteX48" fmla="*/ 10716 w 365045"/>
                <a:gd name="connsiteY48" fmla="*/ 202665 h 335041"/>
                <a:gd name="connsiteX49" fmla="*/ 19985 w 365045"/>
                <a:gd name="connsiteY49" fmla="*/ 190207 h 335041"/>
                <a:gd name="connsiteX50" fmla="*/ 38378 w 365045"/>
                <a:gd name="connsiteY50" fmla="*/ 184690 h 335041"/>
                <a:gd name="connsiteX51" fmla="*/ 97180 w 365045"/>
                <a:gd name="connsiteY51" fmla="*/ 231088 h 335041"/>
                <a:gd name="connsiteX52" fmla="*/ 125829 w 365045"/>
                <a:gd name="connsiteY52" fmla="*/ 223869 h 335041"/>
                <a:gd name="connsiteX53" fmla="*/ 140030 w 365045"/>
                <a:gd name="connsiteY53" fmla="*/ 231088 h 335041"/>
                <a:gd name="connsiteX54" fmla="*/ 140793 w 365045"/>
                <a:gd name="connsiteY54" fmla="*/ 231088 h 335041"/>
                <a:gd name="connsiteX55" fmla="*/ 140793 w 365045"/>
                <a:gd name="connsiteY55" fmla="*/ 231852 h 335041"/>
                <a:gd name="connsiteX56" fmla="*/ 165279 w 365045"/>
                <a:gd name="connsiteY56" fmla="*/ 273794 h 335041"/>
                <a:gd name="connsiteX57" fmla="*/ 165279 w 365045"/>
                <a:gd name="connsiteY57" fmla="*/ 282533 h 335041"/>
                <a:gd name="connsiteX58" fmla="*/ 164757 w 365045"/>
                <a:gd name="connsiteY58" fmla="*/ 283258 h 335041"/>
                <a:gd name="connsiteX59" fmla="*/ 144771 w 365045"/>
                <a:gd name="connsiteY59" fmla="*/ 289920 h 335041"/>
                <a:gd name="connsiteX60" fmla="*/ 128550 w 365045"/>
                <a:gd name="connsiteY60" fmla="*/ 312425 h 335041"/>
                <a:gd name="connsiteX61" fmla="*/ 128550 w 365045"/>
                <a:gd name="connsiteY61" fmla="*/ 329796 h 335041"/>
                <a:gd name="connsiteX62" fmla="*/ 133908 w 365045"/>
                <a:gd name="connsiteY62" fmla="*/ 335153 h 335041"/>
                <a:gd name="connsiteX63" fmla="*/ 139266 w 365045"/>
                <a:gd name="connsiteY63" fmla="*/ 329796 h 335041"/>
                <a:gd name="connsiteX64" fmla="*/ 139266 w 365045"/>
                <a:gd name="connsiteY64" fmla="*/ 312425 h 335041"/>
                <a:gd name="connsiteX65" fmla="*/ 148159 w 365045"/>
                <a:gd name="connsiteY65" fmla="*/ 300086 h 335041"/>
                <a:gd name="connsiteX66" fmla="*/ 154036 w 365045"/>
                <a:gd name="connsiteY66" fmla="*/ 298127 h 335041"/>
                <a:gd name="connsiteX67" fmla="*/ 189001 w 365045"/>
                <a:gd name="connsiteY67" fmla="*/ 316790 h 335041"/>
                <a:gd name="connsiteX68" fmla="*/ 223967 w 365045"/>
                <a:gd name="connsiteY68" fmla="*/ 298127 h 335041"/>
                <a:gd name="connsiteX69" fmla="*/ 229842 w 365045"/>
                <a:gd name="connsiteY69" fmla="*/ 300086 h 335041"/>
                <a:gd name="connsiteX70" fmla="*/ 238736 w 365045"/>
                <a:gd name="connsiteY70" fmla="*/ 312425 h 335041"/>
                <a:gd name="connsiteX71" fmla="*/ 238736 w 365045"/>
                <a:gd name="connsiteY71" fmla="*/ 329796 h 335041"/>
                <a:gd name="connsiteX72" fmla="*/ 244093 w 365045"/>
                <a:gd name="connsiteY72" fmla="*/ 335153 h 335041"/>
                <a:gd name="connsiteX73" fmla="*/ 249451 w 365045"/>
                <a:gd name="connsiteY73" fmla="*/ 329796 h 335041"/>
                <a:gd name="connsiteX74" fmla="*/ 249451 w 365045"/>
                <a:gd name="connsiteY74" fmla="*/ 312425 h 335041"/>
                <a:gd name="connsiteX75" fmla="*/ 233231 w 365045"/>
                <a:gd name="connsiteY75" fmla="*/ 289921 h 335041"/>
                <a:gd name="connsiteX76" fmla="*/ 213245 w 365045"/>
                <a:gd name="connsiteY76" fmla="*/ 283258 h 335041"/>
                <a:gd name="connsiteX77" fmla="*/ 212722 w 365045"/>
                <a:gd name="connsiteY77" fmla="*/ 282534 h 335041"/>
                <a:gd name="connsiteX78" fmla="*/ 212722 w 365045"/>
                <a:gd name="connsiteY78" fmla="*/ 273795 h 335041"/>
                <a:gd name="connsiteX79" fmla="*/ 235406 w 365045"/>
                <a:gd name="connsiteY79" fmla="*/ 244876 h 335041"/>
                <a:gd name="connsiteX80" fmla="*/ 274700 w 365045"/>
                <a:gd name="connsiteY80" fmla="*/ 261697 h 335041"/>
                <a:gd name="connsiteX81" fmla="*/ 326414 w 365045"/>
                <a:gd name="connsiteY81" fmla="*/ 224029 h 335041"/>
                <a:gd name="connsiteX82" fmla="*/ 346866 w 365045"/>
                <a:gd name="connsiteY82" fmla="*/ 232210 h 335041"/>
                <a:gd name="connsiteX83" fmla="*/ 355042 w 365045"/>
                <a:gd name="connsiteY83" fmla="*/ 244286 h 335041"/>
                <a:gd name="connsiteX84" fmla="*/ 355042 w 365045"/>
                <a:gd name="connsiteY84" fmla="*/ 269345 h 335041"/>
                <a:gd name="connsiteX85" fmla="*/ 354279 w 365045"/>
                <a:gd name="connsiteY85" fmla="*/ 269345 h 335041"/>
                <a:gd name="connsiteX86" fmla="*/ 335150 w 365045"/>
                <a:gd name="connsiteY86" fmla="*/ 269345 h 335041"/>
                <a:gd name="connsiteX87" fmla="*/ 335150 w 365045"/>
                <a:gd name="connsiteY87" fmla="*/ 262460 h 335041"/>
                <a:gd name="connsiteX88" fmla="*/ 329793 w 365045"/>
                <a:gd name="connsiteY88" fmla="*/ 257102 h 335041"/>
                <a:gd name="connsiteX89" fmla="*/ 324435 w 365045"/>
                <a:gd name="connsiteY89" fmla="*/ 262460 h 335041"/>
                <a:gd name="connsiteX90" fmla="*/ 324435 w 365045"/>
                <a:gd name="connsiteY90" fmla="*/ 329796 h 335041"/>
                <a:gd name="connsiteX91" fmla="*/ 329793 w 365045"/>
                <a:gd name="connsiteY91" fmla="*/ 335154 h 335041"/>
                <a:gd name="connsiteX92" fmla="*/ 335150 w 365045"/>
                <a:gd name="connsiteY92" fmla="*/ 329796 h 335041"/>
                <a:gd name="connsiteX93" fmla="*/ 335150 w 365045"/>
                <a:gd name="connsiteY93" fmla="*/ 280061 h 335041"/>
                <a:gd name="connsiteX94" fmla="*/ 348921 w 365045"/>
                <a:gd name="connsiteY94" fmla="*/ 280061 h 335041"/>
                <a:gd name="connsiteX95" fmla="*/ 348921 w 365045"/>
                <a:gd name="connsiteY95" fmla="*/ 329796 h 335041"/>
                <a:gd name="connsiteX96" fmla="*/ 354279 w 365045"/>
                <a:gd name="connsiteY96" fmla="*/ 335154 h 335041"/>
                <a:gd name="connsiteX97" fmla="*/ 359636 w 365045"/>
                <a:gd name="connsiteY97" fmla="*/ 329796 h 335041"/>
                <a:gd name="connsiteX98" fmla="*/ 359636 w 365045"/>
                <a:gd name="connsiteY98" fmla="*/ 280061 h 335041"/>
                <a:gd name="connsiteX99" fmla="*/ 360400 w 365045"/>
                <a:gd name="connsiteY99" fmla="*/ 280061 h 335041"/>
                <a:gd name="connsiteX100" fmla="*/ 364188 w 365045"/>
                <a:gd name="connsiteY100" fmla="*/ 278492 h 335041"/>
                <a:gd name="connsiteX101" fmla="*/ 365758 w 365045"/>
                <a:gd name="connsiteY101" fmla="*/ 274703 h 335041"/>
                <a:gd name="connsiteX102" fmla="*/ 365758 w 365045"/>
                <a:gd name="connsiteY102" fmla="*/ 244286 h 335041"/>
                <a:gd name="connsiteX103" fmla="*/ 350848 w 365045"/>
                <a:gd name="connsiteY103" fmla="*/ 222260 h 335041"/>
                <a:gd name="connsiteX104" fmla="*/ 212724 w 365045"/>
                <a:gd name="connsiteY104" fmla="*/ 97180 h 335041"/>
                <a:gd name="connsiteX105" fmla="*/ 274702 w 365045"/>
                <a:gd name="connsiteY105" fmla="*/ 35202 h 335041"/>
                <a:gd name="connsiteX106" fmla="*/ 336680 w 365045"/>
                <a:gd name="connsiteY106" fmla="*/ 97180 h 335041"/>
                <a:gd name="connsiteX107" fmla="*/ 342421 w 365045"/>
                <a:gd name="connsiteY107" fmla="*/ 180390 h 335041"/>
                <a:gd name="connsiteX108" fmla="*/ 304546 w 365045"/>
                <a:gd name="connsiteY108" fmla="*/ 194995 h 335041"/>
                <a:gd name="connsiteX109" fmla="*/ 304546 w 365045"/>
                <a:gd name="connsiteY109" fmla="*/ 186469 h 335041"/>
                <a:gd name="connsiteX110" fmla="*/ 312678 w 365045"/>
                <a:gd name="connsiteY110" fmla="*/ 180945 h 335041"/>
                <a:gd name="connsiteX111" fmla="*/ 333655 w 365045"/>
                <a:gd name="connsiteY111" fmla="*/ 147339 h 335041"/>
                <a:gd name="connsiteX112" fmla="*/ 335153 w 365045"/>
                <a:gd name="connsiteY112" fmla="*/ 133910 h 335041"/>
                <a:gd name="connsiteX113" fmla="*/ 292073 w 365045"/>
                <a:gd name="connsiteY113" fmla="*/ 95074 h 335041"/>
                <a:gd name="connsiteX114" fmla="*/ 253564 w 365045"/>
                <a:gd name="connsiteY114" fmla="*/ 80754 h 335041"/>
                <a:gd name="connsiteX115" fmla="*/ 247896 w 365045"/>
                <a:gd name="connsiteY115" fmla="*/ 80109 h 335041"/>
                <a:gd name="connsiteX116" fmla="*/ 244859 w 365045"/>
                <a:gd name="connsiteY116" fmla="*/ 84938 h 335041"/>
                <a:gd name="connsiteX117" fmla="*/ 224432 w 365045"/>
                <a:gd name="connsiteY117" fmla="*/ 104227 h 335041"/>
                <a:gd name="connsiteX118" fmla="*/ 220533 w 365045"/>
                <a:gd name="connsiteY118" fmla="*/ 110725 h 335041"/>
                <a:gd name="connsiteX119" fmla="*/ 227031 w 365045"/>
                <a:gd name="connsiteY119" fmla="*/ 114623 h 335041"/>
                <a:gd name="connsiteX120" fmla="*/ 253640 w 365045"/>
                <a:gd name="connsiteY120" fmla="*/ 93792 h 335041"/>
                <a:gd name="connsiteX121" fmla="*/ 289986 w 365045"/>
                <a:gd name="connsiteY121" fmla="*/ 105585 h 335041"/>
                <a:gd name="connsiteX122" fmla="*/ 324438 w 365045"/>
                <a:gd name="connsiteY122" fmla="*/ 133910 h 335041"/>
                <a:gd name="connsiteX123" fmla="*/ 323205 w 365045"/>
                <a:gd name="connsiteY123" fmla="*/ 144969 h 335041"/>
                <a:gd name="connsiteX124" fmla="*/ 305942 w 365045"/>
                <a:gd name="connsiteY124" fmla="*/ 172612 h 335041"/>
                <a:gd name="connsiteX125" fmla="*/ 274702 w 365045"/>
                <a:gd name="connsiteY125" fmla="*/ 183645 h 335041"/>
                <a:gd name="connsiteX126" fmla="*/ 245756 w 365045"/>
                <a:gd name="connsiteY126" fmla="*/ 174348 h 335041"/>
                <a:gd name="connsiteX127" fmla="*/ 231088 w 365045"/>
                <a:gd name="connsiteY127" fmla="*/ 151738 h 335041"/>
                <a:gd name="connsiteX128" fmla="*/ 231088 w 365045"/>
                <a:gd name="connsiteY128" fmla="*/ 127789 h 335041"/>
                <a:gd name="connsiteX129" fmla="*/ 228547 w 365045"/>
                <a:gd name="connsiteY129" fmla="*/ 123231 h 335041"/>
                <a:gd name="connsiteX130" fmla="*/ 223334 w 365045"/>
                <a:gd name="connsiteY130" fmla="*/ 122997 h 335041"/>
                <a:gd name="connsiteX131" fmla="*/ 211766 w 365045"/>
                <a:gd name="connsiteY131" fmla="*/ 128780 h 335041"/>
                <a:gd name="connsiteX132" fmla="*/ 212724 w 365045"/>
                <a:gd name="connsiteY132" fmla="*/ 97180 h 335041"/>
                <a:gd name="connsiteX133" fmla="*/ 220373 w 365045"/>
                <a:gd name="connsiteY133" fmla="*/ 136456 h 335041"/>
                <a:gd name="connsiteX134" fmla="*/ 220373 w 365045"/>
                <a:gd name="connsiteY134" fmla="*/ 155847 h 335041"/>
                <a:gd name="connsiteX135" fmla="*/ 200982 w 365045"/>
                <a:gd name="connsiteY135" fmla="*/ 146152 h 335041"/>
                <a:gd name="connsiteX136" fmla="*/ 220373 w 365045"/>
                <a:gd name="connsiteY136" fmla="*/ 136456 h 335041"/>
                <a:gd name="connsiteX137" fmla="*/ 157630 w 365045"/>
                <a:gd name="connsiteY137" fmla="*/ 136456 h 335041"/>
                <a:gd name="connsiteX138" fmla="*/ 177021 w 365045"/>
                <a:gd name="connsiteY138" fmla="*/ 146152 h 335041"/>
                <a:gd name="connsiteX139" fmla="*/ 157630 w 365045"/>
                <a:gd name="connsiteY139" fmla="*/ 155847 h 335041"/>
                <a:gd name="connsiteX140" fmla="*/ 157630 w 365045"/>
                <a:gd name="connsiteY140" fmla="*/ 136456 h 335041"/>
                <a:gd name="connsiteX141" fmla="*/ 128550 w 365045"/>
                <a:gd name="connsiteY141" fmla="*/ 195123 h 335041"/>
                <a:gd name="connsiteX142" fmla="*/ 128550 w 365045"/>
                <a:gd name="connsiteY142" fmla="*/ 200211 h 335041"/>
                <a:gd name="connsiteX143" fmla="*/ 122429 w 365045"/>
                <a:gd name="connsiteY143" fmla="*/ 213487 h 335041"/>
                <a:gd name="connsiteX144" fmla="*/ 97179 w 365045"/>
                <a:gd name="connsiteY144" fmla="*/ 220373 h 335041"/>
                <a:gd name="connsiteX145" fmla="*/ 48666 w 365045"/>
                <a:gd name="connsiteY145" fmla="*/ 181603 h 335041"/>
                <a:gd name="connsiteX146" fmla="*/ 61903 w 365045"/>
                <a:gd name="connsiteY146" fmla="*/ 177632 h 335041"/>
                <a:gd name="connsiteX147" fmla="*/ 97180 w 365045"/>
                <a:gd name="connsiteY147" fmla="*/ 206602 h 335041"/>
                <a:gd name="connsiteX148" fmla="*/ 129070 w 365045"/>
                <a:gd name="connsiteY148" fmla="*/ 187234 h 335041"/>
                <a:gd name="connsiteX149" fmla="*/ 128550 w 365045"/>
                <a:gd name="connsiteY149" fmla="*/ 195123 h 335041"/>
                <a:gd name="connsiteX150" fmla="*/ 71930 w 365045"/>
                <a:gd name="connsiteY150" fmla="*/ 170628 h 335041"/>
                <a:gd name="connsiteX151" fmla="*/ 71930 w 365045"/>
                <a:gd name="connsiteY151" fmla="*/ 158218 h 335041"/>
                <a:gd name="connsiteX152" fmla="*/ 97180 w 365045"/>
                <a:gd name="connsiteY152" fmla="*/ 163752 h 335041"/>
                <a:gd name="connsiteX153" fmla="*/ 122430 w 365045"/>
                <a:gd name="connsiteY153" fmla="*/ 158218 h 335041"/>
                <a:gd name="connsiteX154" fmla="*/ 122430 w 365045"/>
                <a:gd name="connsiteY154" fmla="*/ 170636 h 335041"/>
                <a:gd name="connsiteX155" fmla="*/ 97180 w 365045"/>
                <a:gd name="connsiteY155" fmla="*/ 195886 h 335041"/>
                <a:gd name="connsiteX156" fmla="*/ 71932 w 365045"/>
                <a:gd name="connsiteY156" fmla="*/ 170705 h 335041"/>
                <a:gd name="connsiteX157" fmla="*/ 71930 w 365045"/>
                <a:gd name="connsiteY157" fmla="*/ 170628 h 335041"/>
                <a:gd name="connsiteX158" fmla="*/ 97180 w 365045"/>
                <a:gd name="connsiteY158" fmla="*/ 153036 h 335041"/>
                <a:gd name="connsiteX159" fmla="*/ 47445 w 365045"/>
                <a:gd name="connsiteY159" fmla="*/ 103301 h 335041"/>
                <a:gd name="connsiteX160" fmla="*/ 42087 w 365045"/>
                <a:gd name="connsiteY160" fmla="*/ 97944 h 335041"/>
                <a:gd name="connsiteX161" fmla="*/ 35202 w 365045"/>
                <a:gd name="connsiteY161" fmla="*/ 91059 h 335041"/>
                <a:gd name="connsiteX162" fmla="*/ 42087 w 365045"/>
                <a:gd name="connsiteY162" fmla="*/ 84173 h 335041"/>
                <a:gd name="connsiteX163" fmla="*/ 54330 w 365045"/>
                <a:gd name="connsiteY163" fmla="*/ 84173 h 335041"/>
                <a:gd name="connsiteX164" fmla="*/ 59412 w 365045"/>
                <a:gd name="connsiteY164" fmla="*/ 80510 h 335041"/>
                <a:gd name="connsiteX165" fmla="*/ 64330 w 365045"/>
                <a:gd name="connsiteY165" fmla="*/ 65757 h 335041"/>
                <a:gd name="connsiteX166" fmla="*/ 136304 w 365045"/>
                <a:gd name="connsiteY166" fmla="*/ 53001 h 335041"/>
                <a:gd name="connsiteX167" fmla="*/ 138700 w 365045"/>
                <a:gd name="connsiteY167" fmla="*/ 45813 h 335041"/>
                <a:gd name="connsiteX168" fmla="*/ 131512 w 365045"/>
                <a:gd name="connsiteY168" fmla="*/ 43417 h 335041"/>
                <a:gd name="connsiteX169" fmla="*/ 60450 w 365045"/>
                <a:gd name="connsiteY169" fmla="*/ 55094 h 335041"/>
                <a:gd name="connsiteX170" fmla="*/ 55368 w 365045"/>
                <a:gd name="connsiteY170" fmla="*/ 58758 h 335041"/>
                <a:gd name="connsiteX171" fmla="*/ 50468 w 365045"/>
                <a:gd name="connsiteY171" fmla="*/ 73458 h 335041"/>
                <a:gd name="connsiteX172" fmla="*/ 42087 w 365045"/>
                <a:gd name="connsiteY172" fmla="*/ 73458 h 335041"/>
                <a:gd name="connsiteX173" fmla="*/ 41323 w 365045"/>
                <a:gd name="connsiteY173" fmla="*/ 73478 h 335041"/>
                <a:gd name="connsiteX174" fmla="*/ 41323 w 365045"/>
                <a:gd name="connsiteY174" fmla="*/ 48208 h 335041"/>
                <a:gd name="connsiteX175" fmla="*/ 78816 w 365045"/>
                <a:gd name="connsiteY175" fmla="*/ 10716 h 335041"/>
                <a:gd name="connsiteX176" fmla="*/ 127787 w 365045"/>
                <a:gd name="connsiteY176" fmla="*/ 10716 h 335041"/>
                <a:gd name="connsiteX177" fmla="*/ 140570 w 365045"/>
                <a:gd name="connsiteY177" fmla="*/ 21679 h 335041"/>
                <a:gd name="connsiteX178" fmla="*/ 143229 w 365045"/>
                <a:gd name="connsiteY178" fmla="*/ 25505 h 335041"/>
                <a:gd name="connsiteX179" fmla="*/ 153037 w 365045"/>
                <a:gd name="connsiteY179" fmla="*/ 42086 h 335041"/>
                <a:gd name="connsiteX180" fmla="*/ 153037 w 365045"/>
                <a:gd name="connsiteY180" fmla="*/ 73476 h 335041"/>
                <a:gd name="connsiteX181" fmla="*/ 152273 w 365045"/>
                <a:gd name="connsiteY181" fmla="*/ 73457 h 335041"/>
                <a:gd name="connsiteX182" fmla="*/ 146152 w 365045"/>
                <a:gd name="connsiteY182" fmla="*/ 73457 h 335041"/>
                <a:gd name="connsiteX183" fmla="*/ 140794 w 365045"/>
                <a:gd name="connsiteY183" fmla="*/ 78815 h 335041"/>
                <a:gd name="connsiteX184" fmla="*/ 146152 w 365045"/>
                <a:gd name="connsiteY184" fmla="*/ 84173 h 335041"/>
                <a:gd name="connsiteX185" fmla="*/ 152273 w 365045"/>
                <a:gd name="connsiteY185" fmla="*/ 84173 h 335041"/>
                <a:gd name="connsiteX186" fmla="*/ 159158 w 365045"/>
                <a:gd name="connsiteY186" fmla="*/ 91058 h 335041"/>
                <a:gd name="connsiteX187" fmla="*/ 152273 w 365045"/>
                <a:gd name="connsiteY187" fmla="*/ 97943 h 335041"/>
                <a:gd name="connsiteX188" fmla="*/ 146916 w 365045"/>
                <a:gd name="connsiteY188" fmla="*/ 103301 h 335041"/>
                <a:gd name="connsiteX189" fmla="*/ 97180 w 365045"/>
                <a:gd name="connsiteY189" fmla="*/ 153036 h 335041"/>
                <a:gd name="connsiteX190" fmla="*/ 133145 w 365045"/>
                <a:gd name="connsiteY190" fmla="*/ 170638 h 335041"/>
                <a:gd name="connsiteX191" fmla="*/ 133145 w 365045"/>
                <a:gd name="connsiteY191" fmla="*/ 151843 h 335041"/>
                <a:gd name="connsiteX192" fmla="*/ 146915 w 365045"/>
                <a:gd name="connsiteY192" fmla="*/ 137606 h 335041"/>
                <a:gd name="connsiteX193" fmla="*/ 146915 w 365045"/>
                <a:gd name="connsiteY193" fmla="*/ 151738 h 335041"/>
                <a:gd name="connsiteX194" fmla="*/ 133107 w 365045"/>
                <a:gd name="connsiteY194" fmla="*/ 172128 h 335041"/>
                <a:gd name="connsiteX195" fmla="*/ 133145 w 365045"/>
                <a:gd name="connsiteY195" fmla="*/ 170638 h 335041"/>
                <a:gd name="connsiteX196" fmla="*/ 213275 w 365045"/>
                <a:gd name="connsiteY196" fmla="*/ 294563 h 335041"/>
                <a:gd name="connsiteX197" fmla="*/ 189001 w 365045"/>
                <a:gd name="connsiteY197" fmla="*/ 306073 h 335041"/>
                <a:gd name="connsiteX198" fmla="*/ 164731 w 365045"/>
                <a:gd name="connsiteY198" fmla="*/ 294562 h 335041"/>
                <a:gd name="connsiteX199" fmla="*/ 168146 w 365045"/>
                <a:gd name="connsiteY199" fmla="*/ 293424 h 335041"/>
                <a:gd name="connsiteX200" fmla="*/ 175996 w 365045"/>
                <a:gd name="connsiteY200" fmla="*/ 282534 h 335041"/>
                <a:gd name="connsiteX201" fmla="*/ 175996 w 365045"/>
                <a:gd name="connsiteY201" fmla="*/ 278263 h 335041"/>
                <a:gd name="connsiteX202" fmla="*/ 189002 w 365045"/>
                <a:gd name="connsiteY202" fmla="*/ 280061 h 335041"/>
                <a:gd name="connsiteX203" fmla="*/ 202009 w 365045"/>
                <a:gd name="connsiteY203" fmla="*/ 278263 h 335041"/>
                <a:gd name="connsiteX204" fmla="*/ 202009 w 365045"/>
                <a:gd name="connsiteY204" fmla="*/ 282534 h 335041"/>
                <a:gd name="connsiteX205" fmla="*/ 209858 w 365045"/>
                <a:gd name="connsiteY205" fmla="*/ 293423 h 335041"/>
                <a:gd name="connsiteX206" fmla="*/ 213275 w 365045"/>
                <a:gd name="connsiteY206" fmla="*/ 294563 h 335041"/>
                <a:gd name="connsiteX207" fmla="*/ 231853 w 365045"/>
                <a:gd name="connsiteY207" fmla="*/ 220373 h 335041"/>
                <a:gd name="connsiteX208" fmla="*/ 226495 w 365045"/>
                <a:gd name="connsiteY208" fmla="*/ 225730 h 335041"/>
                <a:gd name="connsiteX209" fmla="*/ 226495 w 365045"/>
                <a:gd name="connsiteY209" fmla="*/ 231057 h 335041"/>
                <a:gd name="connsiteX210" fmla="*/ 226495 w 365045"/>
                <a:gd name="connsiteY210" fmla="*/ 231197 h 335041"/>
                <a:gd name="connsiteX211" fmla="*/ 226495 w 365045"/>
                <a:gd name="connsiteY211" fmla="*/ 231852 h 335041"/>
                <a:gd name="connsiteX212" fmla="*/ 189001 w 365045"/>
                <a:gd name="connsiteY212" fmla="*/ 269344 h 335041"/>
                <a:gd name="connsiteX213" fmla="*/ 151510 w 365045"/>
                <a:gd name="connsiteY213" fmla="*/ 231852 h 335041"/>
                <a:gd name="connsiteX214" fmla="*/ 151510 w 365045"/>
                <a:gd name="connsiteY214" fmla="*/ 225730 h 335041"/>
                <a:gd name="connsiteX215" fmla="*/ 146152 w 365045"/>
                <a:gd name="connsiteY215" fmla="*/ 220373 h 335041"/>
                <a:gd name="connsiteX216" fmla="*/ 140030 w 365045"/>
                <a:gd name="connsiteY216" fmla="*/ 220373 h 335041"/>
                <a:gd name="connsiteX217" fmla="*/ 133145 w 365045"/>
                <a:gd name="connsiteY217" fmla="*/ 213487 h 335041"/>
                <a:gd name="connsiteX218" fmla="*/ 136604 w 365045"/>
                <a:gd name="connsiteY218" fmla="*/ 207573 h 335041"/>
                <a:gd name="connsiteX219" fmla="*/ 137872 w 365045"/>
                <a:gd name="connsiteY219" fmla="*/ 206532 h 335041"/>
                <a:gd name="connsiteX220" fmla="*/ 222267 w 365045"/>
                <a:gd name="connsiteY220" fmla="*/ 187532 h 335041"/>
                <a:gd name="connsiteX221" fmla="*/ 224261 w 365045"/>
                <a:gd name="connsiteY221" fmla="*/ 180222 h 335041"/>
                <a:gd name="connsiteX222" fmla="*/ 216951 w 365045"/>
                <a:gd name="connsiteY222" fmla="*/ 178228 h 335041"/>
                <a:gd name="connsiteX223" fmla="*/ 139267 w 365045"/>
                <a:gd name="connsiteY223" fmla="*/ 195746 h 335041"/>
                <a:gd name="connsiteX224" fmla="*/ 139267 w 365045"/>
                <a:gd name="connsiteY224" fmla="*/ 195123 h 335041"/>
                <a:gd name="connsiteX225" fmla="*/ 147752 w 365045"/>
                <a:gd name="connsiteY225" fmla="*/ 167372 h 335041"/>
                <a:gd name="connsiteX226" fmla="*/ 149457 w 365045"/>
                <a:gd name="connsiteY226" fmla="*/ 169073 h 335041"/>
                <a:gd name="connsiteX227" fmla="*/ 152273 w 365045"/>
                <a:gd name="connsiteY227" fmla="*/ 169873 h 335041"/>
                <a:gd name="connsiteX228" fmla="*/ 154669 w 365045"/>
                <a:gd name="connsiteY228" fmla="*/ 169308 h 335041"/>
                <a:gd name="connsiteX229" fmla="*/ 189002 w 365045"/>
                <a:gd name="connsiteY229" fmla="*/ 152141 h 335041"/>
                <a:gd name="connsiteX230" fmla="*/ 223335 w 365045"/>
                <a:gd name="connsiteY230" fmla="*/ 169308 h 335041"/>
                <a:gd name="connsiteX231" fmla="*/ 225731 w 365045"/>
                <a:gd name="connsiteY231" fmla="*/ 169873 h 335041"/>
                <a:gd name="connsiteX232" fmla="*/ 228548 w 365045"/>
                <a:gd name="connsiteY232" fmla="*/ 169073 h 335041"/>
                <a:gd name="connsiteX233" fmla="*/ 230252 w 365045"/>
                <a:gd name="connsiteY233" fmla="*/ 167372 h 335041"/>
                <a:gd name="connsiteX234" fmla="*/ 238737 w 365045"/>
                <a:gd name="connsiteY234" fmla="*/ 195123 h 335041"/>
                <a:gd name="connsiteX235" fmla="*/ 238737 w 365045"/>
                <a:gd name="connsiteY235" fmla="*/ 202943 h 335041"/>
                <a:gd name="connsiteX236" fmla="*/ 241400 w 365045"/>
                <a:gd name="connsiteY236" fmla="*/ 207573 h 335041"/>
                <a:gd name="connsiteX237" fmla="*/ 244859 w 365045"/>
                <a:gd name="connsiteY237" fmla="*/ 213487 h 335041"/>
                <a:gd name="connsiteX238" fmla="*/ 237974 w 365045"/>
                <a:gd name="connsiteY238" fmla="*/ 220373 h 335041"/>
                <a:gd name="connsiteX239" fmla="*/ 231853 w 365045"/>
                <a:gd name="connsiteY239" fmla="*/ 220373 h 335041"/>
                <a:gd name="connsiteX240" fmla="*/ 274702 w 365045"/>
                <a:gd name="connsiteY240" fmla="*/ 250980 h 335041"/>
                <a:gd name="connsiteX241" fmla="*/ 238096 w 365045"/>
                <a:gd name="connsiteY241" fmla="*/ 231085 h 335041"/>
                <a:gd name="connsiteX242" fmla="*/ 255574 w 365045"/>
                <a:gd name="connsiteY242" fmla="*/ 213488 h 335041"/>
                <a:gd name="connsiteX243" fmla="*/ 249453 w 365045"/>
                <a:gd name="connsiteY243" fmla="*/ 200212 h 335041"/>
                <a:gd name="connsiteX244" fmla="*/ 249453 w 365045"/>
                <a:gd name="connsiteY244" fmla="*/ 195124 h 335041"/>
                <a:gd name="connsiteX245" fmla="*/ 249108 w 365045"/>
                <a:gd name="connsiteY245" fmla="*/ 188698 h 335041"/>
                <a:gd name="connsiteX246" fmla="*/ 274702 w 365045"/>
                <a:gd name="connsiteY246" fmla="*/ 194359 h 335041"/>
                <a:gd name="connsiteX247" fmla="*/ 293830 w 365045"/>
                <a:gd name="connsiteY247" fmla="*/ 191231 h 335041"/>
                <a:gd name="connsiteX248" fmla="*/ 293830 w 365045"/>
                <a:gd name="connsiteY248" fmla="*/ 199077 h 335041"/>
                <a:gd name="connsiteX249" fmla="*/ 304894 w 365045"/>
                <a:gd name="connsiteY249" fmla="*/ 215419 h 335041"/>
                <a:gd name="connsiteX250" fmla="*/ 316447 w 365045"/>
                <a:gd name="connsiteY250" fmla="*/ 220040 h 335041"/>
                <a:gd name="connsiteX251" fmla="*/ 274702 w 365045"/>
                <a:gd name="connsiteY251" fmla="*/ 250980 h 335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</a:cxnLst>
              <a:rect l="l" t="t" r="r" b="b"/>
              <a:pathLst>
                <a:path w="365045" h="335041">
                  <a:moveTo>
                    <a:pt x="350848" y="222260"/>
                  </a:moveTo>
                  <a:lnTo>
                    <a:pt x="308874" y="205470"/>
                  </a:lnTo>
                  <a:cubicBezTo>
                    <a:pt x="308646" y="205379"/>
                    <a:pt x="308436" y="205264"/>
                    <a:pt x="308224" y="205152"/>
                  </a:cubicBezTo>
                  <a:cubicBezTo>
                    <a:pt x="337215" y="198556"/>
                    <a:pt x="350945" y="187524"/>
                    <a:pt x="351555" y="187025"/>
                  </a:cubicBezTo>
                  <a:cubicBezTo>
                    <a:pt x="353004" y="185837"/>
                    <a:pt x="353728" y="183978"/>
                    <a:pt x="353463" y="182123"/>
                  </a:cubicBezTo>
                  <a:cubicBezTo>
                    <a:pt x="353402" y="181698"/>
                    <a:pt x="347395" y="139164"/>
                    <a:pt x="347395" y="97181"/>
                  </a:cubicBezTo>
                  <a:cubicBezTo>
                    <a:pt x="347395" y="57097"/>
                    <a:pt x="314784" y="24487"/>
                    <a:pt x="274701" y="24487"/>
                  </a:cubicBezTo>
                  <a:cubicBezTo>
                    <a:pt x="234617" y="24487"/>
                    <a:pt x="202007" y="57096"/>
                    <a:pt x="202007" y="97181"/>
                  </a:cubicBezTo>
                  <a:cubicBezTo>
                    <a:pt x="202007" y="108164"/>
                    <a:pt x="201509" y="121597"/>
                    <a:pt x="200697" y="134313"/>
                  </a:cubicBezTo>
                  <a:lnTo>
                    <a:pt x="189001" y="140162"/>
                  </a:lnTo>
                  <a:lnTo>
                    <a:pt x="154668" y="122996"/>
                  </a:lnTo>
                  <a:cubicBezTo>
                    <a:pt x="154569" y="122947"/>
                    <a:pt x="154466" y="122911"/>
                    <a:pt x="154365" y="122868"/>
                  </a:cubicBezTo>
                  <a:cubicBezTo>
                    <a:pt x="155998" y="118108"/>
                    <a:pt x="157066" y="113089"/>
                    <a:pt x="157458" y="107881"/>
                  </a:cubicBezTo>
                  <a:cubicBezTo>
                    <a:pt x="164640" y="105662"/>
                    <a:pt x="169873" y="98960"/>
                    <a:pt x="169873" y="91059"/>
                  </a:cubicBezTo>
                  <a:cubicBezTo>
                    <a:pt x="169873" y="85738"/>
                    <a:pt x="167495" y="80964"/>
                    <a:pt x="163751" y="77734"/>
                  </a:cubicBezTo>
                  <a:lnTo>
                    <a:pt x="163751" y="42087"/>
                  </a:lnTo>
                  <a:cubicBezTo>
                    <a:pt x="163751" y="32239"/>
                    <a:pt x="158776" y="23025"/>
                    <a:pt x="150616" y="17489"/>
                  </a:cubicBezTo>
                  <a:cubicBezTo>
                    <a:pt x="147851" y="7216"/>
                    <a:pt x="138622" y="0"/>
                    <a:pt x="127786" y="0"/>
                  </a:cubicBezTo>
                  <a:lnTo>
                    <a:pt x="78814" y="0"/>
                  </a:lnTo>
                  <a:cubicBezTo>
                    <a:pt x="52232" y="0"/>
                    <a:pt x="30606" y="21626"/>
                    <a:pt x="30606" y="48208"/>
                  </a:cubicBezTo>
                  <a:lnTo>
                    <a:pt x="30606" y="77733"/>
                  </a:lnTo>
                  <a:cubicBezTo>
                    <a:pt x="26862" y="80963"/>
                    <a:pt x="24484" y="85737"/>
                    <a:pt x="24484" y="91059"/>
                  </a:cubicBezTo>
                  <a:cubicBezTo>
                    <a:pt x="24484" y="98960"/>
                    <a:pt x="29717" y="105661"/>
                    <a:pt x="36899" y="107880"/>
                  </a:cubicBezTo>
                  <a:cubicBezTo>
                    <a:pt x="38252" y="125867"/>
                    <a:pt x="47522" y="141671"/>
                    <a:pt x="61213" y="151843"/>
                  </a:cubicBezTo>
                  <a:lnTo>
                    <a:pt x="61213" y="166652"/>
                  </a:lnTo>
                  <a:lnTo>
                    <a:pt x="16905" y="179944"/>
                  </a:lnTo>
                  <a:cubicBezTo>
                    <a:pt x="6794" y="182978"/>
                    <a:pt x="0" y="192108"/>
                    <a:pt x="0" y="202665"/>
                  </a:cubicBezTo>
                  <a:lnTo>
                    <a:pt x="0" y="262459"/>
                  </a:lnTo>
                  <a:cubicBezTo>
                    <a:pt x="0" y="265418"/>
                    <a:pt x="2399" y="267817"/>
                    <a:pt x="5358" y="267817"/>
                  </a:cubicBezTo>
                  <a:lnTo>
                    <a:pt x="6121" y="267817"/>
                  </a:lnTo>
                  <a:lnTo>
                    <a:pt x="6121" y="329796"/>
                  </a:lnTo>
                  <a:cubicBezTo>
                    <a:pt x="6121" y="332754"/>
                    <a:pt x="8520" y="335153"/>
                    <a:pt x="11479" y="335153"/>
                  </a:cubicBezTo>
                  <a:cubicBezTo>
                    <a:pt x="14438" y="335153"/>
                    <a:pt x="16837" y="332754"/>
                    <a:pt x="16837" y="329796"/>
                  </a:cubicBezTo>
                  <a:lnTo>
                    <a:pt x="16837" y="267817"/>
                  </a:lnTo>
                  <a:lnTo>
                    <a:pt x="36729" y="267817"/>
                  </a:lnTo>
                  <a:lnTo>
                    <a:pt x="36729" y="329796"/>
                  </a:lnTo>
                  <a:cubicBezTo>
                    <a:pt x="36729" y="332754"/>
                    <a:pt x="39128" y="335153"/>
                    <a:pt x="42087" y="335153"/>
                  </a:cubicBezTo>
                  <a:cubicBezTo>
                    <a:pt x="45046" y="335153"/>
                    <a:pt x="47445" y="332754"/>
                    <a:pt x="47445" y="329796"/>
                  </a:cubicBezTo>
                  <a:lnTo>
                    <a:pt x="47445" y="237413"/>
                  </a:lnTo>
                  <a:cubicBezTo>
                    <a:pt x="47445" y="232713"/>
                    <a:pt x="46066" y="228163"/>
                    <a:pt x="43460" y="224254"/>
                  </a:cubicBezTo>
                  <a:lnTo>
                    <a:pt x="34302" y="210516"/>
                  </a:lnTo>
                  <a:cubicBezTo>
                    <a:pt x="32661" y="208054"/>
                    <a:pt x="29334" y="207390"/>
                    <a:pt x="26873" y="209030"/>
                  </a:cubicBezTo>
                  <a:cubicBezTo>
                    <a:pt x="24410" y="210671"/>
                    <a:pt x="23745" y="213997"/>
                    <a:pt x="25387" y="216460"/>
                  </a:cubicBezTo>
                  <a:lnTo>
                    <a:pt x="34545" y="230198"/>
                  </a:lnTo>
                  <a:cubicBezTo>
                    <a:pt x="35974" y="232341"/>
                    <a:pt x="36730" y="234836"/>
                    <a:pt x="36730" y="237413"/>
                  </a:cubicBezTo>
                  <a:lnTo>
                    <a:pt x="36730" y="257101"/>
                  </a:lnTo>
                  <a:lnTo>
                    <a:pt x="11479" y="257101"/>
                  </a:lnTo>
                  <a:lnTo>
                    <a:pt x="10716" y="257101"/>
                  </a:lnTo>
                  <a:lnTo>
                    <a:pt x="10716" y="202665"/>
                  </a:lnTo>
                  <a:cubicBezTo>
                    <a:pt x="10716" y="196877"/>
                    <a:pt x="14440" y="191871"/>
                    <a:pt x="19985" y="190207"/>
                  </a:cubicBezTo>
                  <a:lnTo>
                    <a:pt x="38378" y="184690"/>
                  </a:lnTo>
                  <a:cubicBezTo>
                    <a:pt x="44783" y="211509"/>
                    <a:pt x="69109" y="231088"/>
                    <a:pt x="97180" y="231088"/>
                  </a:cubicBezTo>
                  <a:cubicBezTo>
                    <a:pt x="107265" y="231088"/>
                    <a:pt x="117059" y="228601"/>
                    <a:pt x="125829" y="223869"/>
                  </a:cubicBezTo>
                  <a:cubicBezTo>
                    <a:pt x="129035" y="228242"/>
                    <a:pt x="134205" y="231088"/>
                    <a:pt x="140030" y="231088"/>
                  </a:cubicBezTo>
                  <a:lnTo>
                    <a:pt x="140793" y="231088"/>
                  </a:lnTo>
                  <a:lnTo>
                    <a:pt x="140793" y="231852"/>
                  </a:lnTo>
                  <a:cubicBezTo>
                    <a:pt x="140793" y="249813"/>
                    <a:pt x="150675" y="265501"/>
                    <a:pt x="165279" y="273794"/>
                  </a:cubicBezTo>
                  <a:lnTo>
                    <a:pt x="165279" y="282533"/>
                  </a:lnTo>
                  <a:cubicBezTo>
                    <a:pt x="165279" y="282862"/>
                    <a:pt x="165069" y="283153"/>
                    <a:pt x="164757" y="283258"/>
                  </a:cubicBezTo>
                  <a:lnTo>
                    <a:pt x="144771" y="289920"/>
                  </a:lnTo>
                  <a:cubicBezTo>
                    <a:pt x="135069" y="293154"/>
                    <a:pt x="128550" y="302198"/>
                    <a:pt x="128550" y="312425"/>
                  </a:cubicBezTo>
                  <a:lnTo>
                    <a:pt x="128550" y="329796"/>
                  </a:lnTo>
                  <a:cubicBezTo>
                    <a:pt x="128550" y="332754"/>
                    <a:pt x="130949" y="335153"/>
                    <a:pt x="133908" y="335153"/>
                  </a:cubicBezTo>
                  <a:cubicBezTo>
                    <a:pt x="136867" y="335153"/>
                    <a:pt x="139266" y="332754"/>
                    <a:pt x="139266" y="329796"/>
                  </a:cubicBezTo>
                  <a:lnTo>
                    <a:pt x="139266" y="312425"/>
                  </a:lnTo>
                  <a:cubicBezTo>
                    <a:pt x="139266" y="306818"/>
                    <a:pt x="142840" y="301858"/>
                    <a:pt x="148159" y="300086"/>
                  </a:cubicBezTo>
                  <a:lnTo>
                    <a:pt x="154036" y="298127"/>
                  </a:lnTo>
                  <a:cubicBezTo>
                    <a:pt x="161812" y="309722"/>
                    <a:pt x="174888" y="316790"/>
                    <a:pt x="189001" y="316790"/>
                  </a:cubicBezTo>
                  <a:cubicBezTo>
                    <a:pt x="203128" y="316790"/>
                    <a:pt x="216193" y="309727"/>
                    <a:pt x="223967" y="298127"/>
                  </a:cubicBezTo>
                  <a:lnTo>
                    <a:pt x="229842" y="300086"/>
                  </a:lnTo>
                  <a:cubicBezTo>
                    <a:pt x="235162" y="301859"/>
                    <a:pt x="238736" y="306818"/>
                    <a:pt x="238736" y="312425"/>
                  </a:cubicBezTo>
                  <a:lnTo>
                    <a:pt x="238736" y="329796"/>
                  </a:lnTo>
                  <a:cubicBezTo>
                    <a:pt x="238736" y="332754"/>
                    <a:pt x="241134" y="335153"/>
                    <a:pt x="244093" y="335153"/>
                  </a:cubicBezTo>
                  <a:cubicBezTo>
                    <a:pt x="247052" y="335153"/>
                    <a:pt x="249451" y="332754"/>
                    <a:pt x="249451" y="329796"/>
                  </a:cubicBezTo>
                  <a:lnTo>
                    <a:pt x="249451" y="312425"/>
                  </a:lnTo>
                  <a:cubicBezTo>
                    <a:pt x="249451" y="302198"/>
                    <a:pt x="242933" y="293154"/>
                    <a:pt x="233231" y="289921"/>
                  </a:cubicBezTo>
                  <a:lnTo>
                    <a:pt x="213245" y="283258"/>
                  </a:lnTo>
                  <a:cubicBezTo>
                    <a:pt x="212932" y="283154"/>
                    <a:pt x="212722" y="282863"/>
                    <a:pt x="212722" y="282534"/>
                  </a:cubicBezTo>
                  <a:lnTo>
                    <a:pt x="212722" y="273795"/>
                  </a:lnTo>
                  <a:cubicBezTo>
                    <a:pt x="223657" y="267586"/>
                    <a:pt x="231934" y="257230"/>
                    <a:pt x="235406" y="244876"/>
                  </a:cubicBezTo>
                  <a:cubicBezTo>
                    <a:pt x="245531" y="255471"/>
                    <a:pt x="259672" y="261697"/>
                    <a:pt x="274700" y="261697"/>
                  </a:cubicBezTo>
                  <a:cubicBezTo>
                    <a:pt x="298426" y="261697"/>
                    <a:pt x="319243" y="246360"/>
                    <a:pt x="326414" y="224029"/>
                  </a:cubicBezTo>
                  <a:lnTo>
                    <a:pt x="346866" y="232210"/>
                  </a:lnTo>
                  <a:cubicBezTo>
                    <a:pt x="351833" y="234196"/>
                    <a:pt x="355042" y="238937"/>
                    <a:pt x="355042" y="244286"/>
                  </a:cubicBezTo>
                  <a:lnTo>
                    <a:pt x="355042" y="269345"/>
                  </a:lnTo>
                  <a:lnTo>
                    <a:pt x="354279" y="269345"/>
                  </a:lnTo>
                  <a:lnTo>
                    <a:pt x="335150" y="269345"/>
                  </a:lnTo>
                  <a:lnTo>
                    <a:pt x="335150" y="262460"/>
                  </a:lnTo>
                  <a:cubicBezTo>
                    <a:pt x="335150" y="259501"/>
                    <a:pt x="332752" y="257102"/>
                    <a:pt x="329793" y="257102"/>
                  </a:cubicBezTo>
                  <a:cubicBezTo>
                    <a:pt x="326834" y="257102"/>
                    <a:pt x="324435" y="259501"/>
                    <a:pt x="324435" y="262460"/>
                  </a:cubicBezTo>
                  <a:lnTo>
                    <a:pt x="324435" y="329796"/>
                  </a:lnTo>
                  <a:cubicBezTo>
                    <a:pt x="324435" y="332755"/>
                    <a:pt x="326834" y="335154"/>
                    <a:pt x="329793" y="335154"/>
                  </a:cubicBezTo>
                  <a:cubicBezTo>
                    <a:pt x="332752" y="335154"/>
                    <a:pt x="335150" y="332755"/>
                    <a:pt x="335150" y="329796"/>
                  </a:cubicBezTo>
                  <a:lnTo>
                    <a:pt x="335150" y="280061"/>
                  </a:lnTo>
                  <a:lnTo>
                    <a:pt x="348921" y="280061"/>
                  </a:lnTo>
                  <a:lnTo>
                    <a:pt x="348921" y="329796"/>
                  </a:lnTo>
                  <a:cubicBezTo>
                    <a:pt x="348921" y="332755"/>
                    <a:pt x="351320" y="335154"/>
                    <a:pt x="354279" y="335154"/>
                  </a:cubicBezTo>
                  <a:cubicBezTo>
                    <a:pt x="357238" y="335154"/>
                    <a:pt x="359636" y="332755"/>
                    <a:pt x="359636" y="329796"/>
                  </a:cubicBezTo>
                  <a:lnTo>
                    <a:pt x="359636" y="280061"/>
                  </a:lnTo>
                  <a:lnTo>
                    <a:pt x="360400" y="280061"/>
                  </a:lnTo>
                  <a:cubicBezTo>
                    <a:pt x="361821" y="280061"/>
                    <a:pt x="363183" y="279496"/>
                    <a:pt x="364188" y="278492"/>
                  </a:cubicBezTo>
                  <a:cubicBezTo>
                    <a:pt x="365194" y="277487"/>
                    <a:pt x="365758" y="276125"/>
                    <a:pt x="365758" y="274703"/>
                  </a:cubicBezTo>
                  <a:lnTo>
                    <a:pt x="365758" y="244286"/>
                  </a:lnTo>
                  <a:cubicBezTo>
                    <a:pt x="365760" y="234529"/>
                    <a:pt x="359907" y="225883"/>
                    <a:pt x="350848" y="222260"/>
                  </a:cubicBezTo>
                  <a:close/>
                  <a:moveTo>
                    <a:pt x="212724" y="97180"/>
                  </a:moveTo>
                  <a:cubicBezTo>
                    <a:pt x="212724" y="63005"/>
                    <a:pt x="240527" y="35202"/>
                    <a:pt x="274702" y="35202"/>
                  </a:cubicBezTo>
                  <a:cubicBezTo>
                    <a:pt x="308877" y="35202"/>
                    <a:pt x="336680" y="63005"/>
                    <a:pt x="336680" y="97180"/>
                  </a:cubicBezTo>
                  <a:cubicBezTo>
                    <a:pt x="336680" y="133158"/>
                    <a:pt x="341013" y="169528"/>
                    <a:pt x="342421" y="180390"/>
                  </a:cubicBezTo>
                  <a:cubicBezTo>
                    <a:pt x="337619" y="183531"/>
                    <a:pt x="325326" y="190449"/>
                    <a:pt x="304546" y="194995"/>
                  </a:cubicBezTo>
                  <a:lnTo>
                    <a:pt x="304546" y="186469"/>
                  </a:lnTo>
                  <a:cubicBezTo>
                    <a:pt x="307392" y="184856"/>
                    <a:pt x="310117" y="183015"/>
                    <a:pt x="312678" y="180945"/>
                  </a:cubicBezTo>
                  <a:cubicBezTo>
                    <a:pt x="323221" y="172423"/>
                    <a:pt x="330671" y="160488"/>
                    <a:pt x="333655" y="147339"/>
                  </a:cubicBezTo>
                  <a:cubicBezTo>
                    <a:pt x="334649" y="142958"/>
                    <a:pt x="335153" y="138439"/>
                    <a:pt x="335153" y="133910"/>
                  </a:cubicBezTo>
                  <a:cubicBezTo>
                    <a:pt x="335153" y="103627"/>
                    <a:pt x="313253" y="99279"/>
                    <a:pt x="292073" y="95074"/>
                  </a:cubicBezTo>
                  <a:cubicBezTo>
                    <a:pt x="278596" y="92399"/>
                    <a:pt x="264661" y="89632"/>
                    <a:pt x="253564" y="80754"/>
                  </a:cubicBezTo>
                  <a:cubicBezTo>
                    <a:pt x="251956" y="79468"/>
                    <a:pt x="249753" y="79217"/>
                    <a:pt x="247896" y="80109"/>
                  </a:cubicBezTo>
                  <a:cubicBezTo>
                    <a:pt x="246039" y="81002"/>
                    <a:pt x="244859" y="82878"/>
                    <a:pt x="244859" y="84938"/>
                  </a:cubicBezTo>
                  <a:cubicBezTo>
                    <a:pt x="244859" y="85081"/>
                    <a:pt x="244626" y="99178"/>
                    <a:pt x="224432" y="104227"/>
                  </a:cubicBezTo>
                  <a:cubicBezTo>
                    <a:pt x="221561" y="104945"/>
                    <a:pt x="219815" y="107853"/>
                    <a:pt x="220533" y="110725"/>
                  </a:cubicBezTo>
                  <a:cubicBezTo>
                    <a:pt x="221251" y="113596"/>
                    <a:pt x="224160" y="115339"/>
                    <a:pt x="227031" y="114623"/>
                  </a:cubicBezTo>
                  <a:cubicBezTo>
                    <a:pt x="243933" y="110397"/>
                    <a:pt x="250828" y="100915"/>
                    <a:pt x="253640" y="93792"/>
                  </a:cubicBezTo>
                  <a:cubicBezTo>
                    <a:pt x="265258" y="100677"/>
                    <a:pt x="278273" y="103260"/>
                    <a:pt x="289986" y="105585"/>
                  </a:cubicBezTo>
                  <a:cubicBezTo>
                    <a:pt x="312624" y="110079"/>
                    <a:pt x="324438" y="113381"/>
                    <a:pt x="324438" y="133910"/>
                  </a:cubicBezTo>
                  <a:cubicBezTo>
                    <a:pt x="324438" y="137644"/>
                    <a:pt x="324023" y="141364"/>
                    <a:pt x="323205" y="144969"/>
                  </a:cubicBezTo>
                  <a:cubicBezTo>
                    <a:pt x="320751" y="155780"/>
                    <a:pt x="314621" y="165597"/>
                    <a:pt x="305942" y="172612"/>
                  </a:cubicBezTo>
                  <a:cubicBezTo>
                    <a:pt x="297012" y="179830"/>
                    <a:pt x="286209" y="183645"/>
                    <a:pt x="274702" y="183645"/>
                  </a:cubicBezTo>
                  <a:cubicBezTo>
                    <a:pt x="264212" y="183645"/>
                    <a:pt x="254229" y="180428"/>
                    <a:pt x="245756" y="174348"/>
                  </a:cubicBezTo>
                  <a:cubicBezTo>
                    <a:pt x="242652" y="165876"/>
                    <a:pt x="237667" y="158125"/>
                    <a:pt x="231088" y="151738"/>
                  </a:cubicBezTo>
                  <a:lnTo>
                    <a:pt x="231088" y="127789"/>
                  </a:lnTo>
                  <a:cubicBezTo>
                    <a:pt x="231088" y="125931"/>
                    <a:pt x="230127" y="124207"/>
                    <a:pt x="228547" y="123231"/>
                  </a:cubicBezTo>
                  <a:cubicBezTo>
                    <a:pt x="226968" y="122255"/>
                    <a:pt x="224996" y="122166"/>
                    <a:pt x="223334" y="122997"/>
                  </a:cubicBezTo>
                  <a:lnTo>
                    <a:pt x="211766" y="128780"/>
                  </a:lnTo>
                  <a:cubicBezTo>
                    <a:pt x="212401" y="117623"/>
                    <a:pt x="212724" y="107014"/>
                    <a:pt x="212724" y="97180"/>
                  </a:cubicBezTo>
                  <a:close/>
                  <a:moveTo>
                    <a:pt x="220373" y="136456"/>
                  </a:moveTo>
                  <a:lnTo>
                    <a:pt x="220373" y="155847"/>
                  </a:lnTo>
                  <a:lnTo>
                    <a:pt x="200982" y="146152"/>
                  </a:lnTo>
                  <a:lnTo>
                    <a:pt x="220373" y="136456"/>
                  </a:lnTo>
                  <a:close/>
                  <a:moveTo>
                    <a:pt x="157630" y="136456"/>
                  </a:moveTo>
                  <a:lnTo>
                    <a:pt x="177021" y="146152"/>
                  </a:lnTo>
                  <a:lnTo>
                    <a:pt x="157630" y="155847"/>
                  </a:lnTo>
                  <a:lnTo>
                    <a:pt x="157630" y="136456"/>
                  </a:lnTo>
                  <a:close/>
                  <a:moveTo>
                    <a:pt x="128550" y="195123"/>
                  </a:moveTo>
                  <a:lnTo>
                    <a:pt x="128550" y="200211"/>
                  </a:lnTo>
                  <a:cubicBezTo>
                    <a:pt x="124714" y="203524"/>
                    <a:pt x="122429" y="208372"/>
                    <a:pt x="122429" y="213487"/>
                  </a:cubicBezTo>
                  <a:cubicBezTo>
                    <a:pt x="114798" y="217995"/>
                    <a:pt x="106129" y="220373"/>
                    <a:pt x="97179" y="220373"/>
                  </a:cubicBezTo>
                  <a:cubicBezTo>
                    <a:pt x="73874" y="220373"/>
                    <a:pt x="53710" y="203972"/>
                    <a:pt x="48666" y="181603"/>
                  </a:cubicBezTo>
                  <a:lnTo>
                    <a:pt x="61903" y="177632"/>
                  </a:lnTo>
                  <a:cubicBezTo>
                    <a:pt x="65168" y="194126"/>
                    <a:pt x="79742" y="206602"/>
                    <a:pt x="97180" y="206602"/>
                  </a:cubicBezTo>
                  <a:cubicBezTo>
                    <a:pt x="111027" y="206602"/>
                    <a:pt x="123063" y="198732"/>
                    <a:pt x="129070" y="187234"/>
                  </a:cubicBezTo>
                  <a:cubicBezTo>
                    <a:pt x="128727" y="189836"/>
                    <a:pt x="128550" y="192470"/>
                    <a:pt x="128550" y="195123"/>
                  </a:cubicBezTo>
                  <a:close/>
                  <a:moveTo>
                    <a:pt x="71930" y="170628"/>
                  </a:moveTo>
                  <a:lnTo>
                    <a:pt x="71930" y="158218"/>
                  </a:lnTo>
                  <a:cubicBezTo>
                    <a:pt x="79619" y="161768"/>
                    <a:pt x="88171" y="163752"/>
                    <a:pt x="97180" y="163752"/>
                  </a:cubicBezTo>
                  <a:cubicBezTo>
                    <a:pt x="106188" y="163752"/>
                    <a:pt x="114741" y="161767"/>
                    <a:pt x="122430" y="158218"/>
                  </a:cubicBezTo>
                  <a:lnTo>
                    <a:pt x="122430" y="170636"/>
                  </a:lnTo>
                  <a:cubicBezTo>
                    <a:pt x="122430" y="184559"/>
                    <a:pt x="111103" y="195886"/>
                    <a:pt x="97180" y="195886"/>
                  </a:cubicBezTo>
                  <a:cubicBezTo>
                    <a:pt x="83280" y="195886"/>
                    <a:pt x="71970" y="184596"/>
                    <a:pt x="71932" y="170705"/>
                  </a:cubicBezTo>
                  <a:cubicBezTo>
                    <a:pt x="71932" y="170679"/>
                    <a:pt x="71930" y="170653"/>
                    <a:pt x="71930" y="170628"/>
                  </a:cubicBezTo>
                  <a:close/>
                  <a:moveTo>
                    <a:pt x="97180" y="153036"/>
                  </a:moveTo>
                  <a:cubicBezTo>
                    <a:pt x="69755" y="153036"/>
                    <a:pt x="47445" y="130726"/>
                    <a:pt x="47445" y="103301"/>
                  </a:cubicBezTo>
                  <a:cubicBezTo>
                    <a:pt x="47445" y="100343"/>
                    <a:pt x="45046" y="97944"/>
                    <a:pt x="42087" y="97944"/>
                  </a:cubicBezTo>
                  <a:cubicBezTo>
                    <a:pt x="38291" y="97944"/>
                    <a:pt x="35202" y="94855"/>
                    <a:pt x="35202" y="91059"/>
                  </a:cubicBezTo>
                  <a:cubicBezTo>
                    <a:pt x="35202" y="87262"/>
                    <a:pt x="38290" y="84173"/>
                    <a:pt x="42087" y="84173"/>
                  </a:cubicBezTo>
                  <a:lnTo>
                    <a:pt x="54330" y="84173"/>
                  </a:lnTo>
                  <a:cubicBezTo>
                    <a:pt x="56636" y="84173"/>
                    <a:pt x="58683" y="82698"/>
                    <a:pt x="59412" y="80510"/>
                  </a:cubicBezTo>
                  <a:lnTo>
                    <a:pt x="64330" y="65757"/>
                  </a:lnTo>
                  <a:cubicBezTo>
                    <a:pt x="76642" y="65479"/>
                    <a:pt x="114811" y="63748"/>
                    <a:pt x="136304" y="53001"/>
                  </a:cubicBezTo>
                  <a:cubicBezTo>
                    <a:pt x="138951" y="51677"/>
                    <a:pt x="140024" y="48460"/>
                    <a:pt x="138700" y="45813"/>
                  </a:cubicBezTo>
                  <a:cubicBezTo>
                    <a:pt x="137377" y="43166"/>
                    <a:pt x="134160" y="42093"/>
                    <a:pt x="131512" y="43417"/>
                  </a:cubicBezTo>
                  <a:cubicBezTo>
                    <a:pt x="108451" y="54947"/>
                    <a:pt x="60927" y="55094"/>
                    <a:pt x="60450" y="55094"/>
                  </a:cubicBezTo>
                  <a:cubicBezTo>
                    <a:pt x="58144" y="55095"/>
                    <a:pt x="56096" y="56570"/>
                    <a:pt x="55368" y="58758"/>
                  </a:cubicBezTo>
                  <a:lnTo>
                    <a:pt x="50468" y="73458"/>
                  </a:lnTo>
                  <a:lnTo>
                    <a:pt x="42087" y="73458"/>
                  </a:lnTo>
                  <a:cubicBezTo>
                    <a:pt x="41831" y="73458"/>
                    <a:pt x="41577" y="73467"/>
                    <a:pt x="41323" y="73478"/>
                  </a:cubicBezTo>
                  <a:lnTo>
                    <a:pt x="41323" y="48208"/>
                  </a:lnTo>
                  <a:cubicBezTo>
                    <a:pt x="41323" y="27535"/>
                    <a:pt x="58142" y="10716"/>
                    <a:pt x="78816" y="10716"/>
                  </a:cubicBezTo>
                  <a:lnTo>
                    <a:pt x="127787" y="10716"/>
                  </a:lnTo>
                  <a:cubicBezTo>
                    <a:pt x="134185" y="10716"/>
                    <a:pt x="139560" y="15327"/>
                    <a:pt x="140570" y="21679"/>
                  </a:cubicBezTo>
                  <a:cubicBezTo>
                    <a:pt x="140826" y="23294"/>
                    <a:pt x="141806" y="24702"/>
                    <a:pt x="143229" y="25505"/>
                  </a:cubicBezTo>
                  <a:cubicBezTo>
                    <a:pt x="149279" y="28917"/>
                    <a:pt x="153037" y="35270"/>
                    <a:pt x="153037" y="42086"/>
                  </a:cubicBezTo>
                  <a:lnTo>
                    <a:pt x="153037" y="73476"/>
                  </a:lnTo>
                  <a:cubicBezTo>
                    <a:pt x="152783" y="73465"/>
                    <a:pt x="152530" y="73457"/>
                    <a:pt x="152273" y="73457"/>
                  </a:cubicBezTo>
                  <a:lnTo>
                    <a:pt x="146152" y="73457"/>
                  </a:lnTo>
                  <a:cubicBezTo>
                    <a:pt x="143193" y="73457"/>
                    <a:pt x="140794" y="75856"/>
                    <a:pt x="140794" y="78815"/>
                  </a:cubicBezTo>
                  <a:cubicBezTo>
                    <a:pt x="140794" y="81774"/>
                    <a:pt x="143193" y="84173"/>
                    <a:pt x="146152" y="84173"/>
                  </a:cubicBezTo>
                  <a:lnTo>
                    <a:pt x="152273" y="84173"/>
                  </a:lnTo>
                  <a:cubicBezTo>
                    <a:pt x="156070" y="84173"/>
                    <a:pt x="159158" y="87261"/>
                    <a:pt x="159158" y="91058"/>
                  </a:cubicBezTo>
                  <a:cubicBezTo>
                    <a:pt x="159158" y="94855"/>
                    <a:pt x="156070" y="97943"/>
                    <a:pt x="152273" y="97943"/>
                  </a:cubicBezTo>
                  <a:cubicBezTo>
                    <a:pt x="149314" y="97943"/>
                    <a:pt x="146916" y="100342"/>
                    <a:pt x="146916" y="103301"/>
                  </a:cubicBezTo>
                  <a:cubicBezTo>
                    <a:pt x="146916" y="130725"/>
                    <a:pt x="124605" y="153036"/>
                    <a:pt x="97180" y="153036"/>
                  </a:cubicBezTo>
                  <a:close/>
                  <a:moveTo>
                    <a:pt x="133145" y="170638"/>
                  </a:moveTo>
                  <a:lnTo>
                    <a:pt x="133145" y="151843"/>
                  </a:lnTo>
                  <a:cubicBezTo>
                    <a:pt x="138474" y="147883"/>
                    <a:pt x="143133" y="143073"/>
                    <a:pt x="146915" y="137606"/>
                  </a:cubicBezTo>
                  <a:lnTo>
                    <a:pt x="146915" y="151738"/>
                  </a:lnTo>
                  <a:cubicBezTo>
                    <a:pt x="140915" y="157563"/>
                    <a:pt x="136238" y="164521"/>
                    <a:pt x="133107" y="172128"/>
                  </a:cubicBezTo>
                  <a:cubicBezTo>
                    <a:pt x="133127" y="171633"/>
                    <a:pt x="133145" y="171137"/>
                    <a:pt x="133145" y="170638"/>
                  </a:cubicBezTo>
                  <a:close/>
                  <a:moveTo>
                    <a:pt x="213275" y="294563"/>
                  </a:moveTo>
                  <a:cubicBezTo>
                    <a:pt x="207377" y="301768"/>
                    <a:pt x="198516" y="306073"/>
                    <a:pt x="189001" y="306073"/>
                  </a:cubicBezTo>
                  <a:cubicBezTo>
                    <a:pt x="179499" y="306073"/>
                    <a:pt x="170632" y="301766"/>
                    <a:pt x="164731" y="294562"/>
                  </a:cubicBezTo>
                  <a:lnTo>
                    <a:pt x="168146" y="293424"/>
                  </a:lnTo>
                  <a:cubicBezTo>
                    <a:pt x="172841" y="291859"/>
                    <a:pt x="175996" y="287482"/>
                    <a:pt x="175996" y="282534"/>
                  </a:cubicBezTo>
                  <a:lnTo>
                    <a:pt x="175996" y="278263"/>
                  </a:lnTo>
                  <a:cubicBezTo>
                    <a:pt x="180136" y="279426"/>
                    <a:pt x="184495" y="280061"/>
                    <a:pt x="189002" y="280061"/>
                  </a:cubicBezTo>
                  <a:cubicBezTo>
                    <a:pt x="193509" y="280061"/>
                    <a:pt x="197868" y="279426"/>
                    <a:pt x="202009" y="278263"/>
                  </a:cubicBezTo>
                  <a:lnTo>
                    <a:pt x="202009" y="282534"/>
                  </a:lnTo>
                  <a:cubicBezTo>
                    <a:pt x="202008" y="287482"/>
                    <a:pt x="205162" y="291859"/>
                    <a:pt x="209858" y="293423"/>
                  </a:cubicBezTo>
                  <a:lnTo>
                    <a:pt x="213275" y="294563"/>
                  </a:lnTo>
                  <a:close/>
                  <a:moveTo>
                    <a:pt x="231853" y="220373"/>
                  </a:moveTo>
                  <a:cubicBezTo>
                    <a:pt x="228894" y="220373"/>
                    <a:pt x="226495" y="222771"/>
                    <a:pt x="226495" y="225730"/>
                  </a:cubicBezTo>
                  <a:lnTo>
                    <a:pt x="226495" y="231057"/>
                  </a:lnTo>
                  <a:cubicBezTo>
                    <a:pt x="226495" y="231104"/>
                    <a:pt x="226494" y="231150"/>
                    <a:pt x="226495" y="231197"/>
                  </a:cubicBezTo>
                  <a:lnTo>
                    <a:pt x="226495" y="231852"/>
                  </a:lnTo>
                  <a:cubicBezTo>
                    <a:pt x="226494" y="252525"/>
                    <a:pt x="209675" y="269344"/>
                    <a:pt x="189001" y="269344"/>
                  </a:cubicBezTo>
                  <a:cubicBezTo>
                    <a:pt x="168328" y="269344"/>
                    <a:pt x="151510" y="252525"/>
                    <a:pt x="151510" y="231852"/>
                  </a:cubicBezTo>
                  <a:lnTo>
                    <a:pt x="151510" y="225730"/>
                  </a:lnTo>
                  <a:cubicBezTo>
                    <a:pt x="151510" y="222771"/>
                    <a:pt x="149111" y="220373"/>
                    <a:pt x="146152" y="220373"/>
                  </a:cubicBezTo>
                  <a:lnTo>
                    <a:pt x="140030" y="220373"/>
                  </a:lnTo>
                  <a:cubicBezTo>
                    <a:pt x="136234" y="220373"/>
                    <a:pt x="133145" y="217284"/>
                    <a:pt x="133145" y="213487"/>
                  </a:cubicBezTo>
                  <a:cubicBezTo>
                    <a:pt x="133145" y="211044"/>
                    <a:pt x="134438" y="208833"/>
                    <a:pt x="136604" y="207573"/>
                  </a:cubicBezTo>
                  <a:cubicBezTo>
                    <a:pt x="137087" y="207292"/>
                    <a:pt x="137508" y="206935"/>
                    <a:pt x="137872" y="206532"/>
                  </a:cubicBezTo>
                  <a:cubicBezTo>
                    <a:pt x="151117" y="206149"/>
                    <a:pt x="194050" y="203656"/>
                    <a:pt x="222267" y="187532"/>
                  </a:cubicBezTo>
                  <a:cubicBezTo>
                    <a:pt x="224836" y="186064"/>
                    <a:pt x="225729" y="182791"/>
                    <a:pt x="224261" y="180222"/>
                  </a:cubicBezTo>
                  <a:cubicBezTo>
                    <a:pt x="222793" y="177652"/>
                    <a:pt x="219519" y="176760"/>
                    <a:pt x="216951" y="178228"/>
                  </a:cubicBezTo>
                  <a:cubicBezTo>
                    <a:pt x="192232" y="192353"/>
                    <a:pt x="153390" y="195181"/>
                    <a:pt x="139267" y="195746"/>
                  </a:cubicBezTo>
                  <a:lnTo>
                    <a:pt x="139267" y="195123"/>
                  </a:lnTo>
                  <a:cubicBezTo>
                    <a:pt x="139267" y="185158"/>
                    <a:pt x="142284" y="175508"/>
                    <a:pt x="147752" y="167372"/>
                  </a:cubicBezTo>
                  <a:cubicBezTo>
                    <a:pt x="148180" y="168050"/>
                    <a:pt x="148752" y="168638"/>
                    <a:pt x="149457" y="169073"/>
                  </a:cubicBezTo>
                  <a:cubicBezTo>
                    <a:pt x="150317" y="169605"/>
                    <a:pt x="151294" y="169873"/>
                    <a:pt x="152273" y="169873"/>
                  </a:cubicBezTo>
                  <a:cubicBezTo>
                    <a:pt x="153092" y="169873"/>
                    <a:pt x="153913" y="169686"/>
                    <a:pt x="154669" y="169308"/>
                  </a:cubicBezTo>
                  <a:lnTo>
                    <a:pt x="189002" y="152141"/>
                  </a:lnTo>
                  <a:lnTo>
                    <a:pt x="223335" y="169308"/>
                  </a:lnTo>
                  <a:cubicBezTo>
                    <a:pt x="224092" y="169686"/>
                    <a:pt x="224912" y="169873"/>
                    <a:pt x="225731" y="169873"/>
                  </a:cubicBezTo>
                  <a:cubicBezTo>
                    <a:pt x="226711" y="169873"/>
                    <a:pt x="227688" y="169605"/>
                    <a:pt x="228548" y="169073"/>
                  </a:cubicBezTo>
                  <a:cubicBezTo>
                    <a:pt x="229252" y="168638"/>
                    <a:pt x="229824" y="168049"/>
                    <a:pt x="230252" y="167372"/>
                  </a:cubicBezTo>
                  <a:cubicBezTo>
                    <a:pt x="235719" y="175508"/>
                    <a:pt x="238737" y="185158"/>
                    <a:pt x="238737" y="195123"/>
                  </a:cubicBezTo>
                  <a:lnTo>
                    <a:pt x="238737" y="202943"/>
                  </a:lnTo>
                  <a:cubicBezTo>
                    <a:pt x="238737" y="204850"/>
                    <a:pt x="239751" y="206614"/>
                    <a:pt x="241400" y="207573"/>
                  </a:cubicBezTo>
                  <a:cubicBezTo>
                    <a:pt x="243566" y="208834"/>
                    <a:pt x="244859" y="211044"/>
                    <a:pt x="244859" y="213487"/>
                  </a:cubicBezTo>
                  <a:cubicBezTo>
                    <a:pt x="244859" y="217284"/>
                    <a:pt x="241770" y="220373"/>
                    <a:pt x="237974" y="220373"/>
                  </a:cubicBezTo>
                  <a:lnTo>
                    <a:pt x="231853" y="220373"/>
                  </a:lnTo>
                  <a:close/>
                  <a:moveTo>
                    <a:pt x="274702" y="250980"/>
                  </a:moveTo>
                  <a:cubicBezTo>
                    <a:pt x="259869" y="250980"/>
                    <a:pt x="246107" y="243428"/>
                    <a:pt x="238096" y="231085"/>
                  </a:cubicBezTo>
                  <a:cubicBezTo>
                    <a:pt x="247745" y="231019"/>
                    <a:pt x="255574" y="223151"/>
                    <a:pt x="255574" y="213488"/>
                  </a:cubicBezTo>
                  <a:cubicBezTo>
                    <a:pt x="255574" y="208373"/>
                    <a:pt x="253289" y="203525"/>
                    <a:pt x="249453" y="200212"/>
                  </a:cubicBezTo>
                  <a:lnTo>
                    <a:pt x="249453" y="195124"/>
                  </a:lnTo>
                  <a:cubicBezTo>
                    <a:pt x="249453" y="192967"/>
                    <a:pt x="249336" y="190822"/>
                    <a:pt x="249108" y="188698"/>
                  </a:cubicBezTo>
                  <a:cubicBezTo>
                    <a:pt x="257053" y="192423"/>
                    <a:pt x="265727" y="194359"/>
                    <a:pt x="274702" y="194359"/>
                  </a:cubicBezTo>
                  <a:cubicBezTo>
                    <a:pt x="281235" y="194359"/>
                    <a:pt x="287696" y="193277"/>
                    <a:pt x="293830" y="191231"/>
                  </a:cubicBezTo>
                  <a:lnTo>
                    <a:pt x="293830" y="199077"/>
                  </a:lnTo>
                  <a:cubicBezTo>
                    <a:pt x="293830" y="206316"/>
                    <a:pt x="298173" y="212731"/>
                    <a:pt x="304894" y="215419"/>
                  </a:cubicBezTo>
                  <a:lnTo>
                    <a:pt x="316447" y="220040"/>
                  </a:lnTo>
                  <a:cubicBezTo>
                    <a:pt x="310910" y="238348"/>
                    <a:pt x="294001" y="250980"/>
                    <a:pt x="274702" y="250980"/>
                  </a:cubicBezTo>
                  <a:close/>
                </a:path>
              </a:pathLst>
            </a:custGeom>
            <a:grpFill/>
            <a:ln w="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9420315C-D8C3-4911-A3F1-727813A3B3A1}"/>
                </a:ext>
              </a:extLst>
            </p:cNvPr>
            <p:cNvSpPr/>
            <p:nvPr/>
          </p:nvSpPr>
          <p:spPr>
            <a:xfrm>
              <a:off x="5804601" y="5243985"/>
              <a:ext cx="35004" cy="16431"/>
            </a:xfrm>
            <a:custGeom>
              <a:avLst/>
              <a:gdLst>
                <a:gd name="connsiteX0" fmla="*/ 33218 w 35004"/>
                <a:gd name="connsiteY0" fmla="*/ 1197 h 16430"/>
                <a:gd name="connsiteX1" fmla="*/ 25683 w 35004"/>
                <a:gd name="connsiteY1" fmla="*/ 1983 h 16430"/>
                <a:gd name="connsiteX2" fmla="*/ 17601 w 35004"/>
                <a:gd name="connsiteY2" fmla="*/ 6122 h 16430"/>
                <a:gd name="connsiteX3" fmla="*/ 9519 w 35004"/>
                <a:gd name="connsiteY3" fmla="*/ 1983 h 16430"/>
                <a:gd name="connsiteX4" fmla="*/ 1983 w 35004"/>
                <a:gd name="connsiteY4" fmla="*/ 1197 h 16430"/>
                <a:gd name="connsiteX5" fmla="*/ 1197 w 35004"/>
                <a:gd name="connsiteY5" fmla="*/ 8733 h 16430"/>
                <a:gd name="connsiteX6" fmla="*/ 17601 w 35004"/>
                <a:gd name="connsiteY6" fmla="*/ 16837 h 16430"/>
                <a:gd name="connsiteX7" fmla="*/ 34005 w 35004"/>
                <a:gd name="connsiteY7" fmla="*/ 8733 h 16430"/>
                <a:gd name="connsiteX8" fmla="*/ 33218 w 35004"/>
                <a:gd name="connsiteY8" fmla="*/ 1197 h 16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004" h="16430">
                  <a:moveTo>
                    <a:pt x="33218" y="1197"/>
                  </a:moveTo>
                  <a:cubicBezTo>
                    <a:pt x="30920" y="-667"/>
                    <a:pt x="27546" y="-316"/>
                    <a:pt x="25683" y="1983"/>
                  </a:cubicBezTo>
                  <a:cubicBezTo>
                    <a:pt x="23517" y="4652"/>
                    <a:pt x="20648" y="6122"/>
                    <a:pt x="17601" y="6122"/>
                  </a:cubicBezTo>
                  <a:cubicBezTo>
                    <a:pt x="14554" y="6122"/>
                    <a:pt x="11684" y="4652"/>
                    <a:pt x="9519" y="1983"/>
                  </a:cubicBezTo>
                  <a:cubicBezTo>
                    <a:pt x="7655" y="-315"/>
                    <a:pt x="4281" y="-667"/>
                    <a:pt x="1983" y="1197"/>
                  </a:cubicBezTo>
                  <a:cubicBezTo>
                    <a:pt x="-315" y="3061"/>
                    <a:pt x="-667" y="6435"/>
                    <a:pt x="1197" y="8733"/>
                  </a:cubicBezTo>
                  <a:cubicBezTo>
                    <a:pt x="5374" y="13883"/>
                    <a:pt x="11353" y="16837"/>
                    <a:pt x="17601" y="16837"/>
                  </a:cubicBezTo>
                  <a:cubicBezTo>
                    <a:pt x="23849" y="16837"/>
                    <a:pt x="29827" y="13883"/>
                    <a:pt x="34005" y="8733"/>
                  </a:cubicBezTo>
                  <a:cubicBezTo>
                    <a:pt x="35868" y="6435"/>
                    <a:pt x="35516" y="3061"/>
                    <a:pt x="33218" y="1197"/>
                  </a:cubicBezTo>
                  <a:close/>
                </a:path>
              </a:pathLst>
            </a:custGeom>
            <a:grpFill/>
            <a:ln w="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05A33212-F4BC-4BDF-8450-2DC96CA3FE0C}"/>
                </a:ext>
              </a:extLst>
            </p:cNvPr>
            <p:cNvSpPr/>
            <p:nvPr/>
          </p:nvSpPr>
          <p:spPr>
            <a:xfrm>
              <a:off x="5798578" y="5219523"/>
              <a:ext cx="10716" cy="10716"/>
            </a:xfrm>
            <a:custGeom>
              <a:avLst/>
              <a:gdLst>
                <a:gd name="connsiteX0" fmla="*/ 10716 w 10715"/>
                <a:gd name="connsiteY0" fmla="*/ 5358 h 10715"/>
                <a:gd name="connsiteX1" fmla="*/ 5358 w 10715"/>
                <a:gd name="connsiteY1" fmla="*/ 10716 h 10715"/>
                <a:gd name="connsiteX2" fmla="*/ 0 w 10715"/>
                <a:gd name="connsiteY2" fmla="*/ 5358 h 10715"/>
                <a:gd name="connsiteX3" fmla="*/ 5358 w 10715"/>
                <a:gd name="connsiteY3" fmla="*/ 0 h 10715"/>
                <a:gd name="connsiteX4" fmla="*/ 10716 w 10715"/>
                <a:gd name="connsiteY4" fmla="*/ 5358 h 1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5" h="10715">
                  <a:moveTo>
                    <a:pt x="10716" y="5358"/>
                  </a:moveTo>
                  <a:cubicBezTo>
                    <a:pt x="10716" y="8317"/>
                    <a:pt x="8317" y="10716"/>
                    <a:pt x="5358" y="10716"/>
                  </a:cubicBezTo>
                  <a:cubicBezTo>
                    <a:pt x="2399" y="10716"/>
                    <a:pt x="0" y="8317"/>
                    <a:pt x="0" y="5358"/>
                  </a:cubicBezTo>
                  <a:cubicBezTo>
                    <a:pt x="0" y="2399"/>
                    <a:pt x="2399" y="0"/>
                    <a:pt x="5358" y="0"/>
                  </a:cubicBezTo>
                  <a:cubicBezTo>
                    <a:pt x="8317" y="0"/>
                    <a:pt x="10716" y="2399"/>
                    <a:pt x="10716" y="5358"/>
                  </a:cubicBezTo>
                  <a:close/>
                </a:path>
              </a:pathLst>
            </a:custGeom>
            <a:grpFill/>
            <a:ln w="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0F20FDD2-C3B1-455B-8A32-531163661388}"/>
                </a:ext>
              </a:extLst>
            </p:cNvPr>
            <p:cNvSpPr/>
            <p:nvPr/>
          </p:nvSpPr>
          <p:spPr>
            <a:xfrm>
              <a:off x="5835011" y="5219523"/>
              <a:ext cx="10716" cy="10716"/>
            </a:xfrm>
            <a:custGeom>
              <a:avLst/>
              <a:gdLst>
                <a:gd name="connsiteX0" fmla="*/ 10716 w 10715"/>
                <a:gd name="connsiteY0" fmla="*/ 5358 h 10715"/>
                <a:gd name="connsiteX1" fmla="*/ 5358 w 10715"/>
                <a:gd name="connsiteY1" fmla="*/ 10716 h 10715"/>
                <a:gd name="connsiteX2" fmla="*/ 0 w 10715"/>
                <a:gd name="connsiteY2" fmla="*/ 5358 h 10715"/>
                <a:gd name="connsiteX3" fmla="*/ 5358 w 10715"/>
                <a:gd name="connsiteY3" fmla="*/ 0 h 10715"/>
                <a:gd name="connsiteX4" fmla="*/ 10716 w 10715"/>
                <a:gd name="connsiteY4" fmla="*/ 5358 h 1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15" h="10715">
                  <a:moveTo>
                    <a:pt x="10716" y="5358"/>
                  </a:moveTo>
                  <a:cubicBezTo>
                    <a:pt x="10716" y="8317"/>
                    <a:pt x="8317" y="10716"/>
                    <a:pt x="5358" y="10716"/>
                  </a:cubicBezTo>
                  <a:cubicBezTo>
                    <a:pt x="2399" y="10716"/>
                    <a:pt x="0" y="8317"/>
                    <a:pt x="0" y="5358"/>
                  </a:cubicBezTo>
                  <a:cubicBezTo>
                    <a:pt x="0" y="2399"/>
                    <a:pt x="2399" y="0"/>
                    <a:pt x="5358" y="0"/>
                  </a:cubicBezTo>
                  <a:cubicBezTo>
                    <a:pt x="8317" y="0"/>
                    <a:pt x="10716" y="2399"/>
                    <a:pt x="10716" y="5358"/>
                  </a:cubicBezTo>
                  <a:close/>
                </a:path>
              </a:pathLst>
            </a:custGeom>
            <a:grpFill/>
            <a:ln w="70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69" name="Group 151">
            <a:extLst>
              <a:ext uri="{FF2B5EF4-FFF2-40B4-BE49-F238E27FC236}">
                <a16:creationId xmlns:a16="http://schemas.microsoft.com/office/drawing/2014/main" id="{1CFB4C32-95F8-471E-A710-AD9B9D353A6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69761" y="2838895"/>
            <a:ext cx="509603" cy="509604"/>
            <a:chOff x="2972" y="3388"/>
            <a:chExt cx="211" cy="211"/>
          </a:xfrm>
          <a:solidFill>
            <a:srgbClr val="49A9F6"/>
          </a:solidFill>
        </p:grpSpPr>
        <p:sp>
          <p:nvSpPr>
            <p:cNvPr id="70" name="Freeform 152">
              <a:extLst>
                <a:ext uri="{FF2B5EF4-FFF2-40B4-BE49-F238E27FC236}">
                  <a16:creationId xmlns:a16="http://schemas.microsoft.com/office/drawing/2014/main" id="{5F56691E-0678-4B9E-B491-8609EF737F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2" y="3388"/>
              <a:ext cx="89" cy="89"/>
            </a:xfrm>
            <a:custGeom>
              <a:avLst/>
              <a:gdLst>
                <a:gd name="T0" fmla="*/ 3467 w 3467"/>
                <a:gd name="T1" fmla="*/ 1733 h 3467"/>
                <a:gd name="T2" fmla="*/ 1733 w 3467"/>
                <a:gd name="T3" fmla="*/ 0 h 3467"/>
                <a:gd name="T4" fmla="*/ 0 w 3467"/>
                <a:gd name="T5" fmla="*/ 1733 h 3467"/>
                <a:gd name="T6" fmla="*/ 1733 w 3467"/>
                <a:gd name="T7" fmla="*/ 3467 h 3467"/>
                <a:gd name="T8" fmla="*/ 3467 w 3467"/>
                <a:gd name="T9" fmla="*/ 1733 h 3467"/>
                <a:gd name="T10" fmla="*/ 267 w 3467"/>
                <a:gd name="T11" fmla="*/ 1733 h 3467"/>
                <a:gd name="T12" fmla="*/ 1733 w 3467"/>
                <a:gd name="T13" fmla="*/ 267 h 3467"/>
                <a:gd name="T14" fmla="*/ 3200 w 3467"/>
                <a:gd name="T15" fmla="*/ 1733 h 3467"/>
                <a:gd name="T16" fmla="*/ 1733 w 3467"/>
                <a:gd name="T17" fmla="*/ 3200 h 3467"/>
                <a:gd name="T18" fmla="*/ 267 w 3467"/>
                <a:gd name="T19" fmla="*/ 1733 h 3467"/>
                <a:gd name="T20" fmla="*/ 267 w 3467"/>
                <a:gd name="T21" fmla="*/ 1733 h 3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467" h="3467">
                  <a:moveTo>
                    <a:pt x="3467" y="1733"/>
                  </a:moveTo>
                  <a:cubicBezTo>
                    <a:pt x="3467" y="778"/>
                    <a:pt x="2689" y="0"/>
                    <a:pt x="1733" y="0"/>
                  </a:cubicBezTo>
                  <a:cubicBezTo>
                    <a:pt x="778" y="0"/>
                    <a:pt x="0" y="778"/>
                    <a:pt x="0" y="1733"/>
                  </a:cubicBezTo>
                  <a:cubicBezTo>
                    <a:pt x="0" y="2689"/>
                    <a:pt x="778" y="3467"/>
                    <a:pt x="1733" y="3467"/>
                  </a:cubicBezTo>
                  <a:cubicBezTo>
                    <a:pt x="2689" y="3467"/>
                    <a:pt x="3467" y="2689"/>
                    <a:pt x="3467" y="1733"/>
                  </a:cubicBezTo>
                  <a:close/>
                  <a:moveTo>
                    <a:pt x="267" y="1733"/>
                  </a:moveTo>
                  <a:cubicBezTo>
                    <a:pt x="267" y="925"/>
                    <a:pt x="925" y="267"/>
                    <a:pt x="1733" y="267"/>
                  </a:cubicBezTo>
                  <a:cubicBezTo>
                    <a:pt x="2542" y="267"/>
                    <a:pt x="3200" y="925"/>
                    <a:pt x="3200" y="1733"/>
                  </a:cubicBezTo>
                  <a:cubicBezTo>
                    <a:pt x="3200" y="2542"/>
                    <a:pt x="2542" y="3200"/>
                    <a:pt x="1733" y="3200"/>
                  </a:cubicBezTo>
                  <a:cubicBezTo>
                    <a:pt x="925" y="3200"/>
                    <a:pt x="267" y="2542"/>
                    <a:pt x="267" y="1733"/>
                  </a:cubicBezTo>
                  <a:close/>
                  <a:moveTo>
                    <a:pt x="267" y="173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153">
              <a:extLst>
                <a:ext uri="{FF2B5EF4-FFF2-40B4-BE49-F238E27FC236}">
                  <a16:creationId xmlns:a16="http://schemas.microsoft.com/office/drawing/2014/main" id="{CAC8E86A-F2A1-48FA-9415-8B908AD25F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" y="3412"/>
              <a:ext cx="20" cy="41"/>
            </a:xfrm>
            <a:custGeom>
              <a:avLst/>
              <a:gdLst>
                <a:gd name="T0" fmla="*/ 400 w 800"/>
                <a:gd name="T1" fmla="*/ 400 h 1600"/>
                <a:gd name="T2" fmla="*/ 534 w 800"/>
                <a:gd name="T3" fmla="*/ 534 h 1600"/>
                <a:gd name="T4" fmla="*/ 800 w 800"/>
                <a:gd name="T5" fmla="*/ 534 h 1600"/>
                <a:gd name="T6" fmla="*/ 534 w 800"/>
                <a:gd name="T7" fmla="*/ 158 h 1600"/>
                <a:gd name="T8" fmla="*/ 534 w 800"/>
                <a:gd name="T9" fmla="*/ 0 h 1600"/>
                <a:gd name="T10" fmla="*/ 267 w 800"/>
                <a:gd name="T11" fmla="*/ 0 h 1600"/>
                <a:gd name="T12" fmla="*/ 267 w 800"/>
                <a:gd name="T13" fmla="*/ 158 h 1600"/>
                <a:gd name="T14" fmla="*/ 0 w 800"/>
                <a:gd name="T15" fmla="*/ 534 h 1600"/>
                <a:gd name="T16" fmla="*/ 400 w 800"/>
                <a:gd name="T17" fmla="*/ 934 h 1600"/>
                <a:gd name="T18" fmla="*/ 534 w 800"/>
                <a:gd name="T19" fmla="*/ 1067 h 1600"/>
                <a:gd name="T20" fmla="*/ 400 w 800"/>
                <a:gd name="T21" fmla="*/ 1200 h 1600"/>
                <a:gd name="T22" fmla="*/ 267 w 800"/>
                <a:gd name="T23" fmla="*/ 1067 h 1600"/>
                <a:gd name="T24" fmla="*/ 0 w 800"/>
                <a:gd name="T25" fmla="*/ 1067 h 1600"/>
                <a:gd name="T26" fmla="*/ 267 w 800"/>
                <a:gd name="T27" fmla="*/ 1442 h 1600"/>
                <a:gd name="T28" fmla="*/ 267 w 800"/>
                <a:gd name="T29" fmla="*/ 1600 h 1600"/>
                <a:gd name="T30" fmla="*/ 534 w 800"/>
                <a:gd name="T31" fmla="*/ 1600 h 1600"/>
                <a:gd name="T32" fmla="*/ 534 w 800"/>
                <a:gd name="T33" fmla="*/ 1442 h 1600"/>
                <a:gd name="T34" fmla="*/ 800 w 800"/>
                <a:gd name="T35" fmla="*/ 1067 h 1600"/>
                <a:gd name="T36" fmla="*/ 400 w 800"/>
                <a:gd name="T37" fmla="*/ 667 h 1600"/>
                <a:gd name="T38" fmla="*/ 267 w 800"/>
                <a:gd name="T39" fmla="*/ 534 h 1600"/>
                <a:gd name="T40" fmla="*/ 400 w 800"/>
                <a:gd name="T41" fmla="*/ 400 h 1600"/>
                <a:gd name="T42" fmla="*/ 400 w 800"/>
                <a:gd name="T43" fmla="*/ 40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00" h="1600">
                  <a:moveTo>
                    <a:pt x="400" y="400"/>
                  </a:moveTo>
                  <a:cubicBezTo>
                    <a:pt x="474" y="400"/>
                    <a:pt x="534" y="460"/>
                    <a:pt x="534" y="534"/>
                  </a:cubicBezTo>
                  <a:lnTo>
                    <a:pt x="800" y="534"/>
                  </a:lnTo>
                  <a:cubicBezTo>
                    <a:pt x="800" y="360"/>
                    <a:pt x="688" y="213"/>
                    <a:pt x="534" y="158"/>
                  </a:cubicBezTo>
                  <a:lnTo>
                    <a:pt x="534" y="0"/>
                  </a:lnTo>
                  <a:lnTo>
                    <a:pt x="267" y="0"/>
                  </a:lnTo>
                  <a:lnTo>
                    <a:pt x="267" y="158"/>
                  </a:lnTo>
                  <a:cubicBezTo>
                    <a:pt x="112" y="213"/>
                    <a:pt x="0" y="360"/>
                    <a:pt x="0" y="534"/>
                  </a:cubicBezTo>
                  <a:cubicBezTo>
                    <a:pt x="0" y="754"/>
                    <a:pt x="180" y="934"/>
                    <a:pt x="400" y="934"/>
                  </a:cubicBezTo>
                  <a:cubicBezTo>
                    <a:pt x="474" y="934"/>
                    <a:pt x="534" y="994"/>
                    <a:pt x="534" y="1067"/>
                  </a:cubicBezTo>
                  <a:cubicBezTo>
                    <a:pt x="534" y="1140"/>
                    <a:pt x="474" y="1200"/>
                    <a:pt x="400" y="1200"/>
                  </a:cubicBezTo>
                  <a:cubicBezTo>
                    <a:pt x="327" y="1200"/>
                    <a:pt x="267" y="1140"/>
                    <a:pt x="267" y="1067"/>
                  </a:cubicBezTo>
                  <a:lnTo>
                    <a:pt x="0" y="1067"/>
                  </a:lnTo>
                  <a:cubicBezTo>
                    <a:pt x="0" y="1241"/>
                    <a:pt x="112" y="1387"/>
                    <a:pt x="267" y="1442"/>
                  </a:cubicBezTo>
                  <a:lnTo>
                    <a:pt x="267" y="1600"/>
                  </a:lnTo>
                  <a:lnTo>
                    <a:pt x="534" y="1600"/>
                  </a:lnTo>
                  <a:lnTo>
                    <a:pt x="534" y="1442"/>
                  </a:lnTo>
                  <a:cubicBezTo>
                    <a:pt x="688" y="1387"/>
                    <a:pt x="800" y="1241"/>
                    <a:pt x="800" y="1067"/>
                  </a:cubicBezTo>
                  <a:cubicBezTo>
                    <a:pt x="800" y="846"/>
                    <a:pt x="621" y="667"/>
                    <a:pt x="400" y="667"/>
                  </a:cubicBezTo>
                  <a:cubicBezTo>
                    <a:pt x="327" y="667"/>
                    <a:pt x="267" y="607"/>
                    <a:pt x="267" y="534"/>
                  </a:cubicBezTo>
                  <a:cubicBezTo>
                    <a:pt x="267" y="460"/>
                    <a:pt x="327" y="400"/>
                    <a:pt x="400" y="400"/>
                  </a:cubicBezTo>
                  <a:close/>
                  <a:moveTo>
                    <a:pt x="400" y="4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154">
              <a:extLst>
                <a:ext uri="{FF2B5EF4-FFF2-40B4-BE49-F238E27FC236}">
                  <a16:creationId xmlns:a16="http://schemas.microsoft.com/office/drawing/2014/main" id="{F14B40B7-3284-4C43-9FA2-91284A2A12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7" y="3402"/>
              <a:ext cx="50" cy="49"/>
            </a:xfrm>
            <a:custGeom>
              <a:avLst/>
              <a:gdLst>
                <a:gd name="T0" fmla="*/ 735 w 1935"/>
                <a:gd name="T1" fmla="*/ 267 h 1936"/>
                <a:gd name="T2" fmla="*/ 1669 w 1935"/>
                <a:gd name="T3" fmla="*/ 1200 h 1936"/>
                <a:gd name="T4" fmla="*/ 1472 w 1935"/>
                <a:gd name="T5" fmla="*/ 1772 h 1936"/>
                <a:gd name="T6" fmla="*/ 1683 w 1935"/>
                <a:gd name="T7" fmla="*/ 1936 h 1936"/>
                <a:gd name="T8" fmla="*/ 1935 w 1935"/>
                <a:gd name="T9" fmla="*/ 1200 h 1936"/>
                <a:gd name="T10" fmla="*/ 735 w 1935"/>
                <a:gd name="T11" fmla="*/ 0 h 1936"/>
                <a:gd name="T12" fmla="*/ 0 w 1935"/>
                <a:gd name="T13" fmla="*/ 253 h 1936"/>
                <a:gd name="T14" fmla="*/ 164 w 1935"/>
                <a:gd name="T15" fmla="*/ 464 h 1936"/>
                <a:gd name="T16" fmla="*/ 735 w 1935"/>
                <a:gd name="T17" fmla="*/ 267 h 1936"/>
                <a:gd name="T18" fmla="*/ 735 w 1935"/>
                <a:gd name="T19" fmla="*/ 267 h 1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5" h="1936">
                  <a:moveTo>
                    <a:pt x="735" y="267"/>
                  </a:moveTo>
                  <a:cubicBezTo>
                    <a:pt x="1250" y="267"/>
                    <a:pt x="1669" y="686"/>
                    <a:pt x="1669" y="1200"/>
                  </a:cubicBezTo>
                  <a:cubicBezTo>
                    <a:pt x="1669" y="1409"/>
                    <a:pt x="1601" y="1606"/>
                    <a:pt x="1472" y="1772"/>
                  </a:cubicBezTo>
                  <a:lnTo>
                    <a:pt x="1683" y="1936"/>
                  </a:lnTo>
                  <a:cubicBezTo>
                    <a:pt x="1848" y="1723"/>
                    <a:pt x="1935" y="1468"/>
                    <a:pt x="1935" y="1200"/>
                  </a:cubicBezTo>
                  <a:cubicBezTo>
                    <a:pt x="1935" y="539"/>
                    <a:pt x="1397" y="0"/>
                    <a:pt x="735" y="0"/>
                  </a:cubicBezTo>
                  <a:cubicBezTo>
                    <a:pt x="467" y="0"/>
                    <a:pt x="213" y="88"/>
                    <a:pt x="0" y="253"/>
                  </a:cubicBezTo>
                  <a:lnTo>
                    <a:pt x="164" y="464"/>
                  </a:lnTo>
                  <a:cubicBezTo>
                    <a:pt x="329" y="335"/>
                    <a:pt x="527" y="267"/>
                    <a:pt x="735" y="267"/>
                  </a:cubicBezTo>
                  <a:close/>
                  <a:moveTo>
                    <a:pt x="735" y="26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155">
              <a:extLst>
                <a:ext uri="{FF2B5EF4-FFF2-40B4-BE49-F238E27FC236}">
                  <a16:creationId xmlns:a16="http://schemas.microsoft.com/office/drawing/2014/main" id="{1813251F-4BB3-45F8-ACD0-8CB615D633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6" y="3413"/>
              <a:ext cx="49" cy="50"/>
            </a:xfrm>
            <a:custGeom>
              <a:avLst/>
              <a:gdLst>
                <a:gd name="T0" fmla="*/ 1936 w 1936"/>
                <a:gd name="T1" fmla="*/ 1683 h 1935"/>
                <a:gd name="T2" fmla="*/ 1772 w 1936"/>
                <a:gd name="T3" fmla="*/ 1472 h 1935"/>
                <a:gd name="T4" fmla="*/ 1200 w 1936"/>
                <a:gd name="T5" fmla="*/ 1669 h 1935"/>
                <a:gd name="T6" fmla="*/ 267 w 1936"/>
                <a:gd name="T7" fmla="*/ 735 h 1935"/>
                <a:gd name="T8" fmla="*/ 464 w 1936"/>
                <a:gd name="T9" fmla="*/ 164 h 1935"/>
                <a:gd name="T10" fmla="*/ 253 w 1936"/>
                <a:gd name="T11" fmla="*/ 0 h 1935"/>
                <a:gd name="T12" fmla="*/ 0 w 1936"/>
                <a:gd name="T13" fmla="*/ 735 h 1935"/>
                <a:gd name="T14" fmla="*/ 1200 w 1936"/>
                <a:gd name="T15" fmla="*/ 1935 h 1935"/>
                <a:gd name="T16" fmla="*/ 1936 w 1936"/>
                <a:gd name="T17" fmla="*/ 1683 h 1935"/>
                <a:gd name="T18" fmla="*/ 1936 w 1936"/>
                <a:gd name="T19" fmla="*/ 1683 h 1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6" h="1935">
                  <a:moveTo>
                    <a:pt x="1936" y="1683"/>
                  </a:moveTo>
                  <a:lnTo>
                    <a:pt x="1772" y="1472"/>
                  </a:lnTo>
                  <a:cubicBezTo>
                    <a:pt x="1606" y="1601"/>
                    <a:pt x="1409" y="1669"/>
                    <a:pt x="1200" y="1669"/>
                  </a:cubicBezTo>
                  <a:cubicBezTo>
                    <a:pt x="686" y="1669"/>
                    <a:pt x="267" y="1250"/>
                    <a:pt x="267" y="735"/>
                  </a:cubicBezTo>
                  <a:cubicBezTo>
                    <a:pt x="267" y="527"/>
                    <a:pt x="335" y="329"/>
                    <a:pt x="464" y="164"/>
                  </a:cubicBezTo>
                  <a:lnTo>
                    <a:pt x="253" y="0"/>
                  </a:lnTo>
                  <a:cubicBezTo>
                    <a:pt x="88" y="213"/>
                    <a:pt x="0" y="467"/>
                    <a:pt x="0" y="735"/>
                  </a:cubicBezTo>
                  <a:cubicBezTo>
                    <a:pt x="0" y="1397"/>
                    <a:pt x="539" y="1935"/>
                    <a:pt x="1200" y="1935"/>
                  </a:cubicBezTo>
                  <a:cubicBezTo>
                    <a:pt x="1468" y="1935"/>
                    <a:pt x="1723" y="1848"/>
                    <a:pt x="1936" y="1683"/>
                  </a:cubicBezTo>
                  <a:close/>
                  <a:moveTo>
                    <a:pt x="1936" y="168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156">
              <a:extLst>
                <a:ext uri="{FF2B5EF4-FFF2-40B4-BE49-F238E27FC236}">
                  <a16:creationId xmlns:a16="http://schemas.microsoft.com/office/drawing/2014/main" id="{7793C1C8-FB4B-4CF2-9D93-2D94035C29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6" y="3388"/>
              <a:ext cx="143" cy="211"/>
            </a:xfrm>
            <a:custGeom>
              <a:avLst/>
              <a:gdLst>
                <a:gd name="T0" fmla="*/ 5067 w 5600"/>
                <a:gd name="T1" fmla="*/ 2400 h 8267"/>
                <a:gd name="T2" fmla="*/ 4800 w 5600"/>
                <a:gd name="T3" fmla="*/ 1333 h 8267"/>
                <a:gd name="T4" fmla="*/ 4134 w 5600"/>
                <a:gd name="T5" fmla="*/ 800 h 8267"/>
                <a:gd name="T6" fmla="*/ 3867 w 5600"/>
                <a:gd name="T7" fmla="*/ 0 h 8267"/>
                <a:gd name="T8" fmla="*/ 3200 w 5600"/>
                <a:gd name="T9" fmla="*/ 800 h 8267"/>
                <a:gd name="T10" fmla="*/ 2934 w 5600"/>
                <a:gd name="T11" fmla="*/ 1333 h 8267"/>
                <a:gd name="T12" fmla="*/ 2667 w 5600"/>
                <a:gd name="T13" fmla="*/ 2400 h 8267"/>
                <a:gd name="T14" fmla="*/ 2400 w 5600"/>
                <a:gd name="T15" fmla="*/ 4267 h 8267"/>
                <a:gd name="T16" fmla="*/ 2134 w 5600"/>
                <a:gd name="T17" fmla="*/ 3467 h 8267"/>
                <a:gd name="T18" fmla="*/ 1734 w 5600"/>
                <a:gd name="T19" fmla="*/ 2933 h 8267"/>
                <a:gd name="T20" fmla="*/ 1467 w 5600"/>
                <a:gd name="T21" fmla="*/ 2267 h 8267"/>
                <a:gd name="T22" fmla="*/ 1067 w 5600"/>
                <a:gd name="T23" fmla="*/ 2933 h 8267"/>
                <a:gd name="T24" fmla="*/ 800 w 5600"/>
                <a:gd name="T25" fmla="*/ 3467 h 8267"/>
                <a:gd name="T26" fmla="*/ 267 w 5600"/>
                <a:gd name="T27" fmla="*/ 4267 h 8267"/>
                <a:gd name="T28" fmla="*/ 0 w 5600"/>
                <a:gd name="T29" fmla="*/ 8000 h 8267"/>
                <a:gd name="T30" fmla="*/ 5600 w 5600"/>
                <a:gd name="T31" fmla="*/ 8267 h 8267"/>
                <a:gd name="T32" fmla="*/ 5334 w 5600"/>
                <a:gd name="T33" fmla="*/ 8000 h 8267"/>
                <a:gd name="T34" fmla="*/ 3467 w 5600"/>
                <a:gd name="T35" fmla="*/ 1067 h 8267"/>
                <a:gd name="T36" fmla="*/ 4534 w 5600"/>
                <a:gd name="T37" fmla="*/ 1333 h 8267"/>
                <a:gd name="T38" fmla="*/ 3467 w 5600"/>
                <a:gd name="T39" fmla="*/ 1067 h 8267"/>
                <a:gd name="T40" fmla="*/ 4800 w 5600"/>
                <a:gd name="T41" fmla="*/ 1600 h 8267"/>
                <a:gd name="T42" fmla="*/ 4534 w 5600"/>
                <a:gd name="T43" fmla="*/ 2400 h 8267"/>
                <a:gd name="T44" fmla="*/ 4267 w 5600"/>
                <a:gd name="T45" fmla="*/ 1867 h 8267"/>
                <a:gd name="T46" fmla="*/ 3734 w 5600"/>
                <a:gd name="T47" fmla="*/ 2400 h 8267"/>
                <a:gd name="T48" fmla="*/ 3467 w 5600"/>
                <a:gd name="T49" fmla="*/ 1867 h 8267"/>
                <a:gd name="T50" fmla="*/ 3200 w 5600"/>
                <a:gd name="T51" fmla="*/ 2400 h 8267"/>
                <a:gd name="T52" fmla="*/ 5067 w 5600"/>
                <a:gd name="T53" fmla="*/ 2667 h 8267"/>
                <a:gd name="T54" fmla="*/ 4667 w 5600"/>
                <a:gd name="T55" fmla="*/ 8000 h 8267"/>
                <a:gd name="T56" fmla="*/ 3334 w 5600"/>
                <a:gd name="T57" fmla="*/ 6667 h 8267"/>
                <a:gd name="T58" fmla="*/ 2934 w 5600"/>
                <a:gd name="T59" fmla="*/ 8000 h 8267"/>
                <a:gd name="T60" fmla="*/ 5067 w 5600"/>
                <a:gd name="T61" fmla="*/ 2667 h 8267"/>
                <a:gd name="T62" fmla="*/ 3600 w 5600"/>
                <a:gd name="T63" fmla="*/ 8000 h 8267"/>
                <a:gd name="T64" fmla="*/ 4400 w 5600"/>
                <a:gd name="T65" fmla="*/ 6933 h 8267"/>
                <a:gd name="T66" fmla="*/ 1334 w 5600"/>
                <a:gd name="T67" fmla="*/ 3200 h 8267"/>
                <a:gd name="T68" fmla="*/ 1867 w 5600"/>
                <a:gd name="T69" fmla="*/ 3467 h 8267"/>
                <a:gd name="T70" fmla="*/ 1334 w 5600"/>
                <a:gd name="T71" fmla="*/ 3200 h 8267"/>
                <a:gd name="T72" fmla="*/ 2134 w 5600"/>
                <a:gd name="T73" fmla="*/ 3733 h 8267"/>
                <a:gd name="T74" fmla="*/ 1734 w 5600"/>
                <a:gd name="T75" fmla="*/ 4267 h 8267"/>
                <a:gd name="T76" fmla="*/ 1467 w 5600"/>
                <a:gd name="T77" fmla="*/ 4000 h 8267"/>
                <a:gd name="T78" fmla="*/ 1067 w 5600"/>
                <a:gd name="T79" fmla="*/ 4267 h 8267"/>
                <a:gd name="T80" fmla="*/ 534 w 5600"/>
                <a:gd name="T81" fmla="*/ 4533 h 8267"/>
                <a:gd name="T82" fmla="*/ 2667 w 5600"/>
                <a:gd name="T83" fmla="*/ 8000 h 8267"/>
                <a:gd name="T84" fmla="*/ 2400 w 5600"/>
                <a:gd name="T85" fmla="*/ 4800 h 8267"/>
                <a:gd name="T86" fmla="*/ 2134 w 5600"/>
                <a:gd name="T87" fmla="*/ 8000 h 8267"/>
                <a:gd name="T88" fmla="*/ 1734 w 5600"/>
                <a:gd name="T89" fmla="*/ 4800 h 8267"/>
                <a:gd name="T90" fmla="*/ 1467 w 5600"/>
                <a:gd name="T91" fmla="*/ 8000 h 8267"/>
                <a:gd name="T92" fmla="*/ 1067 w 5600"/>
                <a:gd name="T93" fmla="*/ 4800 h 8267"/>
                <a:gd name="T94" fmla="*/ 800 w 5600"/>
                <a:gd name="T95" fmla="*/ 8000 h 8267"/>
                <a:gd name="T96" fmla="*/ 534 w 5600"/>
                <a:gd name="T97" fmla="*/ 4533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600" h="8267">
                  <a:moveTo>
                    <a:pt x="5334" y="2400"/>
                  </a:moveTo>
                  <a:lnTo>
                    <a:pt x="5067" y="2400"/>
                  </a:lnTo>
                  <a:lnTo>
                    <a:pt x="5067" y="1333"/>
                  </a:lnTo>
                  <a:lnTo>
                    <a:pt x="4800" y="1333"/>
                  </a:lnTo>
                  <a:lnTo>
                    <a:pt x="4800" y="800"/>
                  </a:lnTo>
                  <a:lnTo>
                    <a:pt x="4134" y="800"/>
                  </a:lnTo>
                  <a:lnTo>
                    <a:pt x="4134" y="0"/>
                  </a:lnTo>
                  <a:lnTo>
                    <a:pt x="3867" y="0"/>
                  </a:lnTo>
                  <a:lnTo>
                    <a:pt x="3867" y="800"/>
                  </a:lnTo>
                  <a:lnTo>
                    <a:pt x="3200" y="800"/>
                  </a:lnTo>
                  <a:lnTo>
                    <a:pt x="3200" y="1333"/>
                  </a:lnTo>
                  <a:lnTo>
                    <a:pt x="2934" y="1333"/>
                  </a:lnTo>
                  <a:lnTo>
                    <a:pt x="2934" y="2400"/>
                  </a:lnTo>
                  <a:lnTo>
                    <a:pt x="2667" y="2400"/>
                  </a:lnTo>
                  <a:lnTo>
                    <a:pt x="2667" y="4267"/>
                  </a:lnTo>
                  <a:lnTo>
                    <a:pt x="2400" y="4267"/>
                  </a:lnTo>
                  <a:lnTo>
                    <a:pt x="2400" y="3467"/>
                  </a:lnTo>
                  <a:lnTo>
                    <a:pt x="2134" y="3467"/>
                  </a:lnTo>
                  <a:lnTo>
                    <a:pt x="2134" y="2933"/>
                  </a:lnTo>
                  <a:lnTo>
                    <a:pt x="1734" y="2933"/>
                  </a:lnTo>
                  <a:lnTo>
                    <a:pt x="1734" y="2267"/>
                  </a:lnTo>
                  <a:lnTo>
                    <a:pt x="1467" y="2267"/>
                  </a:lnTo>
                  <a:lnTo>
                    <a:pt x="1467" y="2933"/>
                  </a:lnTo>
                  <a:lnTo>
                    <a:pt x="1067" y="2933"/>
                  </a:lnTo>
                  <a:lnTo>
                    <a:pt x="1067" y="3467"/>
                  </a:lnTo>
                  <a:lnTo>
                    <a:pt x="800" y="3467"/>
                  </a:lnTo>
                  <a:lnTo>
                    <a:pt x="800" y="4267"/>
                  </a:lnTo>
                  <a:lnTo>
                    <a:pt x="267" y="4267"/>
                  </a:lnTo>
                  <a:lnTo>
                    <a:pt x="267" y="8000"/>
                  </a:lnTo>
                  <a:lnTo>
                    <a:pt x="0" y="8000"/>
                  </a:lnTo>
                  <a:lnTo>
                    <a:pt x="0" y="8267"/>
                  </a:lnTo>
                  <a:lnTo>
                    <a:pt x="5600" y="8267"/>
                  </a:lnTo>
                  <a:lnTo>
                    <a:pt x="5600" y="8000"/>
                  </a:lnTo>
                  <a:lnTo>
                    <a:pt x="5334" y="8000"/>
                  </a:lnTo>
                  <a:lnTo>
                    <a:pt x="5334" y="2400"/>
                  </a:lnTo>
                  <a:close/>
                  <a:moveTo>
                    <a:pt x="3467" y="1067"/>
                  </a:moveTo>
                  <a:lnTo>
                    <a:pt x="4534" y="1067"/>
                  </a:lnTo>
                  <a:lnTo>
                    <a:pt x="4534" y="1333"/>
                  </a:lnTo>
                  <a:lnTo>
                    <a:pt x="3467" y="1333"/>
                  </a:lnTo>
                  <a:lnTo>
                    <a:pt x="3467" y="1067"/>
                  </a:lnTo>
                  <a:close/>
                  <a:moveTo>
                    <a:pt x="3200" y="1600"/>
                  </a:moveTo>
                  <a:lnTo>
                    <a:pt x="4800" y="1600"/>
                  </a:lnTo>
                  <a:lnTo>
                    <a:pt x="4800" y="2400"/>
                  </a:lnTo>
                  <a:lnTo>
                    <a:pt x="4534" y="2400"/>
                  </a:lnTo>
                  <a:lnTo>
                    <a:pt x="4534" y="1867"/>
                  </a:lnTo>
                  <a:lnTo>
                    <a:pt x="4267" y="1867"/>
                  </a:lnTo>
                  <a:lnTo>
                    <a:pt x="4267" y="2400"/>
                  </a:lnTo>
                  <a:lnTo>
                    <a:pt x="3734" y="2400"/>
                  </a:lnTo>
                  <a:lnTo>
                    <a:pt x="3734" y="1867"/>
                  </a:lnTo>
                  <a:lnTo>
                    <a:pt x="3467" y="1867"/>
                  </a:lnTo>
                  <a:lnTo>
                    <a:pt x="3467" y="2400"/>
                  </a:lnTo>
                  <a:lnTo>
                    <a:pt x="3200" y="2400"/>
                  </a:lnTo>
                  <a:lnTo>
                    <a:pt x="3200" y="1600"/>
                  </a:lnTo>
                  <a:close/>
                  <a:moveTo>
                    <a:pt x="5067" y="2667"/>
                  </a:moveTo>
                  <a:lnTo>
                    <a:pt x="5067" y="8000"/>
                  </a:lnTo>
                  <a:lnTo>
                    <a:pt x="4667" y="8000"/>
                  </a:lnTo>
                  <a:lnTo>
                    <a:pt x="4667" y="6667"/>
                  </a:lnTo>
                  <a:lnTo>
                    <a:pt x="3334" y="6667"/>
                  </a:lnTo>
                  <a:lnTo>
                    <a:pt x="3334" y="8000"/>
                  </a:lnTo>
                  <a:lnTo>
                    <a:pt x="2934" y="8000"/>
                  </a:lnTo>
                  <a:lnTo>
                    <a:pt x="2934" y="2667"/>
                  </a:lnTo>
                  <a:lnTo>
                    <a:pt x="5067" y="2667"/>
                  </a:lnTo>
                  <a:close/>
                  <a:moveTo>
                    <a:pt x="4400" y="8000"/>
                  </a:moveTo>
                  <a:lnTo>
                    <a:pt x="3600" y="8000"/>
                  </a:lnTo>
                  <a:lnTo>
                    <a:pt x="3600" y="6933"/>
                  </a:lnTo>
                  <a:lnTo>
                    <a:pt x="4400" y="6933"/>
                  </a:lnTo>
                  <a:lnTo>
                    <a:pt x="4400" y="8000"/>
                  </a:lnTo>
                  <a:close/>
                  <a:moveTo>
                    <a:pt x="1334" y="3200"/>
                  </a:moveTo>
                  <a:lnTo>
                    <a:pt x="1867" y="3200"/>
                  </a:lnTo>
                  <a:lnTo>
                    <a:pt x="1867" y="3467"/>
                  </a:lnTo>
                  <a:lnTo>
                    <a:pt x="1334" y="3467"/>
                  </a:lnTo>
                  <a:lnTo>
                    <a:pt x="1334" y="3200"/>
                  </a:lnTo>
                  <a:close/>
                  <a:moveTo>
                    <a:pt x="1067" y="3733"/>
                  </a:moveTo>
                  <a:lnTo>
                    <a:pt x="2134" y="3733"/>
                  </a:lnTo>
                  <a:lnTo>
                    <a:pt x="2134" y="4267"/>
                  </a:lnTo>
                  <a:lnTo>
                    <a:pt x="1734" y="4267"/>
                  </a:lnTo>
                  <a:lnTo>
                    <a:pt x="1734" y="4000"/>
                  </a:lnTo>
                  <a:lnTo>
                    <a:pt x="1467" y="4000"/>
                  </a:lnTo>
                  <a:lnTo>
                    <a:pt x="1467" y="4267"/>
                  </a:lnTo>
                  <a:lnTo>
                    <a:pt x="1067" y="4267"/>
                  </a:lnTo>
                  <a:lnTo>
                    <a:pt x="1067" y="3733"/>
                  </a:lnTo>
                  <a:close/>
                  <a:moveTo>
                    <a:pt x="534" y="4533"/>
                  </a:moveTo>
                  <a:lnTo>
                    <a:pt x="2667" y="4533"/>
                  </a:lnTo>
                  <a:lnTo>
                    <a:pt x="2667" y="8000"/>
                  </a:lnTo>
                  <a:lnTo>
                    <a:pt x="2400" y="8000"/>
                  </a:lnTo>
                  <a:lnTo>
                    <a:pt x="2400" y="4800"/>
                  </a:lnTo>
                  <a:lnTo>
                    <a:pt x="2134" y="4800"/>
                  </a:lnTo>
                  <a:lnTo>
                    <a:pt x="2134" y="8000"/>
                  </a:lnTo>
                  <a:lnTo>
                    <a:pt x="1734" y="8000"/>
                  </a:lnTo>
                  <a:lnTo>
                    <a:pt x="1734" y="4800"/>
                  </a:lnTo>
                  <a:lnTo>
                    <a:pt x="1467" y="4800"/>
                  </a:lnTo>
                  <a:lnTo>
                    <a:pt x="1467" y="8000"/>
                  </a:lnTo>
                  <a:lnTo>
                    <a:pt x="1067" y="8000"/>
                  </a:lnTo>
                  <a:lnTo>
                    <a:pt x="1067" y="4800"/>
                  </a:lnTo>
                  <a:lnTo>
                    <a:pt x="800" y="4800"/>
                  </a:lnTo>
                  <a:lnTo>
                    <a:pt x="800" y="8000"/>
                  </a:lnTo>
                  <a:lnTo>
                    <a:pt x="534" y="8000"/>
                  </a:lnTo>
                  <a:lnTo>
                    <a:pt x="534" y="4533"/>
                  </a:lnTo>
                  <a:close/>
                  <a:moveTo>
                    <a:pt x="534" y="453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157">
              <a:extLst>
                <a:ext uri="{FF2B5EF4-FFF2-40B4-BE49-F238E27FC236}">
                  <a16:creationId xmlns:a16="http://schemas.microsoft.com/office/drawing/2014/main" id="{DC895793-73F6-461B-8D5D-D431CA52D4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8" y="3463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158">
              <a:extLst>
                <a:ext uri="{FF2B5EF4-FFF2-40B4-BE49-F238E27FC236}">
                  <a16:creationId xmlns:a16="http://schemas.microsoft.com/office/drawing/2014/main" id="{1E6C9F84-B35E-44F6-9252-3703804E4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5" y="3463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159">
              <a:extLst>
                <a:ext uri="{FF2B5EF4-FFF2-40B4-BE49-F238E27FC236}">
                  <a16:creationId xmlns:a16="http://schemas.microsoft.com/office/drawing/2014/main" id="{FE39BC36-3A16-4CB4-A46A-33BF67F0F4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3463"/>
              <a:ext cx="7" cy="7"/>
            </a:xfrm>
            <a:custGeom>
              <a:avLst/>
              <a:gdLst>
                <a:gd name="T0" fmla="*/ 0 w 266"/>
                <a:gd name="T1" fmla="*/ 0 h 267"/>
                <a:gd name="T2" fmla="*/ 266 w 266"/>
                <a:gd name="T3" fmla="*/ 0 h 267"/>
                <a:gd name="T4" fmla="*/ 266 w 266"/>
                <a:gd name="T5" fmla="*/ 267 h 267"/>
                <a:gd name="T6" fmla="*/ 0 w 266"/>
                <a:gd name="T7" fmla="*/ 267 h 267"/>
                <a:gd name="T8" fmla="*/ 0 w 266"/>
                <a:gd name="T9" fmla="*/ 0 h 267"/>
                <a:gd name="T10" fmla="*/ 0 w 2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7">
                  <a:moveTo>
                    <a:pt x="0" y="0"/>
                  </a:moveTo>
                  <a:lnTo>
                    <a:pt x="266" y="0"/>
                  </a:lnTo>
                  <a:lnTo>
                    <a:pt x="2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160">
              <a:extLst>
                <a:ext uri="{FF2B5EF4-FFF2-40B4-BE49-F238E27FC236}">
                  <a16:creationId xmlns:a16="http://schemas.microsoft.com/office/drawing/2014/main" id="{3A032790-60F7-498F-A0F9-6EE93B76FC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8" y="3483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161">
              <a:extLst>
                <a:ext uri="{FF2B5EF4-FFF2-40B4-BE49-F238E27FC236}">
                  <a16:creationId xmlns:a16="http://schemas.microsoft.com/office/drawing/2014/main" id="{9D27C017-D208-419B-AE3E-FFB7B7F61F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5" y="3483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162">
              <a:extLst>
                <a:ext uri="{FF2B5EF4-FFF2-40B4-BE49-F238E27FC236}">
                  <a16:creationId xmlns:a16="http://schemas.microsoft.com/office/drawing/2014/main" id="{9C467833-14ED-4B03-956A-C311212835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3483"/>
              <a:ext cx="7" cy="7"/>
            </a:xfrm>
            <a:custGeom>
              <a:avLst/>
              <a:gdLst>
                <a:gd name="T0" fmla="*/ 0 w 266"/>
                <a:gd name="T1" fmla="*/ 0 h 267"/>
                <a:gd name="T2" fmla="*/ 266 w 266"/>
                <a:gd name="T3" fmla="*/ 0 h 267"/>
                <a:gd name="T4" fmla="*/ 266 w 266"/>
                <a:gd name="T5" fmla="*/ 267 h 267"/>
                <a:gd name="T6" fmla="*/ 0 w 266"/>
                <a:gd name="T7" fmla="*/ 267 h 267"/>
                <a:gd name="T8" fmla="*/ 0 w 266"/>
                <a:gd name="T9" fmla="*/ 0 h 267"/>
                <a:gd name="T10" fmla="*/ 0 w 2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7">
                  <a:moveTo>
                    <a:pt x="0" y="0"/>
                  </a:moveTo>
                  <a:lnTo>
                    <a:pt x="266" y="0"/>
                  </a:lnTo>
                  <a:lnTo>
                    <a:pt x="2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163">
              <a:extLst>
                <a:ext uri="{FF2B5EF4-FFF2-40B4-BE49-F238E27FC236}">
                  <a16:creationId xmlns:a16="http://schemas.microsoft.com/office/drawing/2014/main" id="{5A27AB77-C972-490E-A582-A53E26E0F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8" y="3504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164">
              <a:extLst>
                <a:ext uri="{FF2B5EF4-FFF2-40B4-BE49-F238E27FC236}">
                  <a16:creationId xmlns:a16="http://schemas.microsoft.com/office/drawing/2014/main" id="{E8B11961-75D4-40A3-A6CB-7C6189555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5" y="3504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165">
              <a:extLst>
                <a:ext uri="{FF2B5EF4-FFF2-40B4-BE49-F238E27FC236}">
                  <a16:creationId xmlns:a16="http://schemas.microsoft.com/office/drawing/2014/main" id="{F9107DB1-BC6E-43D1-B1DE-5EA8FD56E4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3504"/>
              <a:ext cx="7" cy="7"/>
            </a:xfrm>
            <a:custGeom>
              <a:avLst/>
              <a:gdLst>
                <a:gd name="T0" fmla="*/ 0 w 266"/>
                <a:gd name="T1" fmla="*/ 0 h 267"/>
                <a:gd name="T2" fmla="*/ 266 w 266"/>
                <a:gd name="T3" fmla="*/ 0 h 267"/>
                <a:gd name="T4" fmla="*/ 266 w 266"/>
                <a:gd name="T5" fmla="*/ 267 h 267"/>
                <a:gd name="T6" fmla="*/ 0 w 266"/>
                <a:gd name="T7" fmla="*/ 267 h 267"/>
                <a:gd name="T8" fmla="*/ 0 w 266"/>
                <a:gd name="T9" fmla="*/ 0 h 267"/>
                <a:gd name="T10" fmla="*/ 0 w 2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7">
                  <a:moveTo>
                    <a:pt x="0" y="0"/>
                  </a:moveTo>
                  <a:lnTo>
                    <a:pt x="266" y="0"/>
                  </a:lnTo>
                  <a:lnTo>
                    <a:pt x="2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166">
              <a:extLst>
                <a:ext uri="{FF2B5EF4-FFF2-40B4-BE49-F238E27FC236}">
                  <a16:creationId xmlns:a16="http://schemas.microsoft.com/office/drawing/2014/main" id="{9DA5ECB2-827D-49C1-B28B-91772F936C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8" y="3524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167">
              <a:extLst>
                <a:ext uri="{FF2B5EF4-FFF2-40B4-BE49-F238E27FC236}">
                  <a16:creationId xmlns:a16="http://schemas.microsoft.com/office/drawing/2014/main" id="{08460F79-1F4B-4BA5-ACEE-FED6172D75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5" y="3524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168">
              <a:extLst>
                <a:ext uri="{FF2B5EF4-FFF2-40B4-BE49-F238E27FC236}">
                  <a16:creationId xmlns:a16="http://schemas.microsoft.com/office/drawing/2014/main" id="{40045A99-4AF8-43C1-A6EC-207FD64482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3524"/>
              <a:ext cx="7" cy="7"/>
            </a:xfrm>
            <a:custGeom>
              <a:avLst/>
              <a:gdLst>
                <a:gd name="T0" fmla="*/ 0 w 266"/>
                <a:gd name="T1" fmla="*/ 0 h 267"/>
                <a:gd name="T2" fmla="*/ 266 w 266"/>
                <a:gd name="T3" fmla="*/ 0 h 267"/>
                <a:gd name="T4" fmla="*/ 266 w 266"/>
                <a:gd name="T5" fmla="*/ 267 h 267"/>
                <a:gd name="T6" fmla="*/ 0 w 266"/>
                <a:gd name="T7" fmla="*/ 267 h 267"/>
                <a:gd name="T8" fmla="*/ 0 w 266"/>
                <a:gd name="T9" fmla="*/ 0 h 267"/>
                <a:gd name="T10" fmla="*/ 0 w 2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7">
                  <a:moveTo>
                    <a:pt x="0" y="0"/>
                  </a:moveTo>
                  <a:lnTo>
                    <a:pt x="266" y="0"/>
                  </a:lnTo>
                  <a:lnTo>
                    <a:pt x="2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169">
              <a:extLst>
                <a:ext uri="{FF2B5EF4-FFF2-40B4-BE49-F238E27FC236}">
                  <a16:creationId xmlns:a16="http://schemas.microsoft.com/office/drawing/2014/main" id="{C333DC38-F952-4ED3-8FE9-19508ACF01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08" y="3545"/>
              <a:ext cx="7" cy="6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170">
              <a:extLst>
                <a:ext uri="{FF2B5EF4-FFF2-40B4-BE49-F238E27FC236}">
                  <a16:creationId xmlns:a16="http://schemas.microsoft.com/office/drawing/2014/main" id="{A1219BEE-F053-48E8-9310-D9D1313CB5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25" y="3545"/>
              <a:ext cx="7" cy="6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171">
              <a:extLst>
                <a:ext uri="{FF2B5EF4-FFF2-40B4-BE49-F238E27FC236}">
                  <a16:creationId xmlns:a16="http://schemas.microsoft.com/office/drawing/2014/main" id="{242CF98B-F0ED-4F2F-9645-AD067B988A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42" y="3545"/>
              <a:ext cx="7" cy="6"/>
            </a:xfrm>
            <a:custGeom>
              <a:avLst/>
              <a:gdLst>
                <a:gd name="T0" fmla="*/ 0 w 266"/>
                <a:gd name="T1" fmla="*/ 0 h 267"/>
                <a:gd name="T2" fmla="*/ 266 w 266"/>
                <a:gd name="T3" fmla="*/ 0 h 267"/>
                <a:gd name="T4" fmla="*/ 266 w 266"/>
                <a:gd name="T5" fmla="*/ 267 h 267"/>
                <a:gd name="T6" fmla="*/ 0 w 266"/>
                <a:gd name="T7" fmla="*/ 267 h 267"/>
                <a:gd name="T8" fmla="*/ 0 w 266"/>
                <a:gd name="T9" fmla="*/ 0 h 267"/>
                <a:gd name="T10" fmla="*/ 0 w 2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7">
                  <a:moveTo>
                    <a:pt x="0" y="0"/>
                  </a:moveTo>
                  <a:lnTo>
                    <a:pt x="266" y="0"/>
                  </a:lnTo>
                  <a:lnTo>
                    <a:pt x="2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172">
              <a:extLst>
                <a:ext uri="{FF2B5EF4-FFF2-40B4-BE49-F238E27FC236}">
                  <a16:creationId xmlns:a16="http://schemas.microsoft.com/office/drawing/2014/main" id="{37FDF083-7937-43B5-965F-7B51035A4A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2" y="3490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173">
              <a:extLst>
                <a:ext uri="{FF2B5EF4-FFF2-40B4-BE49-F238E27FC236}">
                  <a16:creationId xmlns:a16="http://schemas.microsoft.com/office/drawing/2014/main" id="{D0668495-45E8-4070-9DEE-DD10C40875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2" y="3504"/>
              <a:ext cx="7" cy="41"/>
            </a:xfrm>
            <a:custGeom>
              <a:avLst/>
              <a:gdLst>
                <a:gd name="T0" fmla="*/ 0 w 267"/>
                <a:gd name="T1" fmla="*/ 0 h 1600"/>
                <a:gd name="T2" fmla="*/ 267 w 267"/>
                <a:gd name="T3" fmla="*/ 0 h 1600"/>
                <a:gd name="T4" fmla="*/ 267 w 267"/>
                <a:gd name="T5" fmla="*/ 1600 h 1600"/>
                <a:gd name="T6" fmla="*/ 0 w 267"/>
                <a:gd name="T7" fmla="*/ 1600 h 1600"/>
                <a:gd name="T8" fmla="*/ 0 w 267"/>
                <a:gd name="T9" fmla="*/ 0 h 1600"/>
                <a:gd name="T10" fmla="*/ 0 w 267"/>
                <a:gd name="T11" fmla="*/ 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1600">
                  <a:moveTo>
                    <a:pt x="0" y="0"/>
                  </a:moveTo>
                  <a:lnTo>
                    <a:pt x="267" y="0"/>
                  </a:lnTo>
                  <a:lnTo>
                    <a:pt x="267" y="1600"/>
                  </a:lnTo>
                  <a:lnTo>
                    <a:pt x="0" y="1600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174">
              <a:extLst>
                <a:ext uri="{FF2B5EF4-FFF2-40B4-BE49-F238E27FC236}">
                  <a16:creationId xmlns:a16="http://schemas.microsoft.com/office/drawing/2014/main" id="{459016CB-6077-4D9C-ACC4-3DCEC0B139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2" y="3514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175">
              <a:extLst>
                <a:ext uri="{FF2B5EF4-FFF2-40B4-BE49-F238E27FC236}">
                  <a16:creationId xmlns:a16="http://schemas.microsoft.com/office/drawing/2014/main" id="{DFF20C2F-E393-411C-991A-480913C820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2" y="3528"/>
              <a:ext cx="7" cy="40"/>
            </a:xfrm>
            <a:custGeom>
              <a:avLst/>
              <a:gdLst>
                <a:gd name="T0" fmla="*/ 0 w 267"/>
                <a:gd name="T1" fmla="*/ 0 h 1600"/>
                <a:gd name="T2" fmla="*/ 267 w 267"/>
                <a:gd name="T3" fmla="*/ 0 h 1600"/>
                <a:gd name="T4" fmla="*/ 267 w 267"/>
                <a:gd name="T5" fmla="*/ 1600 h 1600"/>
                <a:gd name="T6" fmla="*/ 0 w 267"/>
                <a:gd name="T7" fmla="*/ 1600 h 1600"/>
                <a:gd name="T8" fmla="*/ 0 w 267"/>
                <a:gd name="T9" fmla="*/ 0 h 1600"/>
                <a:gd name="T10" fmla="*/ 0 w 267"/>
                <a:gd name="T11" fmla="*/ 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1600">
                  <a:moveTo>
                    <a:pt x="0" y="0"/>
                  </a:moveTo>
                  <a:lnTo>
                    <a:pt x="267" y="0"/>
                  </a:lnTo>
                  <a:lnTo>
                    <a:pt x="267" y="1600"/>
                  </a:lnTo>
                  <a:lnTo>
                    <a:pt x="0" y="1600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176">
              <a:extLst>
                <a:ext uri="{FF2B5EF4-FFF2-40B4-BE49-F238E27FC236}">
                  <a16:creationId xmlns:a16="http://schemas.microsoft.com/office/drawing/2014/main" id="{51A6F41F-43C6-4561-80EC-B5CE575452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3" y="3490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177">
              <a:extLst>
                <a:ext uri="{FF2B5EF4-FFF2-40B4-BE49-F238E27FC236}">
                  <a16:creationId xmlns:a16="http://schemas.microsoft.com/office/drawing/2014/main" id="{CAEE8FC4-364D-4839-90AB-43DE876593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3" y="3504"/>
              <a:ext cx="7" cy="41"/>
            </a:xfrm>
            <a:custGeom>
              <a:avLst/>
              <a:gdLst>
                <a:gd name="T0" fmla="*/ 0 w 267"/>
                <a:gd name="T1" fmla="*/ 0 h 1600"/>
                <a:gd name="T2" fmla="*/ 267 w 267"/>
                <a:gd name="T3" fmla="*/ 0 h 1600"/>
                <a:gd name="T4" fmla="*/ 267 w 267"/>
                <a:gd name="T5" fmla="*/ 1600 h 1600"/>
                <a:gd name="T6" fmla="*/ 0 w 267"/>
                <a:gd name="T7" fmla="*/ 1600 h 1600"/>
                <a:gd name="T8" fmla="*/ 0 w 267"/>
                <a:gd name="T9" fmla="*/ 0 h 1600"/>
                <a:gd name="T10" fmla="*/ 0 w 267"/>
                <a:gd name="T11" fmla="*/ 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1600">
                  <a:moveTo>
                    <a:pt x="0" y="0"/>
                  </a:moveTo>
                  <a:lnTo>
                    <a:pt x="267" y="0"/>
                  </a:lnTo>
                  <a:lnTo>
                    <a:pt x="267" y="1600"/>
                  </a:lnTo>
                  <a:lnTo>
                    <a:pt x="0" y="1600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178">
              <a:extLst>
                <a:ext uri="{FF2B5EF4-FFF2-40B4-BE49-F238E27FC236}">
                  <a16:creationId xmlns:a16="http://schemas.microsoft.com/office/drawing/2014/main" id="{1EE7C01F-EAD8-4B64-9C85-C3EEBC829D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76" y="3592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179">
              <a:extLst>
                <a:ext uri="{FF2B5EF4-FFF2-40B4-BE49-F238E27FC236}">
                  <a16:creationId xmlns:a16="http://schemas.microsoft.com/office/drawing/2014/main" id="{0DDA8F5F-0B9E-47A5-BA0B-52FFA2C707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3" y="3592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51630874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550DCA-4156-49C6-9E5C-28251D85F0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оррупциянинг</a:t>
            </a:r>
            <a:r>
              <a:rPr lang="ru-RU" dirty="0"/>
              <a:t> </a:t>
            </a:r>
            <a:r>
              <a:rPr lang="ru-RU" dirty="0" err="1"/>
              <a:t>оқибатлари</a:t>
            </a:r>
            <a:endParaRPr lang="en-US" dirty="0"/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4027BB70-1A89-4797-A265-39929052A158}"/>
              </a:ext>
            </a:extLst>
          </p:cNvPr>
          <p:cNvSpPr/>
          <p:nvPr/>
        </p:nvSpPr>
        <p:spPr>
          <a:xfrm>
            <a:off x="440353" y="9906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4114EB7-8354-4B22-83E3-4897758C3EA9}"/>
              </a:ext>
            </a:extLst>
          </p:cNvPr>
          <p:cNvSpPr/>
          <p:nvPr/>
        </p:nvSpPr>
        <p:spPr>
          <a:xfrm>
            <a:off x="1410444" y="901021"/>
            <a:ext cx="1033864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000" b="1" dirty="0" err="1">
                <a:solidFill>
                  <a:srgbClr val="49A9F6"/>
                </a:solidFill>
              </a:rPr>
              <a:t>Бирлашган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Миллатла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Ташкилотининг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гиёхванд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моддала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в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жиноятчилик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бўйич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бошқармасининг</a:t>
            </a:r>
            <a:r>
              <a:rPr lang="ru-RU" sz="2000" b="1" dirty="0">
                <a:solidFill>
                  <a:srgbClr val="49A9F6"/>
                </a:solidFill>
              </a:rPr>
              <a:t> (UNODC) </a:t>
            </a:r>
            <a:r>
              <a:rPr lang="ru-RU" sz="2000" b="1" dirty="0" err="1">
                <a:solidFill>
                  <a:srgbClr val="49A9F6"/>
                </a:solidFill>
              </a:rPr>
              <a:t>фуқаролар</a:t>
            </a:r>
            <a:r>
              <a:rPr lang="ru-RU" sz="2000" b="1" dirty="0">
                <a:solidFill>
                  <a:srgbClr val="49A9F6"/>
                </a:solidFill>
              </a:rPr>
              <a:t>, </a:t>
            </a:r>
            <a:r>
              <a:rPr lang="ru-RU" sz="2000" b="1" dirty="0" err="1">
                <a:solidFill>
                  <a:srgbClr val="49A9F6"/>
                </a:solidFill>
              </a:rPr>
              <a:t>ташкилотла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в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умуман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мамлакатла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учун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қуйидаги</a:t>
            </a:r>
            <a:r>
              <a:rPr lang="ru-RU" sz="2000" b="1" dirty="0">
                <a:solidFill>
                  <a:srgbClr val="49A9F6"/>
                </a:solidFill>
              </a:rPr>
              <a:t> коррупция </a:t>
            </a:r>
            <a:r>
              <a:rPr lang="ru-RU" sz="2000" b="1" dirty="0" err="1">
                <a:solidFill>
                  <a:srgbClr val="49A9F6"/>
                </a:solidFill>
              </a:rPr>
              <a:t>оқибатларин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таснифлайди</a:t>
            </a:r>
            <a:r>
              <a:rPr lang="ru-RU" sz="2000" b="1" dirty="0">
                <a:solidFill>
                  <a:srgbClr val="49A9F6"/>
                </a:solidFill>
              </a:rPr>
              <a:t>:</a:t>
            </a:r>
          </a:p>
        </p:txBody>
      </p:sp>
      <p:pic>
        <p:nvPicPr>
          <p:cNvPr id="98" name="Рисунок 30">
            <a:extLst>
              <a:ext uri="{FF2B5EF4-FFF2-40B4-BE49-F238E27FC236}">
                <a16:creationId xmlns:a16="http://schemas.microsoft.com/office/drawing/2014/main" id="{282E6521-9EAD-4075-84DE-52234288AF1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7207" y="1042387"/>
            <a:ext cx="582252" cy="582252"/>
          </a:xfrm>
          <a:prstGeom prst="rect">
            <a:avLst/>
          </a:prstGeom>
        </p:spPr>
      </p:pic>
      <p:sp>
        <p:nvSpPr>
          <p:cNvPr id="99" name="object 12">
            <a:extLst>
              <a:ext uri="{FF2B5EF4-FFF2-40B4-BE49-F238E27FC236}">
                <a16:creationId xmlns:a16="http://schemas.microsoft.com/office/drawing/2014/main" id="{85474910-D4D7-4266-852F-FE6CBC216962}"/>
              </a:ext>
            </a:extLst>
          </p:cNvPr>
          <p:cNvSpPr/>
          <p:nvPr/>
        </p:nvSpPr>
        <p:spPr>
          <a:xfrm>
            <a:off x="440353" y="2151982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0" name="object 12">
            <a:extLst>
              <a:ext uri="{FF2B5EF4-FFF2-40B4-BE49-F238E27FC236}">
                <a16:creationId xmlns:a16="http://schemas.microsoft.com/office/drawing/2014/main" id="{607DCF21-39E0-4D14-B2F6-5126D8806AB0}"/>
              </a:ext>
            </a:extLst>
          </p:cNvPr>
          <p:cNvSpPr/>
          <p:nvPr/>
        </p:nvSpPr>
        <p:spPr>
          <a:xfrm>
            <a:off x="431999" y="2948713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1" name="object 12">
            <a:extLst>
              <a:ext uri="{FF2B5EF4-FFF2-40B4-BE49-F238E27FC236}">
                <a16:creationId xmlns:a16="http://schemas.microsoft.com/office/drawing/2014/main" id="{B4AD974F-1611-4501-B6A8-74059F5861F9}"/>
              </a:ext>
            </a:extLst>
          </p:cNvPr>
          <p:cNvSpPr/>
          <p:nvPr/>
        </p:nvSpPr>
        <p:spPr>
          <a:xfrm>
            <a:off x="444265" y="3745444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2" name="object 12">
            <a:extLst>
              <a:ext uri="{FF2B5EF4-FFF2-40B4-BE49-F238E27FC236}">
                <a16:creationId xmlns:a16="http://schemas.microsoft.com/office/drawing/2014/main" id="{D5F7C21B-6353-4124-A098-98D76A412F58}"/>
              </a:ext>
            </a:extLst>
          </p:cNvPr>
          <p:cNvSpPr/>
          <p:nvPr/>
        </p:nvSpPr>
        <p:spPr>
          <a:xfrm>
            <a:off x="441861" y="4542175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3" name="object 12">
            <a:extLst>
              <a:ext uri="{FF2B5EF4-FFF2-40B4-BE49-F238E27FC236}">
                <a16:creationId xmlns:a16="http://schemas.microsoft.com/office/drawing/2014/main" id="{033B18DB-4E39-465F-9EBB-4E8231805B83}"/>
              </a:ext>
            </a:extLst>
          </p:cNvPr>
          <p:cNvSpPr/>
          <p:nvPr/>
        </p:nvSpPr>
        <p:spPr>
          <a:xfrm>
            <a:off x="431104" y="5338905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4" name="object 12">
            <a:extLst>
              <a:ext uri="{FF2B5EF4-FFF2-40B4-BE49-F238E27FC236}">
                <a16:creationId xmlns:a16="http://schemas.microsoft.com/office/drawing/2014/main" id="{4825AFEE-AB24-41F6-8F92-697D712AA38C}"/>
              </a:ext>
            </a:extLst>
          </p:cNvPr>
          <p:cNvSpPr/>
          <p:nvPr/>
        </p:nvSpPr>
        <p:spPr>
          <a:xfrm>
            <a:off x="7884644" y="2151982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5" name="object 12">
            <a:extLst>
              <a:ext uri="{FF2B5EF4-FFF2-40B4-BE49-F238E27FC236}">
                <a16:creationId xmlns:a16="http://schemas.microsoft.com/office/drawing/2014/main" id="{1B430C77-3ACC-4E6B-AFDF-C7260055510B}"/>
              </a:ext>
            </a:extLst>
          </p:cNvPr>
          <p:cNvSpPr/>
          <p:nvPr/>
        </p:nvSpPr>
        <p:spPr>
          <a:xfrm>
            <a:off x="7876290" y="2948713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6" name="object 12">
            <a:extLst>
              <a:ext uri="{FF2B5EF4-FFF2-40B4-BE49-F238E27FC236}">
                <a16:creationId xmlns:a16="http://schemas.microsoft.com/office/drawing/2014/main" id="{3E9BB488-0DF2-4C51-A920-6AF0066F1653}"/>
              </a:ext>
            </a:extLst>
          </p:cNvPr>
          <p:cNvSpPr/>
          <p:nvPr/>
        </p:nvSpPr>
        <p:spPr>
          <a:xfrm>
            <a:off x="7888556" y="3745444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7" name="object 12">
            <a:extLst>
              <a:ext uri="{FF2B5EF4-FFF2-40B4-BE49-F238E27FC236}">
                <a16:creationId xmlns:a16="http://schemas.microsoft.com/office/drawing/2014/main" id="{2BFADD55-776F-41DC-9C4A-4383F5B5B42B}"/>
              </a:ext>
            </a:extLst>
          </p:cNvPr>
          <p:cNvSpPr/>
          <p:nvPr/>
        </p:nvSpPr>
        <p:spPr>
          <a:xfrm>
            <a:off x="7886152" y="4542175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8" name="object 12">
            <a:extLst>
              <a:ext uri="{FF2B5EF4-FFF2-40B4-BE49-F238E27FC236}">
                <a16:creationId xmlns:a16="http://schemas.microsoft.com/office/drawing/2014/main" id="{327F39C2-74AB-4A43-9AEB-73ED0C2CBBB3}"/>
              </a:ext>
            </a:extLst>
          </p:cNvPr>
          <p:cNvSpPr/>
          <p:nvPr/>
        </p:nvSpPr>
        <p:spPr>
          <a:xfrm>
            <a:off x="7875395" y="5338905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9" name="object 12">
            <a:extLst>
              <a:ext uri="{FF2B5EF4-FFF2-40B4-BE49-F238E27FC236}">
                <a16:creationId xmlns:a16="http://schemas.microsoft.com/office/drawing/2014/main" id="{478A3C5C-BF0B-4BD5-A3F6-43A0B376715F}"/>
              </a:ext>
            </a:extLst>
          </p:cNvPr>
          <p:cNvSpPr/>
          <p:nvPr/>
        </p:nvSpPr>
        <p:spPr>
          <a:xfrm>
            <a:off x="4324960" y="2151982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0" name="object 12">
            <a:extLst>
              <a:ext uri="{FF2B5EF4-FFF2-40B4-BE49-F238E27FC236}">
                <a16:creationId xmlns:a16="http://schemas.microsoft.com/office/drawing/2014/main" id="{A9B3BAEC-CC1F-432F-8B4E-AE3987D7DBD8}"/>
              </a:ext>
            </a:extLst>
          </p:cNvPr>
          <p:cNvSpPr/>
          <p:nvPr/>
        </p:nvSpPr>
        <p:spPr>
          <a:xfrm>
            <a:off x="4316606" y="2948713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1" name="object 12">
            <a:extLst>
              <a:ext uri="{FF2B5EF4-FFF2-40B4-BE49-F238E27FC236}">
                <a16:creationId xmlns:a16="http://schemas.microsoft.com/office/drawing/2014/main" id="{11C2CDBF-21F1-4432-8EAC-AF0B44F3D9B6}"/>
              </a:ext>
            </a:extLst>
          </p:cNvPr>
          <p:cNvSpPr/>
          <p:nvPr/>
        </p:nvSpPr>
        <p:spPr>
          <a:xfrm>
            <a:off x="4328872" y="3745444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2" name="object 12">
            <a:extLst>
              <a:ext uri="{FF2B5EF4-FFF2-40B4-BE49-F238E27FC236}">
                <a16:creationId xmlns:a16="http://schemas.microsoft.com/office/drawing/2014/main" id="{4673AC19-4C2E-4981-9B96-1CECB3B474F8}"/>
              </a:ext>
            </a:extLst>
          </p:cNvPr>
          <p:cNvSpPr/>
          <p:nvPr/>
        </p:nvSpPr>
        <p:spPr>
          <a:xfrm>
            <a:off x="4326468" y="4542175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3" name="object 12">
            <a:extLst>
              <a:ext uri="{FF2B5EF4-FFF2-40B4-BE49-F238E27FC236}">
                <a16:creationId xmlns:a16="http://schemas.microsoft.com/office/drawing/2014/main" id="{AAC303BE-6056-4113-B8F4-AD1D9167776A}"/>
              </a:ext>
            </a:extLst>
          </p:cNvPr>
          <p:cNvSpPr/>
          <p:nvPr/>
        </p:nvSpPr>
        <p:spPr>
          <a:xfrm>
            <a:off x="4315711" y="5338905"/>
            <a:ext cx="640080" cy="640080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1BD7D3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4" name="object 15">
            <a:extLst>
              <a:ext uri="{FF2B5EF4-FFF2-40B4-BE49-F238E27FC236}">
                <a16:creationId xmlns:a16="http://schemas.microsoft.com/office/drawing/2014/main" id="{223B4C7C-FF7C-40A1-B8EA-C70865C0CA35}"/>
              </a:ext>
            </a:extLst>
          </p:cNvPr>
          <p:cNvSpPr txBox="1"/>
          <p:nvPr/>
        </p:nvSpPr>
        <p:spPr>
          <a:xfrm>
            <a:off x="1230867" y="2368547"/>
            <a:ext cx="2769170" cy="22534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нсон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қуқларининг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узилиши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15" name="object 15">
            <a:extLst>
              <a:ext uri="{FF2B5EF4-FFF2-40B4-BE49-F238E27FC236}">
                <a16:creationId xmlns:a16="http://schemas.microsoft.com/office/drawing/2014/main" id="{AA3CFC90-DBBB-461C-B50B-E0C463456BB6}"/>
              </a:ext>
            </a:extLst>
          </p:cNvPr>
          <p:cNvSpPr txBox="1"/>
          <p:nvPr/>
        </p:nvSpPr>
        <p:spPr>
          <a:xfrm>
            <a:off x="1230867" y="3045752"/>
            <a:ext cx="276917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қтисодий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йўқотишлар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амарасизлик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16" name="object 15">
            <a:extLst>
              <a:ext uri="{FF2B5EF4-FFF2-40B4-BE49-F238E27FC236}">
                <a16:creationId xmlns:a16="http://schemas.microsoft.com/office/drawing/2014/main" id="{99DAD762-103B-4A00-9D78-1080412829D9}"/>
              </a:ext>
            </a:extLst>
          </p:cNvPr>
          <p:cNvSpPr txBox="1"/>
          <p:nvPr/>
        </p:nvSpPr>
        <p:spPr>
          <a:xfrm>
            <a:off x="1230867" y="3846448"/>
            <a:ext cx="276917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қлим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згариш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иологик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илма-хилликк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зарар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17" name="object 15">
            <a:extLst>
              <a:ext uri="{FF2B5EF4-FFF2-40B4-BE49-F238E27FC236}">
                <a16:creationId xmlns:a16="http://schemas.microsoft.com/office/drawing/2014/main" id="{4DDDC994-3623-46E6-A164-D3A7BE70E512}"/>
              </a:ext>
            </a:extLst>
          </p:cNvPr>
          <p:cNvSpPr txBox="1"/>
          <p:nvPr/>
        </p:nvSpPr>
        <p:spPr>
          <a:xfrm>
            <a:off x="1230867" y="4632421"/>
            <a:ext cx="2769170" cy="65623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арқарор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ривожланиш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қсадлариг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утур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етказиш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(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SDG’s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)</a:t>
            </a:r>
          </a:p>
        </p:txBody>
      </p:sp>
      <p:sp>
        <p:nvSpPr>
          <p:cNvPr id="118" name="object 15">
            <a:extLst>
              <a:ext uri="{FF2B5EF4-FFF2-40B4-BE49-F238E27FC236}">
                <a16:creationId xmlns:a16="http://schemas.microsoft.com/office/drawing/2014/main" id="{B7876A9D-1114-4005-879E-6E3A5E3B489D}"/>
              </a:ext>
            </a:extLst>
          </p:cNvPr>
          <p:cNvSpPr txBox="1"/>
          <p:nvPr/>
        </p:nvSpPr>
        <p:spPr>
          <a:xfrm>
            <a:off x="1230867" y="5418393"/>
            <a:ext cx="2769170" cy="22534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азосизлик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сман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долат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19" name="object 15">
            <a:extLst>
              <a:ext uri="{FF2B5EF4-FFF2-40B4-BE49-F238E27FC236}">
                <a16:creationId xmlns:a16="http://schemas.microsoft.com/office/drawing/2014/main" id="{5A841CF2-DFDD-4917-ADBC-8ACE17124687}"/>
              </a:ext>
            </a:extLst>
          </p:cNvPr>
          <p:cNvSpPr txBox="1"/>
          <p:nvPr/>
        </p:nvSpPr>
        <p:spPr>
          <a:xfrm>
            <a:off x="5113655" y="2276594"/>
            <a:ext cx="254579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амоатчилик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орозилиг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цинизм</a:t>
            </a:r>
          </a:p>
        </p:txBody>
      </p:sp>
      <p:sp>
        <p:nvSpPr>
          <p:cNvPr id="120" name="object 15">
            <a:extLst>
              <a:ext uri="{FF2B5EF4-FFF2-40B4-BE49-F238E27FC236}">
                <a16:creationId xmlns:a16="http://schemas.microsoft.com/office/drawing/2014/main" id="{04846F3F-CD38-444D-BF86-27E84D7A7287}"/>
              </a:ext>
            </a:extLst>
          </p:cNvPr>
          <p:cNvSpPr txBox="1"/>
          <p:nvPr/>
        </p:nvSpPr>
        <p:spPr>
          <a:xfrm>
            <a:off x="5113655" y="3156320"/>
            <a:ext cx="2769170" cy="22534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шшоқлик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отенглик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21" name="object 15">
            <a:extLst>
              <a:ext uri="{FF2B5EF4-FFF2-40B4-BE49-F238E27FC236}">
                <a16:creationId xmlns:a16="http://schemas.microsoft.com/office/drawing/2014/main" id="{46445652-BA81-45DA-922B-6A6FEAA14C90}"/>
              </a:ext>
            </a:extLst>
          </p:cNvPr>
          <p:cNvSpPr txBox="1"/>
          <p:nvPr/>
        </p:nvSpPr>
        <p:spPr>
          <a:xfrm>
            <a:off x="5113655" y="3957481"/>
            <a:ext cx="2769170" cy="22534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нфраструктурадиг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узилишлар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22" name="object 15">
            <a:extLst>
              <a:ext uri="{FF2B5EF4-FFF2-40B4-BE49-F238E27FC236}">
                <a16:creationId xmlns:a16="http://schemas.microsoft.com/office/drawing/2014/main" id="{A98359DB-3378-49FE-BBC2-892A89866659}"/>
              </a:ext>
            </a:extLst>
          </p:cNvPr>
          <p:cNvSpPr txBox="1"/>
          <p:nvPr/>
        </p:nvSpPr>
        <p:spPr>
          <a:xfrm>
            <a:off x="5113655" y="4479626"/>
            <a:ext cx="276917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Шахсий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оқулайлик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молиявий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йўқотишлар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,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ўрқитиш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23" name="object 15">
            <a:extLst>
              <a:ext uri="{FF2B5EF4-FFF2-40B4-BE49-F238E27FC236}">
                <a16:creationId xmlns:a16="http://schemas.microsoft.com/office/drawing/2014/main" id="{DC70CF54-F543-4C76-AE8A-4A2CDF10FAAD}"/>
              </a:ext>
            </a:extLst>
          </p:cNvPr>
          <p:cNvSpPr txBox="1"/>
          <p:nvPr/>
        </p:nvSpPr>
        <p:spPr>
          <a:xfrm>
            <a:off x="5113655" y="5432659"/>
            <a:ext cx="276917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охолис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иқтисодий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сиёсий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изимлар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24" name="object 15">
            <a:extLst>
              <a:ext uri="{FF2B5EF4-FFF2-40B4-BE49-F238E27FC236}">
                <a16:creationId xmlns:a16="http://schemas.microsoft.com/office/drawing/2014/main" id="{DABA7067-4DA6-4E93-B8BB-8003653A1E13}"/>
              </a:ext>
            </a:extLst>
          </p:cNvPr>
          <p:cNvSpPr txBox="1"/>
          <p:nvPr/>
        </p:nvSpPr>
        <p:spPr>
          <a:xfrm>
            <a:off x="8675158" y="2276594"/>
            <a:ext cx="254579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уролли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тўқнашувлар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шафқациз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иноятлар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25" name="object 15">
            <a:extLst>
              <a:ext uri="{FF2B5EF4-FFF2-40B4-BE49-F238E27FC236}">
                <a16:creationId xmlns:a16="http://schemas.microsoft.com/office/drawing/2014/main" id="{859F5146-4492-4D62-A7B5-C490745B8D6E}"/>
              </a:ext>
            </a:extLst>
          </p:cNvPr>
          <p:cNvSpPr txBox="1"/>
          <p:nvPr/>
        </p:nvSpPr>
        <p:spPr>
          <a:xfrm>
            <a:off x="8675158" y="3060132"/>
            <a:ext cx="276917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сиб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раётган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олиберал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популизм</a:t>
            </a:r>
          </a:p>
        </p:txBody>
      </p:sp>
      <p:sp>
        <p:nvSpPr>
          <p:cNvPr id="126" name="object 15">
            <a:extLst>
              <a:ext uri="{FF2B5EF4-FFF2-40B4-BE49-F238E27FC236}">
                <a16:creationId xmlns:a16="http://schemas.microsoft.com/office/drawing/2014/main" id="{DF23A89B-4970-40BC-80F8-18988E47CD35}"/>
              </a:ext>
            </a:extLst>
          </p:cNvPr>
          <p:cNvSpPr txBox="1"/>
          <p:nvPr/>
        </p:nvSpPr>
        <p:spPr>
          <a:xfrm>
            <a:off x="8675158" y="3843670"/>
            <a:ext cx="276917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ҳуқуқий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лаёқатининг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пасайиши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27" name="object 15">
            <a:extLst>
              <a:ext uri="{FF2B5EF4-FFF2-40B4-BE49-F238E27FC236}">
                <a16:creationId xmlns:a16="http://schemas.microsoft.com/office/drawing/2014/main" id="{FC9C2FE7-3D4D-40E0-B0BF-B8599AB701C3}"/>
              </a:ext>
            </a:extLst>
          </p:cNvPr>
          <p:cNvSpPr txBox="1"/>
          <p:nvPr/>
        </p:nvSpPr>
        <p:spPr>
          <a:xfrm>
            <a:off x="8675158" y="4627208"/>
            <a:ext cx="276917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авлат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хусусий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сектор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дисфункцияси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28" name="object 15">
            <a:extLst>
              <a:ext uri="{FF2B5EF4-FFF2-40B4-BE49-F238E27FC236}">
                <a16:creationId xmlns:a16="http://schemas.microsoft.com/office/drawing/2014/main" id="{6AD95AD3-9C9F-4CBA-A3BB-BAE9D55C34A0}"/>
              </a:ext>
            </a:extLst>
          </p:cNvPr>
          <p:cNvSpPr txBox="1"/>
          <p:nvPr/>
        </p:nvSpPr>
        <p:spPr>
          <a:xfrm>
            <a:off x="8675158" y="5432659"/>
            <a:ext cx="276917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Ўсиб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бораётган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нотинчлик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жамиятнинг</a:t>
            </a:r>
            <a:r>
              <a:rPr lang="ru-RU" sz="14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spc="-4" dirty="0" err="1">
                <a:solidFill>
                  <a:schemeClr val="tx2"/>
                </a:solidFill>
                <a:cs typeface="Arial" panose="020B0604020202020204" pitchFamily="34" charset="0"/>
              </a:rPr>
              <a:t>қутбланиши</a:t>
            </a:r>
            <a:endParaRPr lang="ru-RU" sz="14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129" name="Рисунок 46">
            <a:extLst>
              <a:ext uri="{FF2B5EF4-FFF2-40B4-BE49-F238E27FC236}">
                <a16:creationId xmlns:a16="http://schemas.microsoft.com/office/drawing/2014/main" id="{54137843-571E-400C-8161-02AD95FBC0B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9441" y="3098612"/>
            <a:ext cx="316461" cy="316461"/>
          </a:xfrm>
          <a:prstGeom prst="rect">
            <a:avLst/>
          </a:prstGeom>
        </p:spPr>
      </p:pic>
      <p:grpSp>
        <p:nvGrpSpPr>
          <p:cNvPr id="131" name="Group 4">
            <a:extLst>
              <a:ext uri="{FF2B5EF4-FFF2-40B4-BE49-F238E27FC236}">
                <a16:creationId xmlns:a16="http://schemas.microsoft.com/office/drawing/2014/main" id="{216DFE62-53C3-4737-9511-101EE6F89C2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64336" y="5457017"/>
            <a:ext cx="392113" cy="363538"/>
            <a:chOff x="3458" y="2389"/>
            <a:chExt cx="247" cy="229"/>
          </a:xfrm>
          <a:solidFill>
            <a:schemeClr val="tx2"/>
          </a:solidFill>
        </p:grpSpPr>
        <p:sp>
          <p:nvSpPr>
            <p:cNvPr id="132" name="Freeform 5">
              <a:extLst>
                <a:ext uri="{FF2B5EF4-FFF2-40B4-BE49-F238E27FC236}">
                  <a16:creationId xmlns:a16="http://schemas.microsoft.com/office/drawing/2014/main" id="{2AD2C7EE-36E6-4BAF-82C9-05DA1A3152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58" y="2587"/>
              <a:ext cx="135" cy="31"/>
            </a:xfrm>
            <a:custGeom>
              <a:avLst/>
              <a:gdLst>
                <a:gd name="T0" fmla="*/ 4427 w 4683"/>
                <a:gd name="T1" fmla="*/ 1109 h 1109"/>
                <a:gd name="T2" fmla="*/ 255 w 4683"/>
                <a:gd name="T3" fmla="*/ 1109 h 1109"/>
                <a:gd name="T4" fmla="*/ 0 w 4683"/>
                <a:gd name="T5" fmla="*/ 853 h 1109"/>
                <a:gd name="T6" fmla="*/ 853 w 4683"/>
                <a:gd name="T7" fmla="*/ 0 h 1109"/>
                <a:gd name="T8" fmla="*/ 3830 w 4683"/>
                <a:gd name="T9" fmla="*/ 0 h 1109"/>
                <a:gd name="T10" fmla="*/ 4683 w 4683"/>
                <a:gd name="T11" fmla="*/ 853 h 1109"/>
                <a:gd name="T12" fmla="*/ 4427 w 4683"/>
                <a:gd name="T13" fmla="*/ 1109 h 1109"/>
                <a:gd name="T14" fmla="*/ 853 w 4683"/>
                <a:gd name="T15" fmla="*/ 250 h 1109"/>
                <a:gd name="T16" fmla="*/ 250 w 4683"/>
                <a:gd name="T17" fmla="*/ 853 h 1109"/>
                <a:gd name="T18" fmla="*/ 4433 w 4683"/>
                <a:gd name="T19" fmla="*/ 853 h 1109"/>
                <a:gd name="T20" fmla="*/ 3830 w 4683"/>
                <a:gd name="T21" fmla="*/ 250 h 1109"/>
                <a:gd name="T22" fmla="*/ 853 w 4683"/>
                <a:gd name="T23" fmla="*/ 250 h 1109"/>
                <a:gd name="T24" fmla="*/ 853 w 4683"/>
                <a:gd name="T25" fmla="*/ 25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83" h="1109">
                  <a:moveTo>
                    <a:pt x="4427" y="1109"/>
                  </a:moveTo>
                  <a:lnTo>
                    <a:pt x="255" y="1109"/>
                  </a:lnTo>
                  <a:cubicBezTo>
                    <a:pt x="115" y="1109"/>
                    <a:pt x="0" y="994"/>
                    <a:pt x="0" y="853"/>
                  </a:cubicBezTo>
                  <a:cubicBezTo>
                    <a:pt x="0" y="383"/>
                    <a:pt x="382" y="0"/>
                    <a:pt x="853" y="0"/>
                  </a:cubicBezTo>
                  <a:lnTo>
                    <a:pt x="3830" y="0"/>
                  </a:lnTo>
                  <a:cubicBezTo>
                    <a:pt x="4300" y="0"/>
                    <a:pt x="4683" y="383"/>
                    <a:pt x="4683" y="853"/>
                  </a:cubicBezTo>
                  <a:cubicBezTo>
                    <a:pt x="4683" y="994"/>
                    <a:pt x="4568" y="1109"/>
                    <a:pt x="4427" y="1109"/>
                  </a:cubicBezTo>
                  <a:close/>
                  <a:moveTo>
                    <a:pt x="853" y="250"/>
                  </a:moveTo>
                  <a:cubicBezTo>
                    <a:pt x="520" y="250"/>
                    <a:pt x="250" y="521"/>
                    <a:pt x="250" y="853"/>
                  </a:cubicBezTo>
                  <a:cubicBezTo>
                    <a:pt x="250" y="860"/>
                    <a:pt x="4433" y="862"/>
                    <a:pt x="4433" y="853"/>
                  </a:cubicBezTo>
                  <a:cubicBezTo>
                    <a:pt x="4433" y="521"/>
                    <a:pt x="4162" y="250"/>
                    <a:pt x="3830" y="250"/>
                  </a:cubicBezTo>
                  <a:lnTo>
                    <a:pt x="853" y="250"/>
                  </a:lnTo>
                  <a:close/>
                  <a:moveTo>
                    <a:pt x="853" y="25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Freeform 6">
              <a:extLst>
                <a:ext uri="{FF2B5EF4-FFF2-40B4-BE49-F238E27FC236}">
                  <a16:creationId xmlns:a16="http://schemas.microsoft.com/office/drawing/2014/main" id="{5E60986B-FFAA-4E4F-8C41-D810EF8E3B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97" y="2469"/>
              <a:ext cx="72" cy="71"/>
            </a:xfrm>
            <a:custGeom>
              <a:avLst/>
              <a:gdLst>
                <a:gd name="T0" fmla="*/ 1620 w 2502"/>
                <a:gd name="T1" fmla="*/ 2386 h 2502"/>
                <a:gd name="T2" fmla="*/ 116 w 2502"/>
                <a:gd name="T3" fmla="*/ 882 h 2502"/>
                <a:gd name="T4" fmla="*/ 116 w 2502"/>
                <a:gd name="T5" fmla="*/ 463 h 2502"/>
                <a:gd name="T6" fmla="*/ 463 w 2502"/>
                <a:gd name="T7" fmla="*/ 116 h 2502"/>
                <a:gd name="T8" fmla="*/ 882 w 2502"/>
                <a:gd name="T9" fmla="*/ 116 h 2502"/>
                <a:gd name="T10" fmla="*/ 2386 w 2502"/>
                <a:gd name="T11" fmla="*/ 1620 h 2502"/>
                <a:gd name="T12" fmla="*/ 2386 w 2502"/>
                <a:gd name="T13" fmla="*/ 2039 h 2502"/>
                <a:gd name="T14" fmla="*/ 2039 w 2502"/>
                <a:gd name="T15" fmla="*/ 2386 h 2502"/>
                <a:gd name="T16" fmla="*/ 1620 w 2502"/>
                <a:gd name="T17" fmla="*/ 2386 h 2502"/>
                <a:gd name="T18" fmla="*/ 639 w 2502"/>
                <a:gd name="T19" fmla="*/ 292 h 2502"/>
                <a:gd name="T20" fmla="*/ 292 w 2502"/>
                <a:gd name="T21" fmla="*/ 640 h 2502"/>
                <a:gd name="T22" fmla="*/ 292 w 2502"/>
                <a:gd name="T23" fmla="*/ 705 h 2502"/>
                <a:gd name="T24" fmla="*/ 1797 w 2502"/>
                <a:gd name="T25" fmla="*/ 2210 h 2502"/>
                <a:gd name="T26" fmla="*/ 1862 w 2502"/>
                <a:gd name="T27" fmla="*/ 2210 h 2502"/>
                <a:gd name="T28" fmla="*/ 2209 w 2502"/>
                <a:gd name="T29" fmla="*/ 1862 h 2502"/>
                <a:gd name="T30" fmla="*/ 2209 w 2502"/>
                <a:gd name="T31" fmla="*/ 1797 h 2502"/>
                <a:gd name="T32" fmla="*/ 705 w 2502"/>
                <a:gd name="T33" fmla="*/ 292 h 2502"/>
                <a:gd name="T34" fmla="*/ 639 w 2502"/>
                <a:gd name="T35" fmla="*/ 292 h 2502"/>
                <a:gd name="T36" fmla="*/ 639 w 2502"/>
                <a:gd name="T37" fmla="*/ 292 h 2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02" h="2502">
                  <a:moveTo>
                    <a:pt x="1620" y="2386"/>
                  </a:moveTo>
                  <a:lnTo>
                    <a:pt x="116" y="882"/>
                  </a:lnTo>
                  <a:cubicBezTo>
                    <a:pt x="0" y="766"/>
                    <a:pt x="0" y="578"/>
                    <a:pt x="116" y="463"/>
                  </a:cubicBezTo>
                  <a:lnTo>
                    <a:pt x="463" y="116"/>
                  </a:lnTo>
                  <a:cubicBezTo>
                    <a:pt x="578" y="0"/>
                    <a:pt x="766" y="0"/>
                    <a:pt x="882" y="116"/>
                  </a:cubicBezTo>
                  <a:lnTo>
                    <a:pt x="2386" y="1620"/>
                  </a:lnTo>
                  <a:cubicBezTo>
                    <a:pt x="2502" y="1735"/>
                    <a:pt x="2502" y="1924"/>
                    <a:pt x="2386" y="2039"/>
                  </a:cubicBezTo>
                  <a:lnTo>
                    <a:pt x="2039" y="2386"/>
                  </a:lnTo>
                  <a:cubicBezTo>
                    <a:pt x="1923" y="2502"/>
                    <a:pt x="1735" y="2502"/>
                    <a:pt x="1620" y="2386"/>
                  </a:cubicBezTo>
                  <a:close/>
                  <a:moveTo>
                    <a:pt x="639" y="292"/>
                  </a:moveTo>
                  <a:lnTo>
                    <a:pt x="292" y="640"/>
                  </a:lnTo>
                  <a:cubicBezTo>
                    <a:pt x="274" y="658"/>
                    <a:pt x="274" y="687"/>
                    <a:pt x="292" y="705"/>
                  </a:cubicBezTo>
                  <a:lnTo>
                    <a:pt x="1797" y="2210"/>
                  </a:lnTo>
                  <a:cubicBezTo>
                    <a:pt x="1815" y="2228"/>
                    <a:pt x="1844" y="2228"/>
                    <a:pt x="1862" y="2210"/>
                  </a:cubicBezTo>
                  <a:lnTo>
                    <a:pt x="2209" y="1862"/>
                  </a:lnTo>
                  <a:cubicBezTo>
                    <a:pt x="2228" y="1844"/>
                    <a:pt x="2228" y="1815"/>
                    <a:pt x="2209" y="1797"/>
                  </a:cubicBezTo>
                  <a:lnTo>
                    <a:pt x="705" y="292"/>
                  </a:lnTo>
                  <a:cubicBezTo>
                    <a:pt x="687" y="274"/>
                    <a:pt x="658" y="274"/>
                    <a:pt x="639" y="292"/>
                  </a:cubicBezTo>
                  <a:close/>
                  <a:moveTo>
                    <a:pt x="639" y="292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Freeform 7">
              <a:extLst>
                <a:ext uri="{FF2B5EF4-FFF2-40B4-BE49-F238E27FC236}">
                  <a16:creationId xmlns:a16="http://schemas.microsoft.com/office/drawing/2014/main" id="{6A918687-4C9E-499A-95A3-13D910F8B9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7" y="2389"/>
              <a:ext cx="72" cy="72"/>
            </a:xfrm>
            <a:custGeom>
              <a:avLst/>
              <a:gdLst>
                <a:gd name="T0" fmla="*/ 1620 w 2502"/>
                <a:gd name="T1" fmla="*/ 2386 h 2502"/>
                <a:gd name="T2" fmla="*/ 115 w 2502"/>
                <a:gd name="T3" fmla="*/ 882 h 2502"/>
                <a:gd name="T4" fmla="*/ 115 w 2502"/>
                <a:gd name="T5" fmla="*/ 463 h 2502"/>
                <a:gd name="T6" fmla="*/ 463 w 2502"/>
                <a:gd name="T7" fmla="*/ 116 h 2502"/>
                <a:gd name="T8" fmla="*/ 882 w 2502"/>
                <a:gd name="T9" fmla="*/ 116 h 2502"/>
                <a:gd name="T10" fmla="*/ 2386 w 2502"/>
                <a:gd name="T11" fmla="*/ 1620 h 2502"/>
                <a:gd name="T12" fmla="*/ 2386 w 2502"/>
                <a:gd name="T13" fmla="*/ 2039 h 2502"/>
                <a:gd name="T14" fmla="*/ 2039 w 2502"/>
                <a:gd name="T15" fmla="*/ 2386 h 2502"/>
                <a:gd name="T16" fmla="*/ 1620 w 2502"/>
                <a:gd name="T17" fmla="*/ 2386 h 2502"/>
                <a:gd name="T18" fmla="*/ 640 w 2502"/>
                <a:gd name="T19" fmla="*/ 292 h 2502"/>
                <a:gd name="T20" fmla="*/ 292 w 2502"/>
                <a:gd name="T21" fmla="*/ 639 h 2502"/>
                <a:gd name="T22" fmla="*/ 292 w 2502"/>
                <a:gd name="T23" fmla="*/ 705 h 2502"/>
                <a:gd name="T24" fmla="*/ 1797 w 2502"/>
                <a:gd name="T25" fmla="*/ 2210 h 2502"/>
                <a:gd name="T26" fmla="*/ 1862 w 2502"/>
                <a:gd name="T27" fmla="*/ 2210 h 2502"/>
                <a:gd name="T28" fmla="*/ 2209 w 2502"/>
                <a:gd name="T29" fmla="*/ 1862 h 2502"/>
                <a:gd name="T30" fmla="*/ 2209 w 2502"/>
                <a:gd name="T31" fmla="*/ 1797 h 2502"/>
                <a:gd name="T32" fmla="*/ 705 w 2502"/>
                <a:gd name="T33" fmla="*/ 292 h 2502"/>
                <a:gd name="T34" fmla="*/ 640 w 2502"/>
                <a:gd name="T35" fmla="*/ 292 h 2502"/>
                <a:gd name="T36" fmla="*/ 2298 w 2502"/>
                <a:gd name="T37" fmla="*/ 1951 h 2502"/>
                <a:gd name="T38" fmla="*/ 2298 w 2502"/>
                <a:gd name="T39" fmla="*/ 1951 h 2502"/>
                <a:gd name="T40" fmla="*/ 2298 w 2502"/>
                <a:gd name="T41" fmla="*/ 1951 h 2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02" h="2502">
                  <a:moveTo>
                    <a:pt x="1620" y="2386"/>
                  </a:moveTo>
                  <a:lnTo>
                    <a:pt x="115" y="882"/>
                  </a:lnTo>
                  <a:cubicBezTo>
                    <a:pt x="0" y="766"/>
                    <a:pt x="0" y="578"/>
                    <a:pt x="115" y="463"/>
                  </a:cubicBezTo>
                  <a:lnTo>
                    <a:pt x="463" y="116"/>
                  </a:lnTo>
                  <a:cubicBezTo>
                    <a:pt x="579" y="0"/>
                    <a:pt x="766" y="0"/>
                    <a:pt x="882" y="116"/>
                  </a:cubicBezTo>
                  <a:lnTo>
                    <a:pt x="2386" y="1620"/>
                  </a:lnTo>
                  <a:cubicBezTo>
                    <a:pt x="2502" y="1736"/>
                    <a:pt x="2502" y="1924"/>
                    <a:pt x="2386" y="2039"/>
                  </a:cubicBezTo>
                  <a:cubicBezTo>
                    <a:pt x="2165" y="2260"/>
                    <a:pt x="2251" y="2175"/>
                    <a:pt x="2039" y="2386"/>
                  </a:cubicBezTo>
                  <a:cubicBezTo>
                    <a:pt x="1923" y="2502"/>
                    <a:pt x="1736" y="2502"/>
                    <a:pt x="1620" y="2386"/>
                  </a:cubicBezTo>
                  <a:close/>
                  <a:moveTo>
                    <a:pt x="640" y="292"/>
                  </a:moveTo>
                  <a:lnTo>
                    <a:pt x="292" y="639"/>
                  </a:lnTo>
                  <a:cubicBezTo>
                    <a:pt x="274" y="658"/>
                    <a:pt x="274" y="687"/>
                    <a:pt x="292" y="705"/>
                  </a:cubicBezTo>
                  <a:lnTo>
                    <a:pt x="1797" y="2210"/>
                  </a:lnTo>
                  <a:cubicBezTo>
                    <a:pt x="1815" y="2228"/>
                    <a:pt x="1844" y="2228"/>
                    <a:pt x="1862" y="2210"/>
                  </a:cubicBezTo>
                  <a:lnTo>
                    <a:pt x="2209" y="1862"/>
                  </a:lnTo>
                  <a:cubicBezTo>
                    <a:pt x="2228" y="1844"/>
                    <a:pt x="2228" y="1815"/>
                    <a:pt x="2209" y="1797"/>
                  </a:cubicBezTo>
                  <a:lnTo>
                    <a:pt x="705" y="292"/>
                  </a:lnTo>
                  <a:cubicBezTo>
                    <a:pt x="687" y="274"/>
                    <a:pt x="658" y="274"/>
                    <a:pt x="640" y="292"/>
                  </a:cubicBezTo>
                  <a:close/>
                  <a:moveTo>
                    <a:pt x="2298" y="1951"/>
                  </a:moveTo>
                  <a:lnTo>
                    <a:pt x="2298" y="1951"/>
                  </a:lnTo>
                  <a:close/>
                  <a:moveTo>
                    <a:pt x="2298" y="195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id="{F3590B60-51D0-44C5-8761-44DCE1B4EB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3" y="2464"/>
              <a:ext cx="52" cy="52"/>
            </a:xfrm>
            <a:custGeom>
              <a:avLst/>
              <a:gdLst>
                <a:gd name="T0" fmla="*/ 308 w 1790"/>
                <a:gd name="T1" fmla="*/ 1697 h 1802"/>
                <a:gd name="T2" fmla="*/ 0 w 1790"/>
                <a:gd name="T3" fmla="*/ 1336 h 1802"/>
                <a:gd name="T4" fmla="*/ 1235 w 1790"/>
                <a:gd name="T5" fmla="*/ 49 h 1802"/>
                <a:gd name="T6" fmla="*/ 1412 w 1790"/>
                <a:gd name="T7" fmla="*/ 49 h 1802"/>
                <a:gd name="T8" fmla="*/ 1684 w 1790"/>
                <a:gd name="T9" fmla="*/ 321 h 1802"/>
                <a:gd name="T10" fmla="*/ 1684 w 1790"/>
                <a:gd name="T11" fmla="*/ 705 h 1802"/>
                <a:gd name="T12" fmla="*/ 692 w 1790"/>
                <a:gd name="T13" fmla="*/ 1697 h 1802"/>
                <a:gd name="T14" fmla="*/ 308 w 1790"/>
                <a:gd name="T15" fmla="*/ 1697 h 1802"/>
                <a:gd name="T16" fmla="*/ 301 w 1790"/>
                <a:gd name="T17" fmla="*/ 1336 h 1802"/>
                <a:gd name="T18" fmla="*/ 485 w 1790"/>
                <a:gd name="T19" fmla="*/ 1520 h 1802"/>
                <a:gd name="T20" fmla="*/ 1507 w 1790"/>
                <a:gd name="T21" fmla="*/ 528 h 1802"/>
                <a:gd name="T22" fmla="*/ 1507 w 1790"/>
                <a:gd name="T23" fmla="*/ 498 h 1802"/>
                <a:gd name="T24" fmla="*/ 1323 w 1790"/>
                <a:gd name="T25" fmla="*/ 314 h 1802"/>
                <a:gd name="T26" fmla="*/ 301 w 1790"/>
                <a:gd name="T27" fmla="*/ 1336 h 1802"/>
                <a:gd name="T28" fmla="*/ 1595 w 1790"/>
                <a:gd name="T29" fmla="*/ 616 h 1802"/>
                <a:gd name="T30" fmla="*/ 1595 w 1790"/>
                <a:gd name="T31" fmla="*/ 616 h 1802"/>
                <a:gd name="T32" fmla="*/ 1595 w 1790"/>
                <a:gd name="T33" fmla="*/ 616 h 1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90" h="1802">
                  <a:moveTo>
                    <a:pt x="308" y="1697"/>
                  </a:moveTo>
                  <a:cubicBezTo>
                    <a:pt x="62" y="1436"/>
                    <a:pt x="0" y="1424"/>
                    <a:pt x="0" y="1336"/>
                  </a:cubicBezTo>
                  <a:cubicBezTo>
                    <a:pt x="0" y="1241"/>
                    <a:pt x="14" y="1289"/>
                    <a:pt x="1235" y="49"/>
                  </a:cubicBezTo>
                  <a:cubicBezTo>
                    <a:pt x="1284" y="0"/>
                    <a:pt x="1363" y="0"/>
                    <a:pt x="1412" y="49"/>
                  </a:cubicBezTo>
                  <a:lnTo>
                    <a:pt x="1684" y="321"/>
                  </a:lnTo>
                  <a:cubicBezTo>
                    <a:pt x="1790" y="427"/>
                    <a:pt x="1790" y="599"/>
                    <a:pt x="1684" y="705"/>
                  </a:cubicBezTo>
                  <a:lnTo>
                    <a:pt x="692" y="1697"/>
                  </a:lnTo>
                  <a:cubicBezTo>
                    <a:pt x="586" y="1802"/>
                    <a:pt x="414" y="1802"/>
                    <a:pt x="308" y="1697"/>
                  </a:cubicBezTo>
                  <a:close/>
                  <a:moveTo>
                    <a:pt x="301" y="1336"/>
                  </a:moveTo>
                  <a:lnTo>
                    <a:pt x="485" y="1520"/>
                  </a:lnTo>
                  <a:cubicBezTo>
                    <a:pt x="514" y="1549"/>
                    <a:pt x="480" y="1541"/>
                    <a:pt x="1507" y="528"/>
                  </a:cubicBezTo>
                  <a:cubicBezTo>
                    <a:pt x="1515" y="520"/>
                    <a:pt x="1515" y="506"/>
                    <a:pt x="1507" y="498"/>
                  </a:cubicBezTo>
                  <a:lnTo>
                    <a:pt x="1323" y="314"/>
                  </a:lnTo>
                  <a:lnTo>
                    <a:pt x="301" y="1336"/>
                  </a:lnTo>
                  <a:close/>
                  <a:moveTo>
                    <a:pt x="1595" y="616"/>
                  </a:moveTo>
                  <a:lnTo>
                    <a:pt x="1595" y="616"/>
                  </a:lnTo>
                  <a:close/>
                  <a:moveTo>
                    <a:pt x="1595" y="61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Freeform 9">
              <a:extLst>
                <a:ext uri="{FF2B5EF4-FFF2-40B4-BE49-F238E27FC236}">
                  <a16:creationId xmlns:a16="http://schemas.microsoft.com/office/drawing/2014/main" id="{C800AAD5-9BA7-4C4C-A89C-63D81D7A27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3" y="2485"/>
              <a:ext cx="112" cy="112"/>
            </a:xfrm>
            <a:custGeom>
              <a:avLst/>
              <a:gdLst>
                <a:gd name="T0" fmla="*/ 2745 w 3905"/>
                <a:gd name="T1" fmla="*/ 3637 h 3904"/>
                <a:gd name="T2" fmla="*/ 46 w 3905"/>
                <a:gd name="T3" fmla="*/ 747 h 3904"/>
                <a:gd name="T4" fmla="*/ 49 w 3905"/>
                <a:gd name="T5" fmla="*/ 573 h 3904"/>
                <a:gd name="T6" fmla="*/ 573 w 3905"/>
                <a:gd name="T7" fmla="*/ 49 h 3904"/>
                <a:gd name="T8" fmla="*/ 747 w 3905"/>
                <a:gd name="T9" fmla="*/ 46 h 3904"/>
                <a:gd name="T10" fmla="*/ 3637 w 3905"/>
                <a:gd name="T11" fmla="*/ 2744 h 3904"/>
                <a:gd name="T12" fmla="*/ 3652 w 3905"/>
                <a:gd name="T13" fmla="*/ 3652 h 3904"/>
                <a:gd name="T14" fmla="*/ 2745 w 3905"/>
                <a:gd name="T15" fmla="*/ 3637 h 3904"/>
                <a:gd name="T16" fmla="*/ 311 w 3905"/>
                <a:gd name="T17" fmla="*/ 664 h 3904"/>
                <a:gd name="T18" fmla="*/ 2927 w 3905"/>
                <a:gd name="T19" fmla="*/ 3466 h 3904"/>
                <a:gd name="T20" fmla="*/ 3199 w 3905"/>
                <a:gd name="T21" fmla="*/ 3587 h 3904"/>
                <a:gd name="T22" fmla="*/ 3466 w 3905"/>
                <a:gd name="T23" fmla="*/ 2927 h 3904"/>
                <a:gd name="T24" fmla="*/ 664 w 3905"/>
                <a:gd name="T25" fmla="*/ 311 h 3904"/>
                <a:gd name="T26" fmla="*/ 311 w 3905"/>
                <a:gd name="T27" fmla="*/ 664 h 3904"/>
                <a:gd name="T28" fmla="*/ 311 w 3905"/>
                <a:gd name="T29" fmla="*/ 664 h 3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05" h="3904">
                  <a:moveTo>
                    <a:pt x="2745" y="3637"/>
                  </a:moveTo>
                  <a:lnTo>
                    <a:pt x="46" y="747"/>
                  </a:lnTo>
                  <a:cubicBezTo>
                    <a:pt x="0" y="697"/>
                    <a:pt x="1" y="621"/>
                    <a:pt x="49" y="573"/>
                  </a:cubicBezTo>
                  <a:lnTo>
                    <a:pt x="573" y="49"/>
                  </a:lnTo>
                  <a:cubicBezTo>
                    <a:pt x="621" y="1"/>
                    <a:pt x="697" y="0"/>
                    <a:pt x="747" y="46"/>
                  </a:cubicBezTo>
                  <a:lnTo>
                    <a:pt x="3637" y="2744"/>
                  </a:lnTo>
                  <a:cubicBezTo>
                    <a:pt x="3897" y="2988"/>
                    <a:pt x="3905" y="3399"/>
                    <a:pt x="3652" y="3652"/>
                  </a:cubicBezTo>
                  <a:cubicBezTo>
                    <a:pt x="3400" y="3904"/>
                    <a:pt x="2989" y="3898"/>
                    <a:pt x="2745" y="3637"/>
                  </a:cubicBezTo>
                  <a:close/>
                  <a:moveTo>
                    <a:pt x="311" y="664"/>
                  </a:moveTo>
                  <a:lnTo>
                    <a:pt x="2927" y="3466"/>
                  </a:lnTo>
                  <a:cubicBezTo>
                    <a:pt x="2998" y="3542"/>
                    <a:pt x="3095" y="3585"/>
                    <a:pt x="3199" y="3587"/>
                  </a:cubicBezTo>
                  <a:cubicBezTo>
                    <a:pt x="3554" y="3591"/>
                    <a:pt x="3716" y="3161"/>
                    <a:pt x="3466" y="2927"/>
                  </a:cubicBezTo>
                  <a:lnTo>
                    <a:pt x="664" y="311"/>
                  </a:lnTo>
                  <a:lnTo>
                    <a:pt x="311" y="664"/>
                  </a:lnTo>
                  <a:close/>
                  <a:moveTo>
                    <a:pt x="311" y="66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Freeform 10">
              <a:extLst>
                <a:ext uri="{FF2B5EF4-FFF2-40B4-BE49-F238E27FC236}">
                  <a16:creationId xmlns:a16="http://schemas.microsoft.com/office/drawing/2014/main" id="{313A3C9A-572D-4D74-A2D6-810B7F46E6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80" y="2562"/>
              <a:ext cx="91" cy="32"/>
            </a:xfrm>
            <a:custGeom>
              <a:avLst/>
              <a:gdLst>
                <a:gd name="T0" fmla="*/ 3047 w 3172"/>
                <a:gd name="T1" fmla="*/ 1108 h 1108"/>
                <a:gd name="T2" fmla="*/ 125 w 3172"/>
                <a:gd name="T3" fmla="*/ 1108 h 1108"/>
                <a:gd name="T4" fmla="*/ 0 w 3172"/>
                <a:gd name="T5" fmla="*/ 983 h 1108"/>
                <a:gd name="T6" fmla="*/ 0 w 3172"/>
                <a:gd name="T7" fmla="*/ 865 h 1108"/>
                <a:gd name="T8" fmla="*/ 866 w 3172"/>
                <a:gd name="T9" fmla="*/ 0 h 1108"/>
                <a:gd name="T10" fmla="*/ 1199 w 3172"/>
                <a:gd name="T11" fmla="*/ 0 h 1108"/>
                <a:gd name="T12" fmla="*/ 1324 w 3172"/>
                <a:gd name="T13" fmla="*/ 125 h 1108"/>
                <a:gd name="T14" fmla="*/ 1199 w 3172"/>
                <a:gd name="T15" fmla="*/ 250 h 1108"/>
                <a:gd name="T16" fmla="*/ 866 w 3172"/>
                <a:gd name="T17" fmla="*/ 250 h 1108"/>
                <a:gd name="T18" fmla="*/ 250 w 3172"/>
                <a:gd name="T19" fmla="*/ 858 h 1108"/>
                <a:gd name="T20" fmla="*/ 2922 w 3172"/>
                <a:gd name="T21" fmla="*/ 858 h 1108"/>
                <a:gd name="T22" fmla="*/ 2307 w 3172"/>
                <a:gd name="T23" fmla="*/ 250 h 1108"/>
                <a:gd name="T24" fmla="*/ 1666 w 3172"/>
                <a:gd name="T25" fmla="*/ 250 h 1108"/>
                <a:gd name="T26" fmla="*/ 1541 w 3172"/>
                <a:gd name="T27" fmla="*/ 125 h 1108"/>
                <a:gd name="T28" fmla="*/ 1666 w 3172"/>
                <a:gd name="T29" fmla="*/ 0 h 1108"/>
                <a:gd name="T30" fmla="*/ 2307 w 3172"/>
                <a:gd name="T31" fmla="*/ 0 h 1108"/>
                <a:gd name="T32" fmla="*/ 3172 w 3172"/>
                <a:gd name="T33" fmla="*/ 865 h 1108"/>
                <a:gd name="T34" fmla="*/ 3172 w 3172"/>
                <a:gd name="T35" fmla="*/ 983 h 1108"/>
                <a:gd name="T36" fmla="*/ 3047 w 3172"/>
                <a:gd name="T37" fmla="*/ 1108 h 1108"/>
                <a:gd name="T38" fmla="*/ 3047 w 3172"/>
                <a:gd name="T39" fmla="*/ 1108 h 1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172" h="1108">
                  <a:moveTo>
                    <a:pt x="3047" y="1108"/>
                  </a:moveTo>
                  <a:lnTo>
                    <a:pt x="125" y="1108"/>
                  </a:lnTo>
                  <a:cubicBezTo>
                    <a:pt x="56" y="1108"/>
                    <a:pt x="0" y="1052"/>
                    <a:pt x="0" y="983"/>
                  </a:cubicBezTo>
                  <a:lnTo>
                    <a:pt x="0" y="865"/>
                  </a:lnTo>
                  <a:cubicBezTo>
                    <a:pt x="0" y="388"/>
                    <a:pt x="389" y="0"/>
                    <a:pt x="866" y="0"/>
                  </a:cubicBezTo>
                  <a:lnTo>
                    <a:pt x="1199" y="0"/>
                  </a:lnTo>
                  <a:cubicBezTo>
                    <a:pt x="1268" y="0"/>
                    <a:pt x="1324" y="56"/>
                    <a:pt x="1324" y="125"/>
                  </a:cubicBezTo>
                  <a:cubicBezTo>
                    <a:pt x="1324" y="194"/>
                    <a:pt x="1268" y="250"/>
                    <a:pt x="1199" y="250"/>
                  </a:cubicBezTo>
                  <a:lnTo>
                    <a:pt x="866" y="250"/>
                  </a:lnTo>
                  <a:cubicBezTo>
                    <a:pt x="529" y="250"/>
                    <a:pt x="254" y="523"/>
                    <a:pt x="250" y="858"/>
                  </a:cubicBezTo>
                  <a:lnTo>
                    <a:pt x="2922" y="858"/>
                  </a:lnTo>
                  <a:cubicBezTo>
                    <a:pt x="2919" y="523"/>
                    <a:pt x="2644" y="250"/>
                    <a:pt x="2307" y="250"/>
                  </a:cubicBezTo>
                  <a:lnTo>
                    <a:pt x="1666" y="250"/>
                  </a:lnTo>
                  <a:cubicBezTo>
                    <a:pt x="1597" y="250"/>
                    <a:pt x="1541" y="194"/>
                    <a:pt x="1541" y="125"/>
                  </a:cubicBezTo>
                  <a:cubicBezTo>
                    <a:pt x="1541" y="56"/>
                    <a:pt x="1597" y="0"/>
                    <a:pt x="1666" y="0"/>
                  </a:cubicBezTo>
                  <a:lnTo>
                    <a:pt x="2307" y="0"/>
                  </a:lnTo>
                  <a:cubicBezTo>
                    <a:pt x="2784" y="0"/>
                    <a:pt x="3172" y="388"/>
                    <a:pt x="3172" y="865"/>
                  </a:cubicBezTo>
                  <a:lnTo>
                    <a:pt x="3172" y="983"/>
                  </a:lnTo>
                  <a:cubicBezTo>
                    <a:pt x="3172" y="1052"/>
                    <a:pt x="3116" y="1108"/>
                    <a:pt x="3047" y="1108"/>
                  </a:cubicBezTo>
                  <a:close/>
                  <a:moveTo>
                    <a:pt x="3047" y="110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Freeform 11">
              <a:extLst>
                <a:ext uri="{FF2B5EF4-FFF2-40B4-BE49-F238E27FC236}">
                  <a16:creationId xmlns:a16="http://schemas.microsoft.com/office/drawing/2014/main" id="{2B915FF2-2E3A-4215-990C-B1A9631D34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" y="2410"/>
              <a:ext cx="110" cy="109"/>
            </a:xfrm>
            <a:custGeom>
              <a:avLst/>
              <a:gdLst>
                <a:gd name="T0" fmla="*/ 1343 w 3827"/>
                <a:gd name="T1" fmla="*/ 3711 h 3826"/>
                <a:gd name="T2" fmla="*/ 116 w 3827"/>
                <a:gd name="T3" fmla="*/ 2484 h 3826"/>
                <a:gd name="T4" fmla="*/ 116 w 3827"/>
                <a:gd name="T5" fmla="*/ 2065 h 3826"/>
                <a:gd name="T6" fmla="*/ 1102 w 3827"/>
                <a:gd name="T7" fmla="*/ 1079 h 3826"/>
                <a:gd name="T8" fmla="*/ 1279 w 3827"/>
                <a:gd name="T9" fmla="*/ 1079 h 3826"/>
                <a:gd name="T10" fmla="*/ 1279 w 3827"/>
                <a:gd name="T11" fmla="*/ 1256 h 3826"/>
                <a:gd name="T12" fmla="*/ 293 w 3827"/>
                <a:gd name="T13" fmla="*/ 2242 h 3826"/>
                <a:gd name="T14" fmla="*/ 293 w 3827"/>
                <a:gd name="T15" fmla="*/ 2308 h 3826"/>
                <a:gd name="T16" fmla="*/ 1519 w 3827"/>
                <a:gd name="T17" fmla="*/ 3534 h 3826"/>
                <a:gd name="T18" fmla="*/ 1585 w 3827"/>
                <a:gd name="T19" fmla="*/ 3534 h 3826"/>
                <a:gd name="T20" fmla="*/ 3534 w 3827"/>
                <a:gd name="T21" fmla="*/ 1519 h 3826"/>
                <a:gd name="T22" fmla="*/ 2307 w 3827"/>
                <a:gd name="T23" fmla="*/ 293 h 3826"/>
                <a:gd name="T24" fmla="*/ 2242 w 3827"/>
                <a:gd name="T25" fmla="*/ 293 h 3826"/>
                <a:gd name="T26" fmla="*/ 1609 w 3827"/>
                <a:gd name="T27" fmla="*/ 926 h 3826"/>
                <a:gd name="T28" fmla="*/ 1432 w 3827"/>
                <a:gd name="T29" fmla="*/ 926 h 3826"/>
                <a:gd name="T30" fmla="*/ 1432 w 3827"/>
                <a:gd name="T31" fmla="*/ 749 h 3826"/>
                <a:gd name="T32" fmla="*/ 2065 w 3827"/>
                <a:gd name="T33" fmla="*/ 116 h 3826"/>
                <a:gd name="T34" fmla="*/ 2484 w 3827"/>
                <a:gd name="T35" fmla="*/ 116 h 3826"/>
                <a:gd name="T36" fmla="*/ 3711 w 3827"/>
                <a:gd name="T37" fmla="*/ 1343 h 3826"/>
                <a:gd name="T38" fmla="*/ 3711 w 3827"/>
                <a:gd name="T39" fmla="*/ 1762 h 3826"/>
                <a:gd name="T40" fmla="*/ 1762 w 3827"/>
                <a:gd name="T41" fmla="*/ 3711 h 3826"/>
                <a:gd name="T42" fmla="*/ 1343 w 3827"/>
                <a:gd name="T43" fmla="*/ 3711 h 3826"/>
                <a:gd name="T44" fmla="*/ 1343 w 3827"/>
                <a:gd name="T45" fmla="*/ 3711 h 3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827" h="3826">
                  <a:moveTo>
                    <a:pt x="1343" y="3711"/>
                  </a:moveTo>
                  <a:lnTo>
                    <a:pt x="116" y="2484"/>
                  </a:lnTo>
                  <a:cubicBezTo>
                    <a:pt x="1" y="2369"/>
                    <a:pt x="0" y="2181"/>
                    <a:pt x="116" y="2065"/>
                  </a:cubicBezTo>
                  <a:lnTo>
                    <a:pt x="1102" y="1079"/>
                  </a:lnTo>
                  <a:cubicBezTo>
                    <a:pt x="1151" y="1030"/>
                    <a:pt x="1230" y="1030"/>
                    <a:pt x="1279" y="1079"/>
                  </a:cubicBezTo>
                  <a:cubicBezTo>
                    <a:pt x="1328" y="1128"/>
                    <a:pt x="1328" y="1207"/>
                    <a:pt x="1279" y="1256"/>
                  </a:cubicBezTo>
                  <a:lnTo>
                    <a:pt x="293" y="2242"/>
                  </a:lnTo>
                  <a:cubicBezTo>
                    <a:pt x="275" y="2260"/>
                    <a:pt x="275" y="2289"/>
                    <a:pt x="293" y="2308"/>
                  </a:cubicBezTo>
                  <a:lnTo>
                    <a:pt x="1519" y="3534"/>
                  </a:lnTo>
                  <a:cubicBezTo>
                    <a:pt x="1537" y="3552"/>
                    <a:pt x="1567" y="3552"/>
                    <a:pt x="1585" y="3534"/>
                  </a:cubicBezTo>
                  <a:cubicBezTo>
                    <a:pt x="3604" y="1503"/>
                    <a:pt x="3588" y="1573"/>
                    <a:pt x="3534" y="1519"/>
                  </a:cubicBezTo>
                  <a:lnTo>
                    <a:pt x="2307" y="293"/>
                  </a:lnTo>
                  <a:cubicBezTo>
                    <a:pt x="2289" y="275"/>
                    <a:pt x="2260" y="275"/>
                    <a:pt x="2242" y="293"/>
                  </a:cubicBezTo>
                  <a:lnTo>
                    <a:pt x="1609" y="926"/>
                  </a:lnTo>
                  <a:cubicBezTo>
                    <a:pt x="1560" y="975"/>
                    <a:pt x="1481" y="975"/>
                    <a:pt x="1432" y="926"/>
                  </a:cubicBezTo>
                  <a:cubicBezTo>
                    <a:pt x="1383" y="877"/>
                    <a:pt x="1383" y="798"/>
                    <a:pt x="1432" y="749"/>
                  </a:cubicBezTo>
                  <a:lnTo>
                    <a:pt x="2065" y="116"/>
                  </a:lnTo>
                  <a:cubicBezTo>
                    <a:pt x="2181" y="0"/>
                    <a:pt x="2368" y="0"/>
                    <a:pt x="2484" y="116"/>
                  </a:cubicBezTo>
                  <a:lnTo>
                    <a:pt x="3711" y="1343"/>
                  </a:lnTo>
                  <a:cubicBezTo>
                    <a:pt x="3826" y="1458"/>
                    <a:pt x="3827" y="1646"/>
                    <a:pt x="3711" y="1762"/>
                  </a:cubicBezTo>
                  <a:lnTo>
                    <a:pt x="1762" y="3711"/>
                  </a:lnTo>
                  <a:cubicBezTo>
                    <a:pt x="1646" y="3826"/>
                    <a:pt x="1458" y="3826"/>
                    <a:pt x="1343" y="3711"/>
                  </a:cubicBezTo>
                  <a:close/>
                  <a:moveTo>
                    <a:pt x="1343" y="371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0" name="Group 1108">
            <a:extLst>
              <a:ext uri="{FF2B5EF4-FFF2-40B4-BE49-F238E27FC236}">
                <a16:creationId xmlns:a16="http://schemas.microsoft.com/office/drawing/2014/main" id="{92982D8D-0701-4C47-9CE4-60E9A400BA4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11299" y="3917020"/>
            <a:ext cx="308089" cy="304548"/>
            <a:chOff x="3697" y="2580"/>
            <a:chExt cx="174" cy="172"/>
          </a:xfrm>
          <a:solidFill>
            <a:schemeClr val="tx2"/>
          </a:solidFill>
        </p:grpSpPr>
        <p:sp>
          <p:nvSpPr>
            <p:cNvPr id="141" name="Freeform 1109">
              <a:extLst>
                <a:ext uri="{FF2B5EF4-FFF2-40B4-BE49-F238E27FC236}">
                  <a16:creationId xmlns:a16="http://schemas.microsoft.com/office/drawing/2014/main" id="{4ED272B5-F577-445D-958F-1D0EAC5917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12" y="2585"/>
              <a:ext cx="59" cy="162"/>
            </a:xfrm>
            <a:custGeom>
              <a:avLst/>
              <a:gdLst>
                <a:gd name="T0" fmla="*/ 1800 w 2200"/>
                <a:gd name="T1" fmla="*/ 4051 h 6000"/>
                <a:gd name="T2" fmla="*/ 1800 w 2200"/>
                <a:gd name="T3" fmla="*/ 700 h 6000"/>
                <a:gd name="T4" fmla="*/ 1100 w 2200"/>
                <a:gd name="T5" fmla="*/ 0 h 6000"/>
                <a:gd name="T6" fmla="*/ 400 w 2200"/>
                <a:gd name="T7" fmla="*/ 700 h 6000"/>
                <a:gd name="T8" fmla="*/ 400 w 2200"/>
                <a:gd name="T9" fmla="*/ 4051 h 6000"/>
                <a:gd name="T10" fmla="*/ 0 w 2200"/>
                <a:gd name="T11" fmla="*/ 4900 h 6000"/>
                <a:gd name="T12" fmla="*/ 1100 w 2200"/>
                <a:gd name="T13" fmla="*/ 6000 h 6000"/>
                <a:gd name="T14" fmla="*/ 2200 w 2200"/>
                <a:gd name="T15" fmla="*/ 4900 h 6000"/>
                <a:gd name="T16" fmla="*/ 1800 w 2200"/>
                <a:gd name="T17" fmla="*/ 4051 h 6000"/>
                <a:gd name="T18" fmla="*/ 1100 w 2200"/>
                <a:gd name="T19" fmla="*/ 5800 h 6000"/>
                <a:gd name="T20" fmla="*/ 200 w 2200"/>
                <a:gd name="T21" fmla="*/ 4900 h 6000"/>
                <a:gd name="T22" fmla="*/ 560 w 2200"/>
                <a:gd name="T23" fmla="*/ 4180 h 6000"/>
                <a:gd name="T24" fmla="*/ 600 w 2200"/>
                <a:gd name="T25" fmla="*/ 4100 h 6000"/>
                <a:gd name="T26" fmla="*/ 600 w 2200"/>
                <a:gd name="T27" fmla="*/ 700 h 6000"/>
                <a:gd name="T28" fmla="*/ 1100 w 2200"/>
                <a:gd name="T29" fmla="*/ 200 h 6000"/>
                <a:gd name="T30" fmla="*/ 1600 w 2200"/>
                <a:gd name="T31" fmla="*/ 700 h 6000"/>
                <a:gd name="T32" fmla="*/ 1600 w 2200"/>
                <a:gd name="T33" fmla="*/ 4100 h 6000"/>
                <a:gd name="T34" fmla="*/ 1640 w 2200"/>
                <a:gd name="T35" fmla="*/ 4180 h 6000"/>
                <a:gd name="T36" fmla="*/ 2000 w 2200"/>
                <a:gd name="T37" fmla="*/ 4900 h 6000"/>
                <a:gd name="T38" fmla="*/ 1100 w 2200"/>
                <a:gd name="T39" fmla="*/ 5800 h 6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200" h="6000">
                  <a:moveTo>
                    <a:pt x="1800" y="4051"/>
                  </a:moveTo>
                  <a:lnTo>
                    <a:pt x="1800" y="700"/>
                  </a:lnTo>
                  <a:cubicBezTo>
                    <a:pt x="1800" y="314"/>
                    <a:pt x="1486" y="0"/>
                    <a:pt x="1100" y="0"/>
                  </a:cubicBezTo>
                  <a:cubicBezTo>
                    <a:pt x="714" y="0"/>
                    <a:pt x="400" y="314"/>
                    <a:pt x="400" y="700"/>
                  </a:cubicBezTo>
                  <a:lnTo>
                    <a:pt x="400" y="4051"/>
                  </a:lnTo>
                  <a:cubicBezTo>
                    <a:pt x="145" y="4261"/>
                    <a:pt x="0" y="4568"/>
                    <a:pt x="0" y="4900"/>
                  </a:cubicBezTo>
                  <a:cubicBezTo>
                    <a:pt x="0" y="5507"/>
                    <a:pt x="493" y="6000"/>
                    <a:pt x="1100" y="6000"/>
                  </a:cubicBezTo>
                  <a:cubicBezTo>
                    <a:pt x="1707" y="6000"/>
                    <a:pt x="2200" y="5507"/>
                    <a:pt x="2200" y="4900"/>
                  </a:cubicBezTo>
                  <a:cubicBezTo>
                    <a:pt x="2200" y="4568"/>
                    <a:pt x="2055" y="4261"/>
                    <a:pt x="1800" y="4051"/>
                  </a:cubicBezTo>
                  <a:close/>
                  <a:moveTo>
                    <a:pt x="1100" y="5800"/>
                  </a:moveTo>
                  <a:cubicBezTo>
                    <a:pt x="604" y="5800"/>
                    <a:pt x="200" y="5396"/>
                    <a:pt x="200" y="4900"/>
                  </a:cubicBezTo>
                  <a:cubicBezTo>
                    <a:pt x="200" y="4614"/>
                    <a:pt x="331" y="4352"/>
                    <a:pt x="560" y="4180"/>
                  </a:cubicBezTo>
                  <a:cubicBezTo>
                    <a:pt x="585" y="4161"/>
                    <a:pt x="600" y="4131"/>
                    <a:pt x="600" y="4100"/>
                  </a:cubicBezTo>
                  <a:lnTo>
                    <a:pt x="600" y="700"/>
                  </a:lnTo>
                  <a:cubicBezTo>
                    <a:pt x="600" y="424"/>
                    <a:pt x="824" y="200"/>
                    <a:pt x="1100" y="200"/>
                  </a:cubicBezTo>
                  <a:cubicBezTo>
                    <a:pt x="1376" y="200"/>
                    <a:pt x="1600" y="424"/>
                    <a:pt x="1600" y="700"/>
                  </a:cubicBezTo>
                  <a:lnTo>
                    <a:pt x="1600" y="4100"/>
                  </a:lnTo>
                  <a:cubicBezTo>
                    <a:pt x="1600" y="4131"/>
                    <a:pt x="1615" y="4161"/>
                    <a:pt x="1640" y="4180"/>
                  </a:cubicBezTo>
                  <a:cubicBezTo>
                    <a:pt x="1869" y="4352"/>
                    <a:pt x="2000" y="4614"/>
                    <a:pt x="2000" y="4900"/>
                  </a:cubicBezTo>
                  <a:cubicBezTo>
                    <a:pt x="2000" y="5396"/>
                    <a:pt x="1596" y="5800"/>
                    <a:pt x="1100" y="58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2" name="Freeform 1110">
              <a:extLst>
                <a:ext uri="{FF2B5EF4-FFF2-40B4-BE49-F238E27FC236}">
                  <a16:creationId xmlns:a16="http://schemas.microsoft.com/office/drawing/2014/main" id="{E2797F73-540B-4517-9E94-359BAD25EF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23" y="2596"/>
              <a:ext cx="38" cy="140"/>
            </a:xfrm>
            <a:custGeom>
              <a:avLst/>
              <a:gdLst>
                <a:gd name="T0" fmla="*/ 5 w 1400"/>
                <a:gd name="T1" fmla="*/ 4590 h 5208"/>
                <a:gd name="T2" fmla="*/ 638 w 1400"/>
                <a:gd name="T3" fmla="*/ 5205 h 5208"/>
                <a:gd name="T4" fmla="*/ 706 w 1400"/>
                <a:gd name="T5" fmla="*/ 5208 h 5208"/>
                <a:gd name="T6" fmla="*/ 1185 w 1400"/>
                <a:gd name="T7" fmla="*/ 5013 h 5208"/>
                <a:gd name="T8" fmla="*/ 1400 w 1400"/>
                <a:gd name="T9" fmla="*/ 4508 h 5208"/>
                <a:gd name="T10" fmla="*/ 1000 w 1400"/>
                <a:gd name="T11" fmla="*/ 3875 h 5208"/>
                <a:gd name="T12" fmla="*/ 1000 w 1400"/>
                <a:gd name="T13" fmla="*/ 908 h 5208"/>
                <a:gd name="T14" fmla="*/ 800 w 1400"/>
                <a:gd name="T15" fmla="*/ 908 h 5208"/>
                <a:gd name="T16" fmla="*/ 800 w 1400"/>
                <a:gd name="T17" fmla="*/ 1208 h 5208"/>
                <a:gd name="T18" fmla="*/ 600 w 1400"/>
                <a:gd name="T19" fmla="*/ 1208 h 5208"/>
                <a:gd name="T20" fmla="*/ 600 w 1400"/>
                <a:gd name="T21" fmla="*/ 308 h 5208"/>
                <a:gd name="T22" fmla="*/ 633 w 1400"/>
                <a:gd name="T23" fmla="*/ 233 h 5208"/>
                <a:gd name="T24" fmla="*/ 712 w 1400"/>
                <a:gd name="T25" fmla="*/ 209 h 5208"/>
                <a:gd name="T26" fmla="*/ 800 w 1400"/>
                <a:gd name="T27" fmla="*/ 313 h 5208"/>
                <a:gd name="T28" fmla="*/ 800 w 1400"/>
                <a:gd name="T29" fmla="*/ 708 h 5208"/>
                <a:gd name="T30" fmla="*/ 1000 w 1400"/>
                <a:gd name="T31" fmla="*/ 708 h 5208"/>
                <a:gd name="T32" fmla="*/ 1000 w 1400"/>
                <a:gd name="T33" fmla="*/ 313 h 5208"/>
                <a:gd name="T34" fmla="*/ 734 w 1400"/>
                <a:gd name="T35" fmla="*/ 10 h 5208"/>
                <a:gd name="T36" fmla="*/ 500 w 1400"/>
                <a:gd name="T37" fmla="*/ 85 h 5208"/>
                <a:gd name="T38" fmla="*/ 400 w 1400"/>
                <a:gd name="T39" fmla="*/ 308 h 5208"/>
                <a:gd name="T40" fmla="*/ 400 w 1400"/>
                <a:gd name="T41" fmla="*/ 3875 h 5208"/>
                <a:gd name="T42" fmla="*/ 0 w 1400"/>
                <a:gd name="T43" fmla="*/ 4508 h 5208"/>
                <a:gd name="T44" fmla="*/ 5 w 1400"/>
                <a:gd name="T45" fmla="*/ 4590 h 5208"/>
                <a:gd name="T46" fmla="*/ 638 w 1400"/>
                <a:gd name="T47" fmla="*/ 5004 h 5208"/>
                <a:gd name="T48" fmla="*/ 209 w 1400"/>
                <a:gd name="T49" fmla="*/ 4601 h 5208"/>
                <a:gd name="T50" fmla="*/ 208 w 1400"/>
                <a:gd name="T51" fmla="*/ 4598 h 5208"/>
                <a:gd name="T52" fmla="*/ 208 w 1400"/>
                <a:gd name="T53" fmla="*/ 4596 h 5208"/>
                <a:gd name="T54" fmla="*/ 200 w 1400"/>
                <a:gd name="T55" fmla="*/ 4508 h 5208"/>
                <a:gd name="T56" fmla="*/ 533 w 1400"/>
                <a:gd name="T57" fmla="*/ 4036 h 5208"/>
                <a:gd name="T58" fmla="*/ 599 w 1400"/>
                <a:gd name="T59" fmla="*/ 3954 h 5208"/>
                <a:gd name="T60" fmla="*/ 600 w 1400"/>
                <a:gd name="T61" fmla="*/ 3942 h 5208"/>
                <a:gd name="T62" fmla="*/ 600 w 1400"/>
                <a:gd name="T63" fmla="*/ 1408 h 5208"/>
                <a:gd name="T64" fmla="*/ 800 w 1400"/>
                <a:gd name="T65" fmla="*/ 1408 h 5208"/>
                <a:gd name="T66" fmla="*/ 800 w 1400"/>
                <a:gd name="T67" fmla="*/ 3942 h 5208"/>
                <a:gd name="T68" fmla="*/ 801 w 1400"/>
                <a:gd name="T69" fmla="*/ 3954 h 5208"/>
                <a:gd name="T70" fmla="*/ 867 w 1400"/>
                <a:gd name="T71" fmla="*/ 4036 h 5208"/>
                <a:gd name="T72" fmla="*/ 1200 w 1400"/>
                <a:gd name="T73" fmla="*/ 4508 h 5208"/>
                <a:gd name="T74" fmla="*/ 740 w 1400"/>
                <a:gd name="T75" fmla="*/ 5006 h 5208"/>
                <a:gd name="T76" fmla="*/ 686 w 1400"/>
                <a:gd name="T77" fmla="*/ 5007 h 5208"/>
                <a:gd name="T78" fmla="*/ 638 w 1400"/>
                <a:gd name="T79" fmla="*/ 5004 h 5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00" h="5208">
                  <a:moveTo>
                    <a:pt x="5" y="4590"/>
                  </a:moveTo>
                  <a:cubicBezTo>
                    <a:pt x="43" y="4917"/>
                    <a:pt x="308" y="5176"/>
                    <a:pt x="638" y="5205"/>
                  </a:cubicBezTo>
                  <a:lnTo>
                    <a:pt x="706" y="5208"/>
                  </a:lnTo>
                  <a:cubicBezTo>
                    <a:pt x="886" y="5207"/>
                    <a:pt x="1055" y="5138"/>
                    <a:pt x="1185" y="5013"/>
                  </a:cubicBezTo>
                  <a:cubicBezTo>
                    <a:pt x="1324" y="4879"/>
                    <a:pt x="1400" y="4700"/>
                    <a:pt x="1400" y="4508"/>
                  </a:cubicBezTo>
                  <a:cubicBezTo>
                    <a:pt x="1400" y="4236"/>
                    <a:pt x="1242" y="3990"/>
                    <a:pt x="1000" y="3875"/>
                  </a:cubicBezTo>
                  <a:lnTo>
                    <a:pt x="1000" y="908"/>
                  </a:lnTo>
                  <a:lnTo>
                    <a:pt x="800" y="908"/>
                  </a:lnTo>
                  <a:lnTo>
                    <a:pt x="800" y="1208"/>
                  </a:lnTo>
                  <a:lnTo>
                    <a:pt x="600" y="1208"/>
                  </a:lnTo>
                  <a:lnTo>
                    <a:pt x="600" y="308"/>
                  </a:lnTo>
                  <a:cubicBezTo>
                    <a:pt x="600" y="279"/>
                    <a:pt x="612" y="253"/>
                    <a:pt x="633" y="233"/>
                  </a:cubicBezTo>
                  <a:cubicBezTo>
                    <a:pt x="655" y="214"/>
                    <a:pt x="683" y="205"/>
                    <a:pt x="712" y="209"/>
                  </a:cubicBezTo>
                  <a:cubicBezTo>
                    <a:pt x="761" y="214"/>
                    <a:pt x="800" y="260"/>
                    <a:pt x="800" y="313"/>
                  </a:cubicBezTo>
                  <a:lnTo>
                    <a:pt x="800" y="708"/>
                  </a:lnTo>
                  <a:lnTo>
                    <a:pt x="1000" y="708"/>
                  </a:lnTo>
                  <a:lnTo>
                    <a:pt x="1000" y="313"/>
                  </a:lnTo>
                  <a:cubicBezTo>
                    <a:pt x="1000" y="157"/>
                    <a:pt x="886" y="27"/>
                    <a:pt x="734" y="10"/>
                  </a:cubicBezTo>
                  <a:cubicBezTo>
                    <a:pt x="649" y="0"/>
                    <a:pt x="563" y="28"/>
                    <a:pt x="500" y="85"/>
                  </a:cubicBezTo>
                  <a:cubicBezTo>
                    <a:pt x="436" y="141"/>
                    <a:pt x="400" y="223"/>
                    <a:pt x="400" y="308"/>
                  </a:cubicBezTo>
                  <a:lnTo>
                    <a:pt x="400" y="3875"/>
                  </a:lnTo>
                  <a:cubicBezTo>
                    <a:pt x="158" y="3990"/>
                    <a:pt x="0" y="4236"/>
                    <a:pt x="0" y="4508"/>
                  </a:cubicBezTo>
                  <a:lnTo>
                    <a:pt x="5" y="4590"/>
                  </a:lnTo>
                  <a:close/>
                  <a:moveTo>
                    <a:pt x="638" y="5004"/>
                  </a:moveTo>
                  <a:cubicBezTo>
                    <a:pt x="424" y="4977"/>
                    <a:pt x="249" y="4811"/>
                    <a:pt x="209" y="4601"/>
                  </a:cubicBezTo>
                  <a:cubicBezTo>
                    <a:pt x="209" y="4600"/>
                    <a:pt x="208" y="4599"/>
                    <a:pt x="208" y="4598"/>
                  </a:cubicBezTo>
                  <a:cubicBezTo>
                    <a:pt x="208" y="4597"/>
                    <a:pt x="208" y="4597"/>
                    <a:pt x="208" y="4596"/>
                  </a:cubicBezTo>
                  <a:cubicBezTo>
                    <a:pt x="203" y="4568"/>
                    <a:pt x="200" y="4538"/>
                    <a:pt x="200" y="4508"/>
                  </a:cubicBezTo>
                  <a:cubicBezTo>
                    <a:pt x="200" y="4296"/>
                    <a:pt x="334" y="4107"/>
                    <a:pt x="533" y="4036"/>
                  </a:cubicBezTo>
                  <a:cubicBezTo>
                    <a:pt x="570" y="4024"/>
                    <a:pt x="595" y="3991"/>
                    <a:pt x="599" y="3954"/>
                  </a:cubicBezTo>
                  <a:cubicBezTo>
                    <a:pt x="600" y="3950"/>
                    <a:pt x="600" y="3946"/>
                    <a:pt x="600" y="3942"/>
                  </a:cubicBezTo>
                  <a:lnTo>
                    <a:pt x="600" y="1408"/>
                  </a:lnTo>
                  <a:lnTo>
                    <a:pt x="800" y="1408"/>
                  </a:lnTo>
                  <a:lnTo>
                    <a:pt x="800" y="3942"/>
                  </a:lnTo>
                  <a:cubicBezTo>
                    <a:pt x="800" y="3946"/>
                    <a:pt x="800" y="3950"/>
                    <a:pt x="801" y="3954"/>
                  </a:cubicBezTo>
                  <a:cubicBezTo>
                    <a:pt x="805" y="3991"/>
                    <a:pt x="830" y="4024"/>
                    <a:pt x="867" y="4036"/>
                  </a:cubicBezTo>
                  <a:cubicBezTo>
                    <a:pt x="1066" y="4107"/>
                    <a:pt x="1200" y="4296"/>
                    <a:pt x="1200" y="4508"/>
                  </a:cubicBezTo>
                  <a:cubicBezTo>
                    <a:pt x="1200" y="4770"/>
                    <a:pt x="997" y="4986"/>
                    <a:pt x="740" y="5006"/>
                  </a:cubicBezTo>
                  <a:cubicBezTo>
                    <a:pt x="723" y="5007"/>
                    <a:pt x="705" y="5007"/>
                    <a:pt x="686" y="5007"/>
                  </a:cubicBezTo>
                  <a:cubicBezTo>
                    <a:pt x="669" y="5006"/>
                    <a:pt x="653" y="5006"/>
                    <a:pt x="638" y="500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Freeform 1111">
              <a:extLst>
                <a:ext uri="{FF2B5EF4-FFF2-40B4-BE49-F238E27FC236}">
                  <a16:creationId xmlns:a16="http://schemas.microsoft.com/office/drawing/2014/main" id="{08D7EA6F-9BC4-455A-AEC9-DC4650F4AC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7" y="2635"/>
              <a:ext cx="29" cy="29"/>
            </a:xfrm>
            <a:custGeom>
              <a:avLst/>
              <a:gdLst>
                <a:gd name="T0" fmla="*/ 598 w 1061"/>
                <a:gd name="T1" fmla="*/ 0 h 1068"/>
                <a:gd name="T2" fmla="*/ 598 w 1061"/>
                <a:gd name="T3" fmla="*/ 0 h 1068"/>
                <a:gd name="T4" fmla="*/ 339 w 1061"/>
                <a:gd name="T5" fmla="*/ 109 h 1068"/>
                <a:gd name="T6" fmla="*/ 115 w 1061"/>
                <a:gd name="T7" fmla="*/ 340 h 1068"/>
                <a:gd name="T8" fmla="*/ 19 w 1061"/>
                <a:gd name="T9" fmla="*/ 652 h 1068"/>
                <a:gd name="T10" fmla="*/ 215 w 1061"/>
                <a:gd name="T11" fmla="*/ 914 h 1068"/>
                <a:gd name="T12" fmla="*/ 451 w 1061"/>
                <a:gd name="T13" fmla="*/ 1031 h 1068"/>
                <a:gd name="T14" fmla="*/ 611 w 1061"/>
                <a:gd name="T15" fmla="*/ 1068 h 1068"/>
                <a:gd name="T16" fmla="*/ 759 w 1061"/>
                <a:gd name="T17" fmla="*/ 1036 h 1068"/>
                <a:gd name="T18" fmla="*/ 959 w 1061"/>
                <a:gd name="T19" fmla="*/ 801 h 1068"/>
                <a:gd name="T20" fmla="*/ 1029 w 1061"/>
                <a:gd name="T21" fmla="*/ 539 h 1068"/>
                <a:gd name="T22" fmla="*/ 940 w 1061"/>
                <a:gd name="T23" fmla="*/ 196 h 1068"/>
                <a:gd name="T24" fmla="*/ 856 w 1061"/>
                <a:gd name="T25" fmla="*/ 110 h 1068"/>
                <a:gd name="T26" fmla="*/ 598 w 1061"/>
                <a:gd name="T27" fmla="*/ 0 h 1068"/>
                <a:gd name="T28" fmla="*/ 836 w 1061"/>
                <a:gd name="T29" fmla="*/ 487 h 1068"/>
                <a:gd name="T30" fmla="*/ 765 w 1061"/>
                <a:gd name="T31" fmla="*/ 749 h 1068"/>
                <a:gd name="T32" fmla="*/ 677 w 1061"/>
                <a:gd name="T33" fmla="*/ 854 h 1068"/>
                <a:gd name="T34" fmla="*/ 540 w 1061"/>
                <a:gd name="T35" fmla="*/ 851 h 1068"/>
                <a:gd name="T36" fmla="*/ 303 w 1061"/>
                <a:gd name="T37" fmla="*/ 734 h 1068"/>
                <a:gd name="T38" fmla="*/ 216 w 1061"/>
                <a:gd name="T39" fmla="*/ 618 h 1068"/>
                <a:gd name="T40" fmla="*/ 259 w 1061"/>
                <a:gd name="T41" fmla="*/ 480 h 1068"/>
                <a:gd name="T42" fmla="*/ 483 w 1061"/>
                <a:gd name="T43" fmla="*/ 249 h 1068"/>
                <a:gd name="T44" fmla="*/ 598 w 1061"/>
                <a:gd name="T45" fmla="*/ 200 h 1068"/>
                <a:gd name="T46" fmla="*/ 598 w 1061"/>
                <a:gd name="T47" fmla="*/ 200 h 1068"/>
                <a:gd name="T48" fmla="*/ 713 w 1061"/>
                <a:gd name="T49" fmla="*/ 249 h 1068"/>
                <a:gd name="T50" fmla="*/ 796 w 1061"/>
                <a:gd name="T51" fmla="*/ 335 h 1068"/>
                <a:gd name="T52" fmla="*/ 836 w 1061"/>
                <a:gd name="T53" fmla="*/ 487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61" h="1068">
                  <a:moveTo>
                    <a:pt x="598" y="0"/>
                  </a:moveTo>
                  <a:lnTo>
                    <a:pt x="598" y="0"/>
                  </a:lnTo>
                  <a:cubicBezTo>
                    <a:pt x="499" y="0"/>
                    <a:pt x="407" y="39"/>
                    <a:pt x="339" y="109"/>
                  </a:cubicBezTo>
                  <a:lnTo>
                    <a:pt x="115" y="340"/>
                  </a:lnTo>
                  <a:cubicBezTo>
                    <a:pt x="35" y="424"/>
                    <a:pt x="0" y="538"/>
                    <a:pt x="19" y="652"/>
                  </a:cubicBezTo>
                  <a:cubicBezTo>
                    <a:pt x="39" y="767"/>
                    <a:pt x="110" y="862"/>
                    <a:pt x="215" y="914"/>
                  </a:cubicBezTo>
                  <a:lnTo>
                    <a:pt x="451" y="1031"/>
                  </a:lnTo>
                  <a:cubicBezTo>
                    <a:pt x="502" y="1056"/>
                    <a:pt x="556" y="1068"/>
                    <a:pt x="611" y="1068"/>
                  </a:cubicBezTo>
                  <a:cubicBezTo>
                    <a:pt x="661" y="1068"/>
                    <a:pt x="712" y="1057"/>
                    <a:pt x="759" y="1036"/>
                  </a:cubicBezTo>
                  <a:cubicBezTo>
                    <a:pt x="858" y="991"/>
                    <a:pt x="931" y="906"/>
                    <a:pt x="959" y="801"/>
                  </a:cubicBezTo>
                  <a:lnTo>
                    <a:pt x="1029" y="539"/>
                  </a:lnTo>
                  <a:cubicBezTo>
                    <a:pt x="1061" y="418"/>
                    <a:pt x="1027" y="286"/>
                    <a:pt x="940" y="196"/>
                  </a:cubicBezTo>
                  <a:lnTo>
                    <a:pt x="856" y="110"/>
                  </a:lnTo>
                  <a:cubicBezTo>
                    <a:pt x="788" y="39"/>
                    <a:pt x="696" y="0"/>
                    <a:pt x="598" y="0"/>
                  </a:cubicBezTo>
                  <a:close/>
                  <a:moveTo>
                    <a:pt x="836" y="487"/>
                  </a:moveTo>
                  <a:lnTo>
                    <a:pt x="765" y="749"/>
                  </a:lnTo>
                  <a:cubicBezTo>
                    <a:pt x="753" y="796"/>
                    <a:pt x="721" y="834"/>
                    <a:pt x="677" y="854"/>
                  </a:cubicBezTo>
                  <a:cubicBezTo>
                    <a:pt x="633" y="873"/>
                    <a:pt x="583" y="873"/>
                    <a:pt x="540" y="851"/>
                  </a:cubicBezTo>
                  <a:lnTo>
                    <a:pt x="303" y="734"/>
                  </a:lnTo>
                  <a:cubicBezTo>
                    <a:pt x="257" y="711"/>
                    <a:pt x="225" y="669"/>
                    <a:pt x="216" y="618"/>
                  </a:cubicBezTo>
                  <a:cubicBezTo>
                    <a:pt x="208" y="567"/>
                    <a:pt x="223" y="517"/>
                    <a:pt x="259" y="480"/>
                  </a:cubicBezTo>
                  <a:lnTo>
                    <a:pt x="483" y="249"/>
                  </a:lnTo>
                  <a:cubicBezTo>
                    <a:pt x="513" y="217"/>
                    <a:pt x="554" y="200"/>
                    <a:pt x="598" y="200"/>
                  </a:cubicBezTo>
                  <a:lnTo>
                    <a:pt x="598" y="200"/>
                  </a:lnTo>
                  <a:cubicBezTo>
                    <a:pt x="641" y="200"/>
                    <a:pt x="682" y="217"/>
                    <a:pt x="713" y="249"/>
                  </a:cubicBezTo>
                  <a:lnTo>
                    <a:pt x="796" y="335"/>
                  </a:lnTo>
                  <a:cubicBezTo>
                    <a:pt x="835" y="375"/>
                    <a:pt x="850" y="433"/>
                    <a:pt x="836" y="4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4" name="Freeform 1112">
              <a:extLst>
                <a:ext uri="{FF2B5EF4-FFF2-40B4-BE49-F238E27FC236}">
                  <a16:creationId xmlns:a16="http://schemas.microsoft.com/office/drawing/2014/main" id="{EAB00B7F-0163-4664-B839-56867B6718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7" y="2580"/>
              <a:ext cx="122" cy="172"/>
            </a:xfrm>
            <a:custGeom>
              <a:avLst/>
              <a:gdLst>
                <a:gd name="T0" fmla="*/ 2075 w 4519"/>
                <a:gd name="T1" fmla="*/ 3780 h 6401"/>
                <a:gd name="T2" fmla="*/ 2142 w 4519"/>
                <a:gd name="T3" fmla="*/ 3592 h 6401"/>
                <a:gd name="T4" fmla="*/ 1479 w 4519"/>
                <a:gd name="T5" fmla="*/ 3695 h 6401"/>
                <a:gd name="T6" fmla="*/ 341 w 4519"/>
                <a:gd name="T7" fmla="*/ 3446 h 6401"/>
                <a:gd name="T8" fmla="*/ 1163 w 4519"/>
                <a:gd name="T9" fmla="*/ 1641 h 6401"/>
                <a:gd name="T10" fmla="*/ 2110 w 4519"/>
                <a:gd name="T11" fmla="*/ 1897 h 6401"/>
                <a:gd name="T12" fmla="*/ 2460 w 4519"/>
                <a:gd name="T13" fmla="*/ 1063 h 6401"/>
                <a:gd name="T14" fmla="*/ 3025 w 4519"/>
                <a:gd name="T15" fmla="*/ 1486 h 6401"/>
                <a:gd name="T16" fmla="*/ 3460 w 4519"/>
                <a:gd name="T17" fmla="*/ 1890 h 6401"/>
                <a:gd name="T18" fmla="*/ 3954 w 4519"/>
                <a:gd name="T19" fmla="*/ 2130 h 6401"/>
                <a:gd name="T20" fmla="*/ 4260 w 4519"/>
                <a:gd name="T21" fmla="*/ 1074 h 6401"/>
                <a:gd name="T22" fmla="*/ 4519 w 4519"/>
                <a:gd name="T23" fmla="*/ 545 h 6401"/>
                <a:gd name="T24" fmla="*/ 2853 w 4519"/>
                <a:gd name="T25" fmla="*/ 0 h 6401"/>
                <a:gd name="T26" fmla="*/ 794 w 4519"/>
                <a:gd name="T27" fmla="*/ 912 h 6401"/>
                <a:gd name="T28" fmla="*/ 184 w 4519"/>
                <a:gd name="T29" fmla="*/ 3627 h 6401"/>
                <a:gd name="T30" fmla="*/ 660 w 4519"/>
                <a:gd name="T31" fmla="*/ 6001 h 6401"/>
                <a:gd name="T32" fmla="*/ 1360 w 4519"/>
                <a:gd name="T33" fmla="*/ 5166 h 6401"/>
                <a:gd name="T34" fmla="*/ 2160 w 4519"/>
                <a:gd name="T35" fmla="*/ 6001 h 6401"/>
                <a:gd name="T36" fmla="*/ 2560 w 4519"/>
                <a:gd name="T37" fmla="*/ 5801 h 6401"/>
                <a:gd name="T38" fmla="*/ 3360 w 4519"/>
                <a:gd name="T39" fmla="*/ 5556 h 6401"/>
                <a:gd name="T40" fmla="*/ 3434 w 4519"/>
                <a:gd name="T41" fmla="*/ 5337 h 6401"/>
                <a:gd name="T42" fmla="*/ 3248 w 4519"/>
                <a:gd name="T43" fmla="*/ 4073 h 6401"/>
                <a:gd name="T44" fmla="*/ 2693 w 4519"/>
                <a:gd name="T45" fmla="*/ 3786 h 6401"/>
                <a:gd name="T46" fmla="*/ 2993 w 4519"/>
                <a:gd name="T47" fmla="*/ 4103 h 6401"/>
                <a:gd name="T48" fmla="*/ 3359 w 4519"/>
                <a:gd name="T49" fmla="*/ 4665 h 6401"/>
                <a:gd name="T50" fmla="*/ 3378 w 4519"/>
                <a:gd name="T51" fmla="*/ 4720 h 6401"/>
                <a:gd name="T52" fmla="*/ 3215 w 4519"/>
                <a:gd name="T53" fmla="*/ 5382 h 6401"/>
                <a:gd name="T54" fmla="*/ 2960 w 4519"/>
                <a:gd name="T55" fmla="*/ 6001 h 6401"/>
                <a:gd name="T56" fmla="*/ 2668 w 4519"/>
                <a:gd name="T57" fmla="*/ 5394 h 6401"/>
                <a:gd name="T58" fmla="*/ 1960 w 4519"/>
                <a:gd name="T59" fmla="*/ 5379 h 6401"/>
                <a:gd name="T60" fmla="*/ 1560 w 4519"/>
                <a:gd name="T61" fmla="*/ 6001 h 6401"/>
                <a:gd name="T62" fmla="*/ 1030 w 4519"/>
                <a:gd name="T63" fmla="*/ 4649 h 6401"/>
                <a:gd name="T64" fmla="*/ 860 w 4519"/>
                <a:gd name="T65" fmla="*/ 5601 h 6401"/>
                <a:gd name="T66" fmla="*/ 460 w 4519"/>
                <a:gd name="T67" fmla="*/ 3821 h 6401"/>
                <a:gd name="T68" fmla="*/ 758 w 4519"/>
                <a:gd name="T69" fmla="*/ 3437 h 6401"/>
                <a:gd name="T70" fmla="*/ 1545 w 4519"/>
                <a:gd name="T71" fmla="*/ 3938 h 6401"/>
                <a:gd name="T72" fmla="*/ 4060 w 4519"/>
                <a:gd name="T73" fmla="*/ 1074 h 6401"/>
                <a:gd name="T74" fmla="*/ 3860 w 4519"/>
                <a:gd name="T75" fmla="*/ 1901 h 6401"/>
                <a:gd name="T76" fmla="*/ 3660 w 4519"/>
                <a:gd name="T77" fmla="*/ 1890 h 6401"/>
                <a:gd name="T78" fmla="*/ 3560 w 4519"/>
                <a:gd name="T79" fmla="*/ 1424 h 6401"/>
                <a:gd name="T80" fmla="*/ 3198 w 4519"/>
                <a:gd name="T81" fmla="*/ 1386 h 6401"/>
                <a:gd name="T82" fmla="*/ 2260 w 4519"/>
                <a:gd name="T83" fmla="*/ 1063 h 6401"/>
                <a:gd name="T84" fmla="*/ 2142 w 4519"/>
                <a:gd name="T85" fmla="*/ 1700 h 6401"/>
                <a:gd name="T86" fmla="*/ 2010 w 4519"/>
                <a:gd name="T87" fmla="*/ 1386 h 6401"/>
                <a:gd name="T88" fmla="*/ 1335 w 4519"/>
                <a:gd name="T89" fmla="*/ 1539 h 6401"/>
                <a:gd name="T90" fmla="*/ 3094 w 4519"/>
                <a:gd name="T91" fmla="*/ 212 h 6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519" h="6401">
                  <a:moveTo>
                    <a:pt x="1770" y="3892"/>
                  </a:moveTo>
                  <a:lnTo>
                    <a:pt x="1942" y="3793"/>
                  </a:lnTo>
                  <a:cubicBezTo>
                    <a:pt x="1982" y="3769"/>
                    <a:pt x="2031" y="3765"/>
                    <a:pt x="2075" y="3780"/>
                  </a:cubicBezTo>
                  <a:lnTo>
                    <a:pt x="2441" y="3909"/>
                  </a:lnTo>
                  <a:lnTo>
                    <a:pt x="2508" y="3721"/>
                  </a:lnTo>
                  <a:lnTo>
                    <a:pt x="2142" y="3592"/>
                  </a:lnTo>
                  <a:cubicBezTo>
                    <a:pt x="2042" y="3557"/>
                    <a:pt x="1933" y="3567"/>
                    <a:pt x="1842" y="3619"/>
                  </a:cubicBezTo>
                  <a:lnTo>
                    <a:pt x="1670" y="3719"/>
                  </a:lnTo>
                  <a:cubicBezTo>
                    <a:pt x="1608" y="3754"/>
                    <a:pt x="1530" y="3744"/>
                    <a:pt x="1479" y="3695"/>
                  </a:cubicBezTo>
                  <a:lnTo>
                    <a:pt x="1088" y="3317"/>
                  </a:lnTo>
                  <a:cubicBezTo>
                    <a:pt x="973" y="3206"/>
                    <a:pt x="796" y="3184"/>
                    <a:pt x="658" y="3264"/>
                  </a:cubicBezTo>
                  <a:lnTo>
                    <a:pt x="341" y="3446"/>
                  </a:lnTo>
                  <a:cubicBezTo>
                    <a:pt x="208" y="2927"/>
                    <a:pt x="240" y="2370"/>
                    <a:pt x="434" y="1865"/>
                  </a:cubicBezTo>
                  <a:cubicBezTo>
                    <a:pt x="537" y="1600"/>
                    <a:pt x="682" y="1353"/>
                    <a:pt x="863" y="1137"/>
                  </a:cubicBezTo>
                  <a:lnTo>
                    <a:pt x="1163" y="1641"/>
                  </a:lnTo>
                  <a:cubicBezTo>
                    <a:pt x="1262" y="1808"/>
                    <a:pt x="1480" y="1865"/>
                    <a:pt x="1649" y="1768"/>
                  </a:cubicBezTo>
                  <a:lnTo>
                    <a:pt x="1864" y="1643"/>
                  </a:lnTo>
                  <a:cubicBezTo>
                    <a:pt x="1886" y="1772"/>
                    <a:pt x="1985" y="1877"/>
                    <a:pt x="2110" y="1897"/>
                  </a:cubicBezTo>
                  <a:cubicBezTo>
                    <a:pt x="2198" y="1911"/>
                    <a:pt x="2287" y="1887"/>
                    <a:pt x="2354" y="1830"/>
                  </a:cubicBezTo>
                  <a:cubicBezTo>
                    <a:pt x="2421" y="1772"/>
                    <a:pt x="2460" y="1689"/>
                    <a:pt x="2460" y="1601"/>
                  </a:cubicBezTo>
                  <a:lnTo>
                    <a:pt x="2460" y="1063"/>
                  </a:lnTo>
                  <a:cubicBezTo>
                    <a:pt x="2460" y="981"/>
                    <a:pt x="2524" y="916"/>
                    <a:pt x="2605" y="914"/>
                  </a:cubicBezTo>
                  <a:cubicBezTo>
                    <a:pt x="2659" y="913"/>
                    <a:pt x="2710" y="941"/>
                    <a:pt x="2737" y="988"/>
                  </a:cubicBezTo>
                  <a:lnTo>
                    <a:pt x="3025" y="1486"/>
                  </a:lnTo>
                  <a:cubicBezTo>
                    <a:pt x="3103" y="1621"/>
                    <a:pt x="3257" y="1689"/>
                    <a:pt x="3408" y="1657"/>
                  </a:cubicBezTo>
                  <a:lnTo>
                    <a:pt x="3460" y="1646"/>
                  </a:lnTo>
                  <a:lnTo>
                    <a:pt x="3460" y="1890"/>
                  </a:lnTo>
                  <a:cubicBezTo>
                    <a:pt x="3460" y="2042"/>
                    <a:pt x="3568" y="2174"/>
                    <a:pt x="3710" y="2197"/>
                  </a:cubicBezTo>
                  <a:cubicBezTo>
                    <a:pt x="3727" y="2200"/>
                    <a:pt x="3743" y="2201"/>
                    <a:pt x="3760" y="2201"/>
                  </a:cubicBezTo>
                  <a:cubicBezTo>
                    <a:pt x="3831" y="2201"/>
                    <a:pt x="3900" y="2176"/>
                    <a:pt x="3954" y="2130"/>
                  </a:cubicBezTo>
                  <a:cubicBezTo>
                    <a:pt x="4021" y="2072"/>
                    <a:pt x="4060" y="1989"/>
                    <a:pt x="4060" y="1901"/>
                  </a:cubicBezTo>
                  <a:lnTo>
                    <a:pt x="4060" y="1474"/>
                  </a:lnTo>
                  <a:cubicBezTo>
                    <a:pt x="4185" y="1381"/>
                    <a:pt x="4260" y="1232"/>
                    <a:pt x="4260" y="1074"/>
                  </a:cubicBezTo>
                  <a:lnTo>
                    <a:pt x="4260" y="609"/>
                  </a:lnTo>
                  <a:cubicBezTo>
                    <a:pt x="4308" y="640"/>
                    <a:pt x="4355" y="672"/>
                    <a:pt x="4401" y="706"/>
                  </a:cubicBezTo>
                  <a:lnTo>
                    <a:pt x="4519" y="545"/>
                  </a:lnTo>
                  <a:cubicBezTo>
                    <a:pt x="4099" y="236"/>
                    <a:pt x="3612" y="58"/>
                    <a:pt x="3114" y="12"/>
                  </a:cubicBezTo>
                  <a:cubicBezTo>
                    <a:pt x="3027" y="4"/>
                    <a:pt x="2941" y="0"/>
                    <a:pt x="2854" y="0"/>
                  </a:cubicBezTo>
                  <a:lnTo>
                    <a:pt x="2853" y="0"/>
                  </a:lnTo>
                  <a:cubicBezTo>
                    <a:pt x="2367" y="0"/>
                    <a:pt x="1886" y="130"/>
                    <a:pt x="1460" y="376"/>
                  </a:cubicBezTo>
                  <a:cubicBezTo>
                    <a:pt x="1215" y="517"/>
                    <a:pt x="995" y="693"/>
                    <a:pt x="805" y="898"/>
                  </a:cubicBezTo>
                  <a:cubicBezTo>
                    <a:pt x="801" y="902"/>
                    <a:pt x="797" y="907"/>
                    <a:pt x="794" y="912"/>
                  </a:cubicBezTo>
                  <a:cubicBezTo>
                    <a:pt x="560" y="1168"/>
                    <a:pt x="373" y="1467"/>
                    <a:pt x="248" y="1793"/>
                  </a:cubicBezTo>
                  <a:cubicBezTo>
                    <a:pt x="23" y="2376"/>
                    <a:pt x="0" y="3024"/>
                    <a:pt x="182" y="3618"/>
                  </a:cubicBezTo>
                  <a:cubicBezTo>
                    <a:pt x="182" y="3621"/>
                    <a:pt x="183" y="3624"/>
                    <a:pt x="184" y="3627"/>
                  </a:cubicBezTo>
                  <a:cubicBezTo>
                    <a:pt x="206" y="3698"/>
                    <a:pt x="232" y="3770"/>
                    <a:pt x="260" y="3840"/>
                  </a:cubicBezTo>
                  <a:lnTo>
                    <a:pt x="260" y="5601"/>
                  </a:lnTo>
                  <a:cubicBezTo>
                    <a:pt x="260" y="5822"/>
                    <a:pt x="439" y="6001"/>
                    <a:pt x="660" y="6001"/>
                  </a:cubicBezTo>
                  <a:cubicBezTo>
                    <a:pt x="881" y="6001"/>
                    <a:pt x="1060" y="5822"/>
                    <a:pt x="1060" y="5601"/>
                  </a:cubicBezTo>
                  <a:lnTo>
                    <a:pt x="1060" y="4946"/>
                  </a:lnTo>
                  <a:cubicBezTo>
                    <a:pt x="1155" y="5026"/>
                    <a:pt x="1255" y="5099"/>
                    <a:pt x="1360" y="5166"/>
                  </a:cubicBezTo>
                  <a:lnTo>
                    <a:pt x="1360" y="6001"/>
                  </a:lnTo>
                  <a:cubicBezTo>
                    <a:pt x="1360" y="6222"/>
                    <a:pt x="1539" y="6401"/>
                    <a:pt x="1760" y="6401"/>
                  </a:cubicBezTo>
                  <a:cubicBezTo>
                    <a:pt x="1981" y="6401"/>
                    <a:pt x="2160" y="6222"/>
                    <a:pt x="2160" y="6001"/>
                  </a:cubicBezTo>
                  <a:lnTo>
                    <a:pt x="2160" y="5512"/>
                  </a:lnTo>
                  <a:cubicBezTo>
                    <a:pt x="2291" y="5546"/>
                    <a:pt x="2425" y="5570"/>
                    <a:pt x="2560" y="5585"/>
                  </a:cubicBezTo>
                  <a:lnTo>
                    <a:pt x="2560" y="5801"/>
                  </a:lnTo>
                  <a:cubicBezTo>
                    <a:pt x="2560" y="6022"/>
                    <a:pt x="2739" y="6201"/>
                    <a:pt x="2960" y="6201"/>
                  </a:cubicBezTo>
                  <a:cubicBezTo>
                    <a:pt x="3181" y="6201"/>
                    <a:pt x="3360" y="6022"/>
                    <a:pt x="3360" y="5801"/>
                  </a:cubicBezTo>
                  <a:lnTo>
                    <a:pt x="3360" y="5556"/>
                  </a:lnTo>
                  <a:cubicBezTo>
                    <a:pt x="3618" y="5509"/>
                    <a:pt x="3868" y="5426"/>
                    <a:pt x="4105" y="5308"/>
                  </a:cubicBezTo>
                  <a:lnTo>
                    <a:pt x="4015" y="5129"/>
                  </a:lnTo>
                  <a:cubicBezTo>
                    <a:pt x="3830" y="5222"/>
                    <a:pt x="3635" y="5291"/>
                    <a:pt x="3434" y="5337"/>
                  </a:cubicBezTo>
                  <a:lnTo>
                    <a:pt x="3568" y="4838"/>
                  </a:lnTo>
                  <a:cubicBezTo>
                    <a:pt x="3593" y="4745"/>
                    <a:pt x="3580" y="4648"/>
                    <a:pt x="3532" y="4565"/>
                  </a:cubicBezTo>
                  <a:lnTo>
                    <a:pt x="3248" y="4073"/>
                  </a:lnTo>
                  <a:cubicBezTo>
                    <a:pt x="3205" y="3999"/>
                    <a:pt x="3137" y="3942"/>
                    <a:pt x="3056" y="3914"/>
                  </a:cubicBezTo>
                  <a:lnTo>
                    <a:pt x="2827" y="3833"/>
                  </a:lnTo>
                  <a:lnTo>
                    <a:pt x="2693" y="3786"/>
                  </a:lnTo>
                  <a:lnTo>
                    <a:pt x="2626" y="3974"/>
                  </a:lnTo>
                  <a:lnTo>
                    <a:pt x="2990" y="4102"/>
                  </a:lnTo>
                  <a:cubicBezTo>
                    <a:pt x="2991" y="4103"/>
                    <a:pt x="2992" y="4103"/>
                    <a:pt x="2993" y="4103"/>
                  </a:cubicBezTo>
                  <a:cubicBezTo>
                    <a:pt x="3022" y="4114"/>
                    <a:pt x="3047" y="4133"/>
                    <a:pt x="3065" y="4158"/>
                  </a:cubicBezTo>
                  <a:cubicBezTo>
                    <a:pt x="3069" y="4163"/>
                    <a:pt x="3072" y="4168"/>
                    <a:pt x="3075" y="4173"/>
                  </a:cubicBezTo>
                  <a:lnTo>
                    <a:pt x="3359" y="4665"/>
                  </a:lnTo>
                  <a:cubicBezTo>
                    <a:pt x="3366" y="4676"/>
                    <a:pt x="3371" y="4688"/>
                    <a:pt x="3374" y="4701"/>
                  </a:cubicBezTo>
                  <a:cubicBezTo>
                    <a:pt x="3375" y="4705"/>
                    <a:pt x="3376" y="4708"/>
                    <a:pt x="3377" y="4712"/>
                  </a:cubicBezTo>
                  <a:cubicBezTo>
                    <a:pt x="3378" y="4715"/>
                    <a:pt x="3378" y="4717"/>
                    <a:pt x="3378" y="4720"/>
                  </a:cubicBezTo>
                  <a:cubicBezTo>
                    <a:pt x="3380" y="4728"/>
                    <a:pt x="3380" y="4735"/>
                    <a:pt x="3380" y="4743"/>
                  </a:cubicBezTo>
                  <a:cubicBezTo>
                    <a:pt x="3380" y="4757"/>
                    <a:pt x="3379" y="4772"/>
                    <a:pt x="3375" y="4786"/>
                  </a:cubicBezTo>
                  <a:lnTo>
                    <a:pt x="3215" y="5382"/>
                  </a:lnTo>
                  <a:cubicBezTo>
                    <a:pt x="3182" y="5399"/>
                    <a:pt x="3160" y="5433"/>
                    <a:pt x="3160" y="5471"/>
                  </a:cubicBezTo>
                  <a:lnTo>
                    <a:pt x="3160" y="5801"/>
                  </a:lnTo>
                  <a:cubicBezTo>
                    <a:pt x="3160" y="5911"/>
                    <a:pt x="3070" y="6001"/>
                    <a:pt x="2960" y="6001"/>
                  </a:cubicBezTo>
                  <a:cubicBezTo>
                    <a:pt x="2850" y="6001"/>
                    <a:pt x="2760" y="5911"/>
                    <a:pt x="2760" y="5801"/>
                  </a:cubicBezTo>
                  <a:lnTo>
                    <a:pt x="2760" y="5493"/>
                  </a:lnTo>
                  <a:cubicBezTo>
                    <a:pt x="2760" y="5441"/>
                    <a:pt x="2720" y="5398"/>
                    <a:pt x="2668" y="5394"/>
                  </a:cubicBezTo>
                  <a:cubicBezTo>
                    <a:pt x="2472" y="5379"/>
                    <a:pt x="2277" y="5342"/>
                    <a:pt x="2090" y="5284"/>
                  </a:cubicBezTo>
                  <a:cubicBezTo>
                    <a:pt x="2059" y="5274"/>
                    <a:pt x="2026" y="5280"/>
                    <a:pt x="2001" y="5299"/>
                  </a:cubicBezTo>
                  <a:cubicBezTo>
                    <a:pt x="1975" y="5318"/>
                    <a:pt x="1960" y="5348"/>
                    <a:pt x="1960" y="5379"/>
                  </a:cubicBezTo>
                  <a:lnTo>
                    <a:pt x="1960" y="6001"/>
                  </a:lnTo>
                  <a:cubicBezTo>
                    <a:pt x="1960" y="6111"/>
                    <a:pt x="1870" y="6201"/>
                    <a:pt x="1760" y="6201"/>
                  </a:cubicBezTo>
                  <a:cubicBezTo>
                    <a:pt x="1650" y="6201"/>
                    <a:pt x="1560" y="6111"/>
                    <a:pt x="1560" y="6001"/>
                  </a:cubicBezTo>
                  <a:lnTo>
                    <a:pt x="1560" y="5110"/>
                  </a:lnTo>
                  <a:cubicBezTo>
                    <a:pt x="1560" y="5075"/>
                    <a:pt x="1542" y="5042"/>
                    <a:pt x="1512" y="5024"/>
                  </a:cubicBezTo>
                  <a:cubicBezTo>
                    <a:pt x="1337" y="4919"/>
                    <a:pt x="1175" y="4792"/>
                    <a:pt x="1030" y="4649"/>
                  </a:cubicBezTo>
                  <a:cubicBezTo>
                    <a:pt x="1002" y="4620"/>
                    <a:pt x="959" y="4612"/>
                    <a:pt x="922" y="4628"/>
                  </a:cubicBezTo>
                  <a:cubicBezTo>
                    <a:pt x="884" y="4643"/>
                    <a:pt x="860" y="4679"/>
                    <a:pt x="860" y="4720"/>
                  </a:cubicBezTo>
                  <a:lnTo>
                    <a:pt x="860" y="5601"/>
                  </a:lnTo>
                  <a:cubicBezTo>
                    <a:pt x="860" y="5711"/>
                    <a:pt x="770" y="5801"/>
                    <a:pt x="660" y="5801"/>
                  </a:cubicBezTo>
                  <a:cubicBezTo>
                    <a:pt x="550" y="5801"/>
                    <a:pt x="460" y="5711"/>
                    <a:pt x="460" y="5601"/>
                  </a:cubicBezTo>
                  <a:lnTo>
                    <a:pt x="460" y="3821"/>
                  </a:lnTo>
                  <a:cubicBezTo>
                    <a:pt x="460" y="3808"/>
                    <a:pt x="457" y="3795"/>
                    <a:pt x="453" y="3783"/>
                  </a:cubicBezTo>
                  <a:cubicBezTo>
                    <a:pt x="434" y="3737"/>
                    <a:pt x="416" y="3690"/>
                    <a:pt x="400" y="3644"/>
                  </a:cubicBezTo>
                  <a:lnTo>
                    <a:pt x="758" y="3437"/>
                  </a:lnTo>
                  <a:cubicBezTo>
                    <a:pt x="819" y="3402"/>
                    <a:pt x="898" y="3411"/>
                    <a:pt x="949" y="3461"/>
                  </a:cubicBezTo>
                  <a:lnTo>
                    <a:pt x="1340" y="3839"/>
                  </a:lnTo>
                  <a:cubicBezTo>
                    <a:pt x="1361" y="3860"/>
                    <a:pt x="1432" y="3924"/>
                    <a:pt x="1545" y="3938"/>
                  </a:cubicBezTo>
                  <a:cubicBezTo>
                    <a:pt x="1659" y="3952"/>
                    <a:pt x="1744" y="3907"/>
                    <a:pt x="1770" y="3892"/>
                  </a:cubicBezTo>
                  <a:close/>
                  <a:moveTo>
                    <a:pt x="4060" y="498"/>
                  </a:moveTo>
                  <a:lnTo>
                    <a:pt x="4060" y="1074"/>
                  </a:lnTo>
                  <a:cubicBezTo>
                    <a:pt x="4060" y="1181"/>
                    <a:pt x="4003" y="1281"/>
                    <a:pt x="3910" y="1334"/>
                  </a:cubicBezTo>
                  <a:cubicBezTo>
                    <a:pt x="3879" y="1352"/>
                    <a:pt x="3860" y="1385"/>
                    <a:pt x="3860" y="1421"/>
                  </a:cubicBezTo>
                  <a:lnTo>
                    <a:pt x="3860" y="1901"/>
                  </a:lnTo>
                  <a:cubicBezTo>
                    <a:pt x="3860" y="1930"/>
                    <a:pt x="3847" y="1958"/>
                    <a:pt x="3825" y="1977"/>
                  </a:cubicBezTo>
                  <a:cubicBezTo>
                    <a:pt x="3802" y="1997"/>
                    <a:pt x="3773" y="2004"/>
                    <a:pt x="3742" y="2000"/>
                  </a:cubicBezTo>
                  <a:cubicBezTo>
                    <a:pt x="3696" y="1992"/>
                    <a:pt x="3660" y="1944"/>
                    <a:pt x="3660" y="1890"/>
                  </a:cubicBezTo>
                  <a:lnTo>
                    <a:pt x="3660" y="1524"/>
                  </a:lnTo>
                  <a:cubicBezTo>
                    <a:pt x="3660" y="1494"/>
                    <a:pt x="3647" y="1465"/>
                    <a:pt x="3623" y="1446"/>
                  </a:cubicBezTo>
                  <a:cubicBezTo>
                    <a:pt x="3605" y="1431"/>
                    <a:pt x="3583" y="1424"/>
                    <a:pt x="3560" y="1424"/>
                  </a:cubicBezTo>
                  <a:cubicBezTo>
                    <a:pt x="3553" y="1424"/>
                    <a:pt x="3547" y="1424"/>
                    <a:pt x="3540" y="1426"/>
                  </a:cubicBezTo>
                  <a:lnTo>
                    <a:pt x="3367" y="1461"/>
                  </a:lnTo>
                  <a:cubicBezTo>
                    <a:pt x="3300" y="1475"/>
                    <a:pt x="3232" y="1445"/>
                    <a:pt x="3198" y="1386"/>
                  </a:cubicBezTo>
                  <a:lnTo>
                    <a:pt x="2911" y="888"/>
                  </a:lnTo>
                  <a:cubicBezTo>
                    <a:pt x="2847" y="777"/>
                    <a:pt x="2727" y="711"/>
                    <a:pt x="2600" y="714"/>
                  </a:cubicBezTo>
                  <a:cubicBezTo>
                    <a:pt x="2409" y="719"/>
                    <a:pt x="2260" y="872"/>
                    <a:pt x="2260" y="1063"/>
                  </a:cubicBezTo>
                  <a:lnTo>
                    <a:pt x="2260" y="1601"/>
                  </a:lnTo>
                  <a:cubicBezTo>
                    <a:pt x="2260" y="1630"/>
                    <a:pt x="2247" y="1658"/>
                    <a:pt x="2225" y="1677"/>
                  </a:cubicBezTo>
                  <a:cubicBezTo>
                    <a:pt x="2202" y="1697"/>
                    <a:pt x="2173" y="1704"/>
                    <a:pt x="2142" y="1700"/>
                  </a:cubicBezTo>
                  <a:cubicBezTo>
                    <a:pt x="2096" y="1692"/>
                    <a:pt x="2060" y="1644"/>
                    <a:pt x="2060" y="1590"/>
                  </a:cubicBezTo>
                  <a:lnTo>
                    <a:pt x="2060" y="1473"/>
                  </a:lnTo>
                  <a:cubicBezTo>
                    <a:pt x="2060" y="1437"/>
                    <a:pt x="2041" y="1404"/>
                    <a:pt x="2010" y="1386"/>
                  </a:cubicBezTo>
                  <a:cubicBezTo>
                    <a:pt x="1979" y="1368"/>
                    <a:pt x="1941" y="1368"/>
                    <a:pt x="1910" y="1386"/>
                  </a:cubicBezTo>
                  <a:lnTo>
                    <a:pt x="1549" y="1595"/>
                  </a:lnTo>
                  <a:cubicBezTo>
                    <a:pt x="1475" y="1637"/>
                    <a:pt x="1379" y="1612"/>
                    <a:pt x="1335" y="1539"/>
                  </a:cubicBezTo>
                  <a:lnTo>
                    <a:pt x="1004" y="981"/>
                  </a:lnTo>
                  <a:cubicBezTo>
                    <a:pt x="1168" y="814"/>
                    <a:pt x="1355" y="668"/>
                    <a:pt x="1560" y="549"/>
                  </a:cubicBezTo>
                  <a:cubicBezTo>
                    <a:pt x="2034" y="276"/>
                    <a:pt x="2571" y="164"/>
                    <a:pt x="3094" y="212"/>
                  </a:cubicBezTo>
                  <a:cubicBezTo>
                    <a:pt x="3430" y="243"/>
                    <a:pt x="3759" y="341"/>
                    <a:pt x="4060" y="49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5" name="Freeform 1113">
              <a:extLst>
                <a:ext uri="{FF2B5EF4-FFF2-40B4-BE49-F238E27FC236}">
                  <a16:creationId xmlns:a16="http://schemas.microsoft.com/office/drawing/2014/main" id="{C26F0CBA-54AF-4B68-BB58-9AF0196764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" y="2672"/>
              <a:ext cx="16" cy="21"/>
            </a:xfrm>
            <a:custGeom>
              <a:avLst/>
              <a:gdLst>
                <a:gd name="T0" fmla="*/ 600 w 600"/>
                <a:gd name="T1" fmla="*/ 300 h 800"/>
                <a:gd name="T2" fmla="*/ 400 w 600"/>
                <a:gd name="T3" fmla="*/ 300 h 800"/>
                <a:gd name="T4" fmla="*/ 400 w 600"/>
                <a:gd name="T5" fmla="*/ 500 h 800"/>
                <a:gd name="T6" fmla="*/ 300 w 600"/>
                <a:gd name="T7" fmla="*/ 600 h 800"/>
                <a:gd name="T8" fmla="*/ 200 w 600"/>
                <a:gd name="T9" fmla="*/ 500 h 800"/>
                <a:gd name="T10" fmla="*/ 200 w 600"/>
                <a:gd name="T11" fmla="*/ 0 h 800"/>
                <a:gd name="T12" fmla="*/ 0 w 600"/>
                <a:gd name="T13" fmla="*/ 0 h 800"/>
                <a:gd name="T14" fmla="*/ 0 w 600"/>
                <a:gd name="T15" fmla="*/ 500 h 800"/>
                <a:gd name="T16" fmla="*/ 300 w 600"/>
                <a:gd name="T17" fmla="*/ 800 h 800"/>
                <a:gd name="T18" fmla="*/ 600 w 600"/>
                <a:gd name="T19" fmla="*/ 500 h 800"/>
                <a:gd name="T20" fmla="*/ 600 w 600"/>
                <a:gd name="T21" fmla="*/ 30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0" h="800">
                  <a:moveTo>
                    <a:pt x="600" y="300"/>
                  </a:moveTo>
                  <a:lnTo>
                    <a:pt x="400" y="300"/>
                  </a:lnTo>
                  <a:lnTo>
                    <a:pt x="400" y="500"/>
                  </a:lnTo>
                  <a:cubicBezTo>
                    <a:pt x="400" y="555"/>
                    <a:pt x="355" y="600"/>
                    <a:pt x="300" y="600"/>
                  </a:cubicBezTo>
                  <a:cubicBezTo>
                    <a:pt x="245" y="600"/>
                    <a:pt x="200" y="555"/>
                    <a:pt x="200" y="500"/>
                  </a:cubicBezTo>
                  <a:lnTo>
                    <a:pt x="200" y="0"/>
                  </a:lnTo>
                  <a:lnTo>
                    <a:pt x="0" y="0"/>
                  </a:lnTo>
                  <a:lnTo>
                    <a:pt x="0" y="500"/>
                  </a:lnTo>
                  <a:cubicBezTo>
                    <a:pt x="0" y="665"/>
                    <a:pt x="135" y="800"/>
                    <a:pt x="300" y="800"/>
                  </a:cubicBezTo>
                  <a:cubicBezTo>
                    <a:pt x="465" y="800"/>
                    <a:pt x="600" y="665"/>
                    <a:pt x="600" y="500"/>
                  </a:cubicBezTo>
                  <a:lnTo>
                    <a:pt x="600" y="3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6" name="Rectangle 1114">
              <a:extLst>
                <a:ext uri="{FF2B5EF4-FFF2-40B4-BE49-F238E27FC236}">
                  <a16:creationId xmlns:a16="http://schemas.microsoft.com/office/drawing/2014/main" id="{6DB8E4FB-B3B5-4DFD-96D3-5EBB8A77EB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7" y="2669"/>
              <a:ext cx="5" cy="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7" name="Freeform 1115">
              <a:extLst>
                <a:ext uri="{FF2B5EF4-FFF2-40B4-BE49-F238E27FC236}">
                  <a16:creationId xmlns:a16="http://schemas.microsoft.com/office/drawing/2014/main" id="{CDBB8D9C-449A-4D94-8E43-4A5AA6F5E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3" y="2639"/>
              <a:ext cx="16" cy="22"/>
            </a:xfrm>
            <a:custGeom>
              <a:avLst/>
              <a:gdLst>
                <a:gd name="T0" fmla="*/ 0 w 600"/>
                <a:gd name="T1" fmla="*/ 0 h 800"/>
                <a:gd name="T2" fmla="*/ 0 w 600"/>
                <a:gd name="T3" fmla="*/ 500 h 800"/>
                <a:gd name="T4" fmla="*/ 300 w 600"/>
                <a:gd name="T5" fmla="*/ 800 h 800"/>
                <a:gd name="T6" fmla="*/ 600 w 600"/>
                <a:gd name="T7" fmla="*/ 500 h 800"/>
                <a:gd name="T8" fmla="*/ 600 w 600"/>
                <a:gd name="T9" fmla="*/ 300 h 800"/>
                <a:gd name="T10" fmla="*/ 400 w 600"/>
                <a:gd name="T11" fmla="*/ 300 h 800"/>
                <a:gd name="T12" fmla="*/ 400 w 600"/>
                <a:gd name="T13" fmla="*/ 500 h 800"/>
                <a:gd name="T14" fmla="*/ 300 w 600"/>
                <a:gd name="T15" fmla="*/ 600 h 800"/>
                <a:gd name="T16" fmla="*/ 200 w 600"/>
                <a:gd name="T17" fmla="*/ 500 h 800"/>
                <a:gd name="T18" fmla="*/ 200 w 600"/>
                <a:gd name="T19" fmla="*/ 0 h 800"/>
                <a:gd name="T20" fmla="*/ 0 w 600"/>
                <a:gd name="T21" fmla="*/ 0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0" h="800">
                  <a:moveTo>
                    <a:pt x="0" y="0"/>
                  </a:moveTo>
                  <a:lnTo>
                    <a:pt x="0" y="500"/>
                  </a:lnTo>
                  <a:cubicBezTo>
                    <a:pt x="0" y="665"/>
                    <a:pt x="135" y="800"/>
                    <a:pt x="300" y="800"/>
                  </a:cubicBezTo>
                  <a:cubicBezTo>
                    <a:pt x="465" y="800"/>
                    <a:pt x="600" y="665"/>
                    <a:pt x="600" y="500"/>
                  </a:cubicBezTo>
                  <a:lnTo>
                    <a:pt x="600" y="300"/>
                  </a:lnTo>
                  <a:lnTo>
                    <a:pt x="400" y="300"/>
                  </a:lnTo>
                  <a:lnTo>
                    <a:pt x="400" y="500"/>
                  </a:lnTo>
                  <a:cubicBezTo>
                    <a:pt x="400" y="555"/>
                    <a:pt x="355" y="600"/>
                    <a:pt x="300" y="600"/>
                  </a:cubicBezTo>
                  <a:cubicBezTo>
                    <a:pt x="245" y="600"/>
                    <a:pt x="200" y="555"/>
                    <a:pt x="200" y="500"/>
                  </a:cubicBezTo>
                  <a:lnTo>
                    <a:pt x="2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8" name="Rectangle 1116">
              <a:extLst>
                <a:ext uri="{FF2B5EF4-FFF2-40B4-BE49-F238E27FC236}">
                  <a16:creationId xmlns:a16="http://schemas.microsoft.com/office/drawing/2014/main" id="{46C6C0A7-5527-4BC8-A591-DF68AC137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4" y="2637"/>
              <a:ext cx="5" cy="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9" name="Group 35">
            <a:extLst>
              <a:ext uri="{FF2B5EF4-FFF2-40B4-BE49-F238E27FC236}">
                <a16:creationId xmlns:a16="http://schemas.microsoft.com/office/drawing/2014/main" id="{69AD9F24-C420-4595-923E-2AD9E870F6D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67740" y="2276036"/>
            <a:ext cx="283654" cy="366649"/>
            <a:chOff x="5210" y="1781"/>
            <a:chExt cx="270" cy="349"/>
          </a:xfrm>
          <a:solidFill>
            <a:schemeClr val="tx2"/>
          </a:solidFill>
        </p:grpSpPr>
        <p:sp>
          <p:nvSpPr>
            <p:cNvPr id="150" name="Freeform 36">
              <a:extLst>
                <a:ext uri="{FF2B5EF4-FFF2-40B4-BE49-F238E27FC236}">
                  <a16:creationId xmlns:a16="http://schemas.microsoft.com/office/drawing/2014/main" id="{86A6E5C8-DBEF-4ACD-B276-1D3DF28A24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0" y="1781"/>
              <a:ext cx="139" cy="139"/>
            </a:xfrm>
            <a:custGeom>
              <a:avLst/>
              <a:gdLst>
                <a:gd name="T0" fmla="*/ 635 w 3391"/>
                <a:gd name="T1" fmla="*/ 3170 h 3396"/>
                <a:gd name="T2" fmla="*/ 250 w 3391"/>
                <a:gd name="T3" fmla="*/ 2570 h 3396"/>
                <a:gd name="T4" fmla="*/ 1054 w 3391"/>
                <a:gd name="T5" fmla="*/ 1728 h 3396"/>
                <a:gd name="T6" fmla="*/ 1127 w 3391"/>
                <a:gd name="T7" fmla="*/ 1610 h 3396"/>
                <a:gd name="T8" fmla="*/ 1127 w 3391"/>
                <a:gd name="T9" fmla="*/ 1597 h 3396"/>
                <a:gd name="T10" fmla="*/ 1821 w 3391"/>
                <a:gd name="T11" fmla="*/ 886 h 3396"/>
                <a:gd name="T12" fmla="*/ 2078 w 3391"/>
                <a:gd name="T13" fmla="*/ 936 h 3396"/>
                <a:gd name="T14" fmla="*/ 1898 w 3391"/>
                <a:gd name="T15" fmla="*/ 1360 h 3396"/>
                <a:gd name="T16" fmla="*/ 1687 w 3391"/>
                <a:gd name="T17" fmla="*/ 1478 h 3396"/>
                <a:gd name="T18" fmla="*/ 1653 w 3391"/>
                <a:gd name="T19" fmla="*/ 2231 h 3396"/>
                <a:gd name="T20" fmla="*/ 1745 w 3391"/>
                <a:gd name="T21" fmla="*/ 2272 h 3396"/>
                <a:gd name="T22" fmla="*/ 1830 w 3391"/>
                <a:gd name="T23" fmla="*/ 2239 h 3396"/>
                <a:gd name="T24" fmla="*/ 1838 w 3391"/>
                <a:gd name="T25" fmla="*/ 2062 h 3396"/>
                <a:gd name="T26" fmla="*/ 1856 w 3391"/>
                <a:gd name="T27" fmla="*/ 1663 h 3396"/>
                <a:gd name="T28" fmla="*/ 2255 w 3391"/>
                <a:gd name="T29" fmla="*/ 1681 h 3396"/>
                <a:gd name="T30" fmla="*/ 2431 w 3391"/>
                <a:gd name="T31" fmla="*/ 1689 h 3396"/>
                <a:gd name="T32" fmla="*/ 2439 w 3391"/>
                <a:gd name="T33" fmla="*/ 1513 h 3396"/>
                <a:gd name="T34" fmla="*/ 2151 w 3391"/>
                <a:gd name="T35" fmla="*/ 1350 h 3396"/>
                <a:gd name="T36" fmla="*/ 2282 w 3391"/>
                <a:gd name="T37" fmla="*/ 1083 h 3396"/>
                <a:gd name="T38" fmla="*/ 2630 w 3391"/>
                <a:gd name="T39" fmla="*/ 929 h 3396"/>
                <a:gd name="T40" fmla="*/ 2642 w 3391"/>
                <a:gd name="T41" fmla="*/ 929 h 3396"/>
                <a:gd name="T42" fmla="*/ 3139 w 3391"/>
                <a:gd name="T43" fmla="*/ 1414 h 3396"/>
                <a:gd name="T44" fmla="*/ 3264 w 3391"/>
                <a:gd name="T45" fmla="*/ 1536 h 3396"/>
                <a:gd name="T46" fmla="*/ 3267 w 3391"/>
                <a:gd name="T47" fmla="*/ 1536 h 3396"/>
                <a:gd name="T48" fmla="*/ 3389 w 3391"/>
                <a:gd name="T49" fmla="*/ 1408 h 3396"/>
                <a:gd name="T50" fmla="*/ 2624 w 3391"/>
                <a:gd name="T51" fmla="*/ 679 h 3396"/>
                <a:gd name="T52" fmla="*/ 2512 w 3391"/>
                <a:gd name="T53" fmla="*/ 690 h 3396"/>
                <a:gd name="T54" fmla="*/ 3237 w 3391"/>
                <a:gd name="T55" fmla="*/ 254 h 3396"/>
                <a:gd name="T56" fmla="*/ 3354 w 3391"/>
                <a:gd name="T57" fmla="*/ 121 h 3396"/>
                <a:gd name="T58" fmla="*/ 3220 w 3391"/>
                <a:gd name="T59" fmla="*/ 4 h 3396"/>
                <a:gd name="T60" fmla="*/ 2212 w 3391"/>
                <a:gd name="T61" fmla="*/ 722 h 3396"/>
                <a:gd name="T62" fmla="*/ 1821 w 3391"/>
                <a:gd name="T63" fmla="*/ 636 h 3396"/>
                <a:gd name="T64" fmla="*/ 879 w 3391"/>
                <a:gd name="T65" fmla="*/ 1534 h 3396"/>
                <a:gd name="T66" fmla="*/ 0 w 3391"/>
                <a:gd name="T67" fmla="*/ 2570 h 3396"/>
                <a:gd name="T68" fmla="*/ 486 w 3391"/>
                <a:gd name="T69" fmla="*/ 3371 h 3396"/>
                <a:gd name="T70" fmla="*/ 561 w 3391"/>
                <a:gd name="T71" fmla="*/ 3396 h 3396"/>
                <a:gd name="T72" fmla="*/ 661 w 3391"/>
                <a:gd name="T73" fmla="*/ 3345 h 3396"/>
                <a:gd name="T74" fmla="*/ 635 w 3391"/>
                <a:gd name="T75" fmla="*/ 3170 h 3396"/>
                <a:gd name="T76" fmla="*/ 635 w 3391"/>
                <a:gd name="T77" fmla="*/ 3170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91" h="3396">
                  <a:moveTo>
                    <a:pt x="635" y="3170"/>
                  </a:moveTo>
                  <a:cubicBezTo>
                    <a:pt x="459" y="3040"/>
                    <a:pt x="250" y="2830"/>
                    <a:pt x="250" y="2570"/>
                  </a:cubicBezTo>
                  <a:cubicBezTo>
                    <a:pt x="250" y="2264"/>
                    <a:pt x="536" y="1965"/>
                    <a:pt x="1054" y="1728"/>
                  </a:cubicBezTo>
                  <a:cubicBezTo>
                    <a:pt x="1100" y="1707"/>
                    <a:pt x="1129" y="1661"/>
                    <a:pt x="1127" y="1610"/>
                  </a:cubicBezTo>
                  <a:cubicBezTo>
                    <a:pt x="1127" y="1606"/>
                    <a:pt x="1127" y="1601"/>
                    <a:pt x="1127" y="1597"/>
                  </a:cubicBezTo>
                  <a:cubicBezTo>
                    <a:pt x="1127" y="1205"/>
                    <a:pt x="1438" y="886"/>
                    <a:pt x="1821" y="886"/>
                  </a:cubicBezTo>
                  <a:cubicBezTo>
                    <a:pt x="1910" y="886"/>
                    <a:pt x="1997" y="903"/>
                    <a:pt x="2078" y="936"/>
                  </a:cubicBezTo>
                  <a:cubicBezTo>
                    <a:pt x="1973" y="1056"/>
                    <a:pt x="1911" y="1203"/>
                    <a:pt x="1898" y="1360"/>
                  </a:cubicBezTo>
                  <a:cubicBezTo>
                    <a:pt x="1822" y="1382"/>
                    <a:pt x="1749" y="1422"/>
                    <a:pt x="1687" y="1478"/>
                  </a:cubicBezTo>
                  <a:cubicBezTo>
                    <a:pt x="1470" y="1676"/>
                    <a:pt x="1455" y="2014"/>
                    <a:pt x="1653" y="2231"/>
                  </a:cubicBezTo>
                  <a:cubicBezTo>
                    <a:pt x="1678" y="2258"/>
                    <a:pt x="1711" y="2272"/>
                    <a:pt x="1745" y="2272"/>
                  </a:cubicBezTo>
                  <a:cubicBezTo>
                    <a:pt x="1775" y="2272"/>
                    <a:pt x="1806" y="2261"/>
                    <a:pt x="1830" y="2239"/>
                  </a:cubicBezTo>
                  <a:cubicBezTo>
                    <a:pt x="1881" y="2192"/>
                    <a:pt x="1884" y="2113"/>
                    <a:pt x="1838" y="2062"/>
                  </a:cubicBezTo>
                  <a:cubicBezTo>
                    <a:pt x="1733" y="1947"/>
                    <a:pt x="1741" y="1768"/>
                    <a:pt x="1856" y="1663"/>
                  </a:cubicBezTo>
                  <a:cubicBezTo>
                    <a:pt x="1971" y="1558"/>
                    <a:pt x="2150" y="1566"/>
                    <a:pt x="2255" y="1681"/>
                  </a:cubicBezTo>
                  <a:cubicBezTo>
                    <a:pt x="2301" y="1732"/>
                    <a:pt x="2380" y="1736"/>
                    <a:pt x="2431" y="1689"/>
                  </a:cubicBezTo>
                  <a:cubicBezTo>
                    <a:pt x="2482" y="1643"/>
                    <a:pt x="2486" y="1564"/>
                    <a:pt x="2439" y="1513"/>
                  </a:cubicBezTo>
                  <a:cubicBezTo>
                    <a:pt x="2360" y="1426"/>
                    <a:pt x="2258" y="1371"/>
                    <a:pt x="2151" y="1350"/>
                  </a:cubicBezTo>
                  <a:cubicBezTo>
                    <a:pt x="2166" y="1250"/>
                    <a:pt x="2211" y="1157"/>
                    <a:pt x="2282" y="1083"/>
                  </a:cubicBezTo>
                  <a:cubicBezTo>
                    <a:pt x="2374" y="987"/>
                    <a:pt x="2497" y="932"/>
                    <a:pt x="2630" y="929"/>
                  </a:cubicBezTo>
                  <a:cubicBezTo>
                    <a:pt x="2634" y="929"/>
                    <a:pt x="2638" y="929"/>
                    <a:pt x="2642" y="929"/>
                  </a:cubicBezTo>
                  <a:cubicBezTo>
                    <a:pt x="2911" y="929"/>
                    <a:pt x="3132" y="1144"/>
                    <a:pt x="3139" y="1414"/>
                  </a:cubicBezTo>
                  <a:cubicBezTo>
                    <a:pt x="3140" y="1482"/>
                    <a:pt x="3196" y="1536"/>
                    <a:pt x="3264" y="1536"/>
                  </a:cubicBezTo>
                  <a:lnTo>
                    <a:pt x="3267" y="1536"/>
                  </a:lnTo>
                  <a:cubicBezTo>
                    <a:pt x="3336" y="1534"/>
                    <a:pt x="3391" y="1477"/>
                    <a:pt x="3389" y="1408"/>
                  </a:cubicBezTo>
                  <a:cubicBezTo>
                    <a:pt x="3379" y="996"/>
                    <a:pt x="3037" y="669"/>
                    <a:pt x="2624" y="679"/>
                  </a:cubicBezTo>
                  <a:cubicBezTo>
                    <a:pt x="2586" y="680"/>
                    <a:pt x="2549" y="683"/>
                    <a:pt x="2512" y="690"/>
                  </a:cubicBezTo>
                  <a:cubicBezTo>
                    <a:pt x="2671" y="441"/>
                    <a:pt x="2939" y="274"/>
                    <a:pt x="3237" y="254"/>
                  </a:cubicBezTo>
                  <a:cubicBezTo>
                    <a:pt x="3306" y="249"/>
                    <a:pt x="3358" y="190"/>
                    <a:pt x="3354" y="121"/>
                  </a:cubicBezTo>
                  <a:cubicBezTo>
                    <a:pt x="3349" y="52"/>
                    <a:pt x="3289" y="0"/>
                    <a:pt x="3220" y="4"/>
                  </a:cubicBezTo>
                  <a:cubicBezTo>
                    <a:pt x="2778" y="34"/>
                    <a:pt x="2390" y="316"/>
                    <a:pt x="2212" y="722"/>
                  </a:cubicBezTo>
                  <a:cubicBezTo>
                    <a:pt x="2090" y="665"/>
                    <a:pt x="1957" y="636"/>
                    <a:pt x="1821" y="636"/>
                  </a:cubicBezTo>
                  <a:cubicBezTo>
                    <a:pt x="1321" y="636"/>
                    <a:pt x="911" y="1033"/>
                    <a:pt x="879" y="1534"/>
                  </a:cubicBezTo>
                  <a:cubicBezTo>
                    <a:pt x="311" y="1811"/>
                    <a:pt x="0" y="2177"/>
                    <a:pt x="0" y="2570"/>
                  </a:cubicBezTo>
                  <a:cubicBezTo>
                    <a:pt x="0" y="2858"/>
                    <a:pt x="168" y="3135"/>
                    <a:pt x="486" y="3371"/>
                  </a:cubicBezTo>
                  <a:cubicBezTo>
                    <a:pt x="509" y="3388"/>
                    <a:pt x="535" y="3396"/>
                    <a:pt x="561" y="3396"/>
                  </a:cubicBezTo>
                  <a:cubicBezTo>
                    <a:pt x="599" y="3396"/>
                    <a:pt x="637" y="3378"/>
                    <a:pt x="661" y="3345"/>
                  </a:cubicBezTo>
                  <a:cubicBezTo>
                    <a:pt x="702" y="3290"/>
                    <a:pt x="691" y="3211"/>
                    <a:pt x="635" y="3170"/>
                  </a:cubicBezTo>
                  <a:close/>
                  <a:moveTo>
                    <a:pt x="635" y="317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1" name="Freeform 37">
              <a:extLst>
                <a:ext uri="{FF2B5EF4-FFF2-40B4-BE49-F238E27FC236}">
                  <a16:creationId xmlns:a16="http://schemas.microsoft.com/office/drawing/2014/main" id="{A9B96C37-2C5C-474B-B789-2C64566B9E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47" y="1786"/>
              <a:ext cx="233" cy="344"/>
            </a:xfrm>
            <a:custGeom>
              <a:avLst/>
              <a:gdLst>
                <a:gd name="T0" fmla="*/ 4823 w 5701"/>
                <a:gd name="T1" fmla="*/ 1419 h 8406"/>
                <a:gd name="T2" fmla="*/ 3489 w 5701"/>
                <a:gd name="T3" fmla="*/ 607 h 8406"/>
                <a:gd name="T4" fmla="*/ 2799 w 5701"/>
                <a:gd name="T5" fmla="*/ 82 h 8406"/>
                <a:gd name="T6" fmla="*/ 3302 w 5701"/>
                <a:gd name="T7" fmla="*/ 823 h 8406"/>
                <a:gd name="T8" fmla="*/ 3493 w 5701"/>
                <a:gd name="T9" fmla="*/ 891 h 8406"/>
                <a:gd name="T10" fmla="*/ 4574 w 5701"/>
                <a:gd name="T11" fmla="*/ 1482 h 8406"/>
                <a:gd name="T12" fmla="*/ 4574 w 5701"/>
                <a:gd name="T13" fmla="*/ 1499 h 8406"/>
                <a:gd name="T14" fmla="*/ 5451 w 5701"/>
                <a:gd name="T15" fmla="*/ 2455 h 8406"/>
                <a:gd name="T16" fmla="*/ 3519 w 5701"/>
                <a:gd name="T17" fmla="*/ 3625 h 8406"/>
                <a:gd name="T18" fmla="*/ 4556 w 5701"/>
                <a:gd name="T19" fmla="*/ 3015 h 8406"/>
                <a:gd name="T20" fmla="*/ 2393 w 5701"/>
                <a:gd name="T21" fmla="*/ 2414 h 8406"/>
                <a:gd name="T22" fmla="*/ 230 w 5701"/>
                <a:gd name="T23" fmla="*/ 3015 h 8406"/>
                <a:gd name="T24" fmla="*/ 1282 w 5701"/>
                <a:gd name="T25" fmla="*/ 3625 h 8406"/>
                <a:gd name="T26" fmla="*/ 28 w 5701"/>
                <a:gd name="T27" fmla="*/ 3378 h 8406"/>
                <a:gd name="T28" fmla="*/ 1443 w 5701"/>
                <a:gd name="T29" fmla="*/ 3902 h 8406"/>
                <a:gd name="T30" fmla="*/ 1078 w 5701"/>
                <a:gd name="T31" fmla="*/ 4772 h 8406"/>
                <a:gd name="T32" fmla="*/ 1240 w 5701"/>
                <a:gd name="T33" fmla="*/ 5662 h 8406"/>
                <a:gd name="T34" fmla="*/ 1918 w 5701"/>
                <a:gd name="T35" fmla="*/ 6932 h 8406"/>
                <a:gd name="T36" fmla="*/ 1550 w 5701"/>
                <a:gd name="T37" fmla="*/ 7111 h 8406"/>
                <a:gd name="T38" fmla="*/ 466 w 5701"/>
                <a:gd name="T39" fmla="*/ 8155 h 8406"/>
                <a:gd name="T40" fmla="*/ 65 w 5701"/>
                <a:gd name="T41" fmla="*/ 8281 h 8406"/>
                <a:gd name="T42" fmla="*/ 4678 w 5701"/>
                <a:gd name="T43" fmla="*/ 8406 h 8406"/>
                <a:gd name="T44" fmla="*/ 4678 w 5701"/>
                <a:gd name="T45" fmla="*/ 8155 h 8406"/>
                <a:gd name="T46" fmla="*/ 3843 w 5701"/>
                <a:gd name="T47" fmla="*/ 7646 h 8406"/>
                <a:gd name="T48" fmla="*/ 3052 w 5701"/>
                <a:gd name="T49" fmla="*/ 7145 h 8406"/>
                <a:gd name="T50" fmla="*/ 2815 w 5701"/>
                <a:gd name="T51" fmla="*/ 5797 h 8406"/>
                <a:gd name="T52" fmla="*/ 4093 w 5701"/>
                <a:gd name="T53" fmla="*/ 5187 h 8406"/>
                <a:gd name="T54" fmla="*/ 3051 w 5701"/>
                <a:gd name="T55" fmla="*/ 4603 h 8406"/>
                <a:gd name="T56" fmla="*/ 5701 w 5701"/>
                <a:gd name="T57" fmla="*/ 2455 h 8406"/>
                <a:gd name="T58" fmla="*/ 1025 w 5701"/>
                <a:gd name="T59" fmla="*/ 2790 h 8406"/>
                <a:gd name="T60" fmla="*/ 3761 w 5701"/>
                <a:gd name="T61" fmla="*/ 2790 h 8406"/>
                <a:gd name="T62" fmla="*/ 3794 w 5701"/>
                <a:gd name="T63" fmla="*/ 3232 h 8406"/>
                <a:gd name="T64" fmla="*/ 3831 w 5701"/>
                <a:gd name="T65" fmla="*/ 2986 h 8406"/>
                <a:gd name="T66" fmla="*/ 3174 w 5701"/>
                <a:gd name="T67" fmla="*/ 3718 h 8406"/>
                <a:gd name="T68" fmla="*/ 2768 w 5701"/>
                <a:gd name="T69" fmla="*/ 4667 h 8406"/>
                <a:gd name="T70" fmla="*/ 2640 w 5701"/>
                <a:gd name="T71" fmla="*/ 5182 h 8406"/>
                <a:gd name="T72" fmla="*/ 2393 w 5701"/>
                <a:gd name="T73" fmla="*/ 5565 h 8406"/>
                <a:gd name="T74" fmla="*/ 2161 w 5701"/>
                <a:gd name="T75" fmla="*/ 5182 h 8406"/>
                <a:gd name="T76" fmla="*/ 2033 w 5701"/>
                <a:gd name="T77" fmla="*/ 4666 h 8406"/>
                <a:gd name="T78" fmla="*/ 1628 w 5701"/>
                <a:gd name="T79" fmla="*/ 3719 h 8406"/>
                <a:gd name="T80" fmla="*/ 1395 w 5701"/>
                <a:gd name="T81" fmla="*/ 3339 h 8406"/>
                <a:gd name="T82" fmla="*/ 970 w 5701"/>
                <a:gd name="T83" fmla="*/ 2986 h 8406"/>
                <a:gd name="T84" fmla="*/ 1010 w 5701"/>
                <a:gd name="T85" fmla="*/ 3236 h 8406"/>
                <a:gd name="T86" fmla="*/ 1317 w 5701"/>
                <a:gd name="T87" fmla="*/ 5424 h 8406"/>
                <a:gd name="T88" fmla="*/ 1825 w 5701"/>
                <a:gd name="T89" fmla="*/ 4844 h 8406"/>
                <a:gd name="T90" fmla="*/ 1964 w 5701"/>
                <a:gd name="T91" fmla="*/ 5546 h 8406"/>
                <a:gd name="T92" fmla="*/ 2946 w 5701"/>
                <a:gd name="T93" fmla="*/ 7436 h 8406"/>
                <a:gd name="T94" fmla="*/ 3251 w 5701"/>
                <a:gd name="T95" fmla="*/ 7361 h 8406"/>
                <a:gd name="T96" fmla="*/ 3597 w 5701"/>
                <a:gd name="T97" fmla="*/ 7724 h 8406"/>
                <a:gd name="T98" fmla="*/ 4069 w 5701"/>
                <a:gd name="T99" fmla="*/ 8155 h 8406"/>
                <a:gd name="T100" fmla="*/ 1132 w 5701"/>
                <a:gd name="T101" fmla="*/ 7840 h 8406"/>
                <a:gd name="T102" fmla="*/ 1204 w 5701"/>
                <a:gd name="T103" fmla="*/ 7717 h 8406"/>
                <a:gd name="T104" fmla="*/ 1742 w 5701"/>
                <a:gd name="T105" fmla="*/ 7421 h 8406"/>
                <a:gd name="T106" fmla="*/ 1933 w 5701"/>
                <a:gd name="T107" fmla="*/ 7353 h 8406"/>
                <a:gd name="T108" fmla="*/ 2868 w 5701"/>
                <a:gd name="T109" fmla="*/ 7353 h 8406"/>
                <a:gd name="T110" fmla="*/ 2605 w 5701"/>
                <a:gd name="T111" fmla="*/ 6776 h 8406"/>
                <a:gd name="T112" fmla="*/ 2196 w 5701"/>
                <a:gd name="T113" fmla="*/ 6776 h 8406"/>
                <a:gd name="T114" fmla="*/ 2393 w 5701"/>
                <a:gd name="T115" fmla="*/ 5815 h 8406"/>
                <a:gd name="T116" fmla="*/ 2605 w 5701"/>
                <a:gd name="T117" fmla="*/ 6776 h 8406"/>
                <a:gd name="T118" fmla="*/ 3469 w 5701"/>
                <a:gd name="T119" fmla="*/ 5424 h 8406"/>
                <a:gd name="T120" fmla="*/ 2886 w 5701"/>
                <a:gd name="T121" fmla="*/ 5229 h 8406"/>
                <a:gd name="T122" fmla="*/ 3843 w 5701"/>
                <a:gd name="T123" fmla="*/ 5187 h 8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701" h="8406">
                  <a:moveTo>
                    <a:pt x="5701" y="2455"/>
                  </a:moveTo>
                  <a:cubicBezTo>
                    <a:pt x="5701" y="2062"/>
                    <a:pt x="5390" y="1696"/>
                    <a:pt x="4823" y="1419"/>
                  </a:cubicBezTo>
                  <a:cubicBezTo>
                    <a:pt x="4791" y="918"/>
                    <a:pt x="4380" y="521"/>
                    <a:pt x="3880" y="521"/>
                  </a:cubicBezTo>
                  <a:cubicBezTo>
                    <a:pt x="3744" y="521"/>
                    <a:pt x="3611" y="550"/>
                    <a:pt x="3489" y="607"/>
                  </a:cubicBezTo>
                  <a:cubicBezTo>
                    <a:pt x="3383" y="365"/>
                    <a:pt x="3199" y="161"/>
                    <a:pt x="2969" y="33"/>
                  </a:cubicBezTo>
                  <a:cubicBezTo>
                    <a:pt x="2908" y="0"/>
                    <a:pt x="2832" y="22"/>
                    <a:pt x="2799" y="82"/>
                  </a:cubicBezTo>
                  <a:cubicBezTo>
                    <a:pt x="2765" y="142"/>
                    <a:pt x="2787" y="219"/>
                    <a:pt x="2847" y="252"/>
                  </a:cubicBezTo>
                  <a:cubicBezTo>
                    <a:pt x="3066" y="373"/>
                    <a:pt x="3231" y="581"/>
                    <a:pt x="3302" y="823"/>
                  </a:cubicBezTo>
                  <a:cubicBezTo>
                    <a:pt x="3313" y="862"/>
                    <a:pt x="3343" y="893"/>
                    <a:pt x="3380" y="906"/>
                  </a:cubicBezTo>
                  <a:cubicBezTo>
                    <a:pt x="3418" y="920"/>
                    <a:pt x="3460" y="914"/>
                    <a:pt x="3493" y="891"/>
                  </a:cubicBezTo>
                  <a:cubicBezTo>
                    <a:pt x="3608" y="812"/>
                    <a:pt x="3742" y="771"/>
                    <a:pt x="3880" y="771"/>
                  </a:cubicBezTo>
                  <a:cubicBezTo>
                    <a:pt x="4263" y="771"/>
                    <a:pt x="4574" y="1090"/>
                    <a:pt x="4574" y="1482"/>
                  </a:cubicBezTo>
                  <a:lnTo>
                    <a:pt x="4574" y="1487"/>
                  </a:lnTo>
                  <a:cubicBezTo>
                    <a:pt x="4574" y="1491"/>
                    <a:pt x="4574" y="1495"/>
                    <a:pt x="4574" y="1499"/>
                  </a:cubicBezTo>
                  <a:cubicBezTo>
                    <a:pt x="4574" y="1548"/>
                    <a:pt x="4603" y="1592"/>
                    <a:pt x="4647" y="1613"/>
                  </a:cubicBezTo>
                  <a:cubicBezTo>
                    <a:pt x="5166" y="1850"/>
                    <a:pt x="5451" y="2149"/>
                    <a:pt x="5451" y="2455"/>
                  </a:cubicBezTo>
                  <a:cubicBezTo>
                    <a:pt x="5451" y="2710"/>
                    <a:pt x="5242" y="2970"/>
                    <a:pt x="4863" y="3187"/>
                  </a:cubicBezTo>
                  <a:cubicBezTo>
                    <a:pt x="4519" y="3383"/>
                    <a:pt x="4049" y="3535"/>
                    <a:pt x="3519" y="3625"/>
                  </a:cubicBezTo>
                  <a:cubicBezTo>
                    <a:pt x="3540" y="3591"/>
                    <a:pt x="3561" y="3559"/>
                    <a:pt x="3582" y="3528"/>
                  </a:cubicBezTo>
                  <a:cubicBezTo>
                    <a:pt x="4228" y="3422"/>
                    <a:pt x="4556" y="3250"/>
                    <a:pt x="4556" y="3015"/>
                  </a:cubicBezTo>
                  <a:cubicBezTo>
                    <a:pt x="4556" y="2815"/>
                    <a:pt x="4329" y="2665"/>
                    <a:pt x="3862" y="2556"/>
                  </a:cubicBezTo>
                  <a:cubicBezTo>
                    <a:pt x="3468" y="2464"/>
                    <a:pt x="2946" y="2414"/>
                    <a:pt x="2393" y="2414"/>
                  </a:cubicBezTo>
                  <a:cubicBezTo>
                    <a:pt x="1839" y="2414"/>
                    <a:pt x="1317" y="2464"/>
                    <a:pt x="923" y="2556"/>
                  </a:cubicBezTo>
                  <a:cubicBezTo>
                    <a:pt x="457" y="2665"/>
                    <a:pt x="230" y="2815"/>
                    <a:pt x="230" y="3015"/>
                  </a:cubicBezTo>
                  <a:cubicBezTo>
                    <a:pt x="230" y="3252"/>
                    <a:pt x="564" y="3426"/>
                    <a:pt x="1222" y="3531"/>
                  </a:cubicBezTo>
                  <a:cubicBezTo>
                    <a:pt x="1242" y="3561"/>
                    <a:pt x="1262" y="3592"/>
                    <a:pt x="1282" y="3625"/>
                  </a:cubicBezTo>
                  <a:cubicBezTo>
                    <a:pt x="874" y="3556"/>
                    <a:pt x="502" y="3450"/>
                    <a:pt x="193" y="3314"/>
                  </a:cubicBezTo>
                  <a:cubicBezTo>
                    <a:pt x="130" y="3286"/>
                    <a:pt x="56" y="3315"/>
                    <a:pt x="28" y="3378"/>
                  </a:cubicBezTo>
                  <a:cubicBezTo>
                    <a:pt x="0" y="3441"/>
                    <a:pt x="29" y="3515"/>
                    <a:pt x="92" y="3543"/>
                  </a:cubicBezTo>
                  <a:cubicBezTo>
                    <a:pt x="470" y="3710"/>
                    <a:pt x="936" y="3833"/>
                    <a:pt x="1443" y="3902"/>
                  </a:cubicBezTo>
                  <a:cubicBezTo>
                    <a:pt x="1555" y="4110"/>
                    <a:pt x="1661" y="4343"/>
                    <a:pt x="1749" y="4601"/>
                  </a:cubicBezTo>
                  <a:cubicBezTo>
                    <a:pt x="1485" y="4638"/>
                    <a:pt x="1255" y="4696"/>
                    <a:pt x="1078" y="4772"/>
                  </a:cubicBezTo>
                  <a:cubicBezTo>
                    <a:pt x="902" y="4848"/>
                    <a:pt x="692" y="4981"/>
                    <a:pt x="692" y="5187"/>
                  </a:cubicBezTo>
                  <a:cubicBezTo>
                    <a:pt x="692" y="5324"/>
                    <a:pt x="787" y="5517"/>
                    <a:pt x="1240" y="5662"/>
                  </a:cubicBezTo>
                  <a:cubicBezTo>
                    <a:pt x="1451" y="5729"/>
                    <a:pt x="1708" y="5776"/>
                    <a:pt x="1986" y="5799"/>
                  </a:cubicBezTo>
                  <a:cubicBezTo>
                    <a:pt x="2010" y="6175"/>
                    <a:pt x="1987" y="6554"/>
                    <a:pt x="1918" y="6932"/>
                  </a:cubicBezTo>
                  <a:cubicBezTo>
                    <a:pt x="1850" y="6991"/>
                    <a:pt x="1792" y="7063"/>
                    <a:pt x="1749" y="7145"/>
                  </a:cubicBezTo>
                  <a:cubicBezTo>
                    <a:pt x="1686" y="7123"/>
                    <a:pt x="1619" y="7111"/>
                    <a:pt x="1550" y="7111"/>
                  </a:cubicBezTo>
                  <a:cubicBezTo>
                    <a:pt x="1245" y="7111"/>
                    <a:pt x="993" y="7345"/>
                    <a:pt x="958" y="7646"/>
                  </a:cubicBezTo>
                  <a:cubicBezTo>
                    <a:pt x="685" y="7785"/>
                    <a:pt x="515" y="7961"/>
                    <a:pt x="466" y="8155"/>
                  </a:cubicBezTo>
                  <a:lnTo>
                    <a:pt x="190" y="8155"/>
                  </a:lnTo>
                  <a:cubicBezTo>
                    <a:pt x="121" y="8155"/>
                    <a:pt x="65" y="8211"/>
                    <a:pt x="65" y="8281"/>
                  </a:cubicBezTo>
                  <a:cubicBezTo>
                    <a:pt x="65" y="8350"/>
                    <a:pt x="121" y="8406"/>
                    <a:pt x="190" y="8406"/>
                  </a:cubicBezTo>
                  <a:lnTo>
                    <a:pt x="4678" y="8406"/>
                  </a:lnTo>
                  <a:cubicBezTo>
                    <a:pt x="4747" y="8406"/>
                    <a:pt x="4803" y="8350"/>
                    <a:pt x="4803" y="8281"/>
                  </a:cubicBezTo>
                  <a:cubicBezTo>
                    <a:pt x="4803" y="8211"/>
                    <a:pt x="4747" y="8155"/>
                    <a:pt x="4678" y="8155"/>
                  </a:cubicBezTo>
                  <a:lnTo>
                    <a:pt x="4336" y="8155"/>
                  </a:lnTo>
                  <a:cubicBezTo>
                    <a:pt x="4286" y="7961"/>
                    <a:pt x="4116" y="7785"/>
                    <a:pt x="3843" y="7646"/>
                  </a:cubicBezTo>
                  <a:cubicBezTo>
                    <a:pt x="3808" y="7345"/>
                    <a:pt x="3556" y="7111"/>
                    <a:pt x="3251" y="7111"/>
                  </a:cubicBezTo>
                  <a:cubicBezTo>
                    <a:pt x="3183" y="7111"/>
                    <a:pt x="3116" y="7123"/>
                    <a:pt x="3052" y="7145"/>
                  </a:cubicBezTo>
                  <a:cubicBezTo>
                    <a:pt x="3009" y="7063"/>
                    <a:pt x="2952" y="6991"/>
                    <a:pt x="2884" y="6932"/>
                  </a:cubicBezTo>
                  <a:cubicBezTo>
                    <a:pt x="2814" y="6554"/>
                    <a:pt x="2791" y="6174"/>
                    <a:pt x="2815" y="5797"/>
                  </a:cubicBezTo>
                  <a:cubicBezTo>
                    <a:pt x="3088" y="5774"/>
                    <a:pt x="3338" y="5728"/>
                    <a:pt x="3545" y="5662"/>
                  </a:cubicBezTo>
                  <a:cubicBezTo>
                    <a:pt x="3998" y="5517"/>
                    <a:pt x="4093" y="5324"/>
                    <a:pt x="4093" y="5187"/>
                  </a:cubicBezTo>
                  <a:cubicBezTo>
                    <a:pt x="4093" y="4983"/>
                    <a:pt x="3886" y="4850"/>
                    <a:pt x="3713" y="4774"/>
                  </a:cubicBezTo>
                  <a:cubicBezTo>
                    <a:pt x="3538" y="4699"/>
                    <a:pt x="3312" y="4640"/>
                    <a:pt x="3051" y="4603"/>
                  </a:cubicBezTo>
                  <a:cubicBezTo>
                    <a:pt x="3140" y="4344"/>
                    <a:pt x="3246" y="4110"/>
                    <a:pt x="3358" y="3902"/>
                  </a:cubicBezTo>
                  <a:cubicBezTo>
                    <a:pt x="4762" y="3713"/>
                    <a:pt x="5701" y="3135"/>
                    <a:pt x="5701" y="2455"/>
                  </a:cubicBezTo>
                  <a:close/>
                  <a:moveTo>
                    <a:pt x="481" y="3015"/>
                  </a:moveTo>
                  <a:cubicBezTo>
                    <a:pt x="494" y="2982"/>
                    <a:pt x="616" y="2880"/>
                    <a:pt x="1025" y="2790"/>
                  </a:cubicBezTo>
                  <a:cubicBezTo>
                    <a:pt x="1395" y="2709"/>
                    <a:pt x="1881" y="2664"/>
                    <a:pt x="2393" y="2664"/>
                  </a:cubicBezTo>
                  <a:cubicBezTo>
                    <a:pt x="2904" y="2664"/>
                    <a:pt x="3390" y="2709"/>
                    <a:pt x="3761" y="2790"/>
                  </a:cubicBezTo>
                  <a:cubicBezTo>
                    <a:pt x="4169" y="2880"/>
                    <a:pt x="4291" y="2982"/>
                    <a:pt x="4305" y="3015"/>
                  </a:cubicBezTo>
                  <a:cubicBezTo>
                    <a:pt x="4292" y="3045"/>
                    <a:pt x="4175" y="3144"/>
                    <a:pt x="3794" y="3232"/>
                  </a:cubicBezTo>
                  <a:cubicBezTo>
                    <a:pt x="3813" y="3208"/>
                    <a:pt x="3832" y="3184"/>
                    <a:pt x="3850" y="3162"/>
                  </a:cubicBezTo>
                  <a:cubicBezTo>
                    <a:pt x="3893" y="3108"/>
                    <a:pt x="3885" y="3030"/>
                    <a:pt x="3831" y="2986"/>
                  </a:cubicBezTo>
                  <a:cubicBezTo>
                    <a:pt x="3778" y="2943"/>
                    <a:pt x="3699" y="2951"/>
                    <a:pt x="3655" y="3005"/>
                  </a:cubicBezTo>
                  <a:cubicBezTo>
                    <a:pt x="3504" y="3191"/>
                    <a:pt x="3334" y="3429"/>
                    <a:pt x="3174" y="3718"/>
                  </a:cubicBezTo>
                  <a:cubicBezTo>
                    <a:pt x="3170" y="3723"/>
                    <a:pt x="3167" y="3728"/>
                    <a:pt x="3165" y="3734"/>
                  </a:cubicBezTo>
                  <a:cubicBezTo>
                    <a:pt x="3016" y="4003"/>
                    <a:pt x="2876" y="4315"/>
                    <a:pt x="2768" y="4667"/>
                  </a:cubicBezTo>
                  <a:cubicBezTo>
                    <a:pt x="2766" y="4671"/>
                    <a:pt x="2765" y="4674"/>
                    <a:pt x="2764" y="4678"/>
                  </a:cubicBezTo>
                  <a:cubicBezTo>
                    <a:pt x="2716" y="4838"/>
                    <a:pt x="2674" y="5006"/>
                    <a:pt x="2640" y="5182"/>
                  </a:cubicBezTo>
                  <a:cubicBezTo>
                    <a:pt x="2616" y="5308"/>
                    <a:pt x="2598" y="5435"/>
                    <a:pt x="2584" y="5561"/>
                  </a:cubicBezTo>
                  <a:cubicBezTo>
                    <a:pt x="2521" y="5564"/>
                    <a:pt x="2457" y="5565"/>
                    <a:pt x="2393" y="5565"/>
                  </a:cubicBezTo>
                  <a:cubicBezTo>
                    <a:pt x="2334" y="5565"/>
                    <a:pt x="2275" y="5564"/>
                    <a:pt x="2217" y="5562"/>
                  </a:cubicBezTo>
                  <a:cubicBezTo>
                    <a:pt x="2203" y="5435"/>
                    <a:pt x="2185" y="5308"/>
                    <a:pt x="2161" y="5182"/>
                  </a:cubicBezTo>
                  <a:cubicBezTo>
                    <a:pt x="2128" y="5005"/>
                    <a:pt x="2085" y="4837"/>
                    <a:pt x="2036" y="4676"/>
                  </a:cubicBezTo>
                  <a:cubicBezTo>
                    <a:pt x="2035" y="4673"/>
                    <a:pt x="2034" y="4669"/>
                    <a:pt x="2033" y="4666"/>
                  </a:cubicBezTo>
                  <a:cubicBezTo>
                    <a:pt x="1925" y="4313"/>
                    <a:pt x="1785" y="4001"/>
                    <a:pt x="1636" y="3732"/>
                  </a:cubicBezTo>
                  <a:cubicBezTo>
                    <a:pt x="1634" y="3727"/>
                    <a:pt x="1631" y="3723"/>
                    <a:pt x="1628" y="3719"/>
                  </a:cubicBezTo>
                  <a:cubicBezTo>
                    <a:pt x="1554" y="3586"/>
                    <a:pt x="1479" y="3464"/>
                    <a:pt x="1403" y="3353"/>
                  </a:cubicBezTo>
                  <a:cubicBezTo>
                    <a:pt x="1401" y="3348"/>
                    <a:pt x="1398" y="3344"/>
                    <a:pt x="1395" y="3339"/>
                  </a:cubicBezTo>
                  <a:cubicBezTo>
                    <a:pt x="1309" y="3214"/>
                    <a:pt x="1225" y="3102"/>
                    <a:pt x="1146" y="3005"/>
                  </a:cubicBezTo>
                  <a:cubicBezTo>
                    <a:pt x="1102" y="2951"/>
                    <a:pt x="1024" y="2943"/>
                    <a:pt x="970" y="2986"/>
                  </a:cubicBezTo>
                  <a:cubicBezTo>
                    <a:pt x="916" y="3030"/>
                    <a:pt x="908" y="3108"/>
                    <a:pt x="951" y="3162"/>
                  </a:cubicBezTo>
                  <a:cubicBezTo>
                    <a:pt x="971" y="3186"/>
                    <a:pt x="990" y="3210"/>
                    <a:pt x="1010" y="3236"/>
                  </a:cubicBezTo>
                  <a:cubicBezTo>
                    <a:pt x="615" y="3147"/>
                    <a:pt x="494" y="3046"/>
                    <a:pt x="481" y="3015"/>
                  </a:cubicBezTo>
                  <a:close/>
                  <a:moveTo>
                    <a:pt x="1317" y="5424"/>
                  </a:moveTo>
                  <a:cubicBezTo>
                    <a:pt x="1042" y="5336"/>
                    <a:pt x="942" y="5234"/>
                    <a:pt x="942" y="5187"/>
                  </a:cubicBezTo>
                  <a:cubicBezTo>
                    <a:pt x="942" y="5103"/>
                    <a:pt x="1203" y="4922"/>
                    <a:pt x="1825" y="4844"/>
                  </a:cubicBezTo>
                  <a:cubicBezTo>
                    <a:pt x="1859" y="4967"/>
                    <a:pt x="1890" y="5096"/>
                    <a:pt x="1915" y="5229"/>
                  </a:cubicBezTo>
                  <a:cubicBezTo>
                    <a:pt x="1935" y="5334"/>
                    <a:pt x="1951" y="5440"/>
                    <a:pt x="1964" y="5546"/>
                  </a:cubicBezTo>
                  <a:cubicBezTo>
                    <a:pt x="1721" y="5523"/>
                    <a:pt x="1499" y="5482"/>
                    <a:pt x="1317" y="5424"/>
                  </a:cubicBezTo>
                  <a:close/>
                  <a:moveTo>
                    <a:pt x="2946" y="7436"/>
                  </a:moveTo>
                  <a:cubicBezTo>
                    <a:pt x="2984" y="7449"/>
                    <a:pt x="3026" y="7444"/>
                    <a:pt x="3059" y="7421"/>
                  </a:cubicBezTo>
                  <a:cubicBezTo>
                    <a:pt x="3116" y="7382"/>
                    <a:pt x="3182" y="7361"/>
                    <a:pt x="3251" y="7361"/>
                  </a:cubicBezTo>
                  <a:cubicBezTo>
                    <a:pt x="3442" y="7361"/>
                    <a:pt x="3597" y="7521"/>
                    <a:pt x="3597" y="7716"/>
                  </a:cubicBezTo>
                  <a:lnTo>
                    <a:pt x="3597" y="7724"/>
                  </a:lnTo>
                  <a:cubicBezTo>
                    <a:pt x="3596" y="7774"/>
                    <a:pt x="3624" y="7819"/>
                    <a:pt x="3670" y="7840"/>
                  </a:cubicBezTo>
                  <a:cubicBezTo>
                    <a:pt x="3872" y="7932"/>
                    <a:pt x="4010" y="8043"/>
                    <a:pt x="4069" y="8155"/>
                  </a:cubicBezTo>
                  <a:lnTo>
                    <a:pt x="732" y="8155"/>
                  </a:lnTo>
                  <a:cubicBezTo>
                    <a:pt x="791" y="8043"/>
                    <a:pt x="930" y="7932"/>
                    <a:pt x="1132" y="7840"/>
                  </a:cubicBezTo>
                  <a:cubicBezTo>
                    <a:pt x="1177" y="7819"/>
                    <a:pt x="1206" y="7774"/>
                    <a:pt x="1205" y="7724"/>
                  </a:cubicBezTo>
                  <a:lnTo>
                    <a:pt x="1204" y="7717"/>
                  </a:lnTo>
                  <a:cubicBezTo>
                    <a:pt x="1204" y="7521"/>
                    <a:pt x="1360" y="7361"/>
                    <a:pt x="1550" y="7361"/>
                  </a:cubicBezTo>
                  <a:cubicBezTo>
                    <a:pt x="1619" y="7361"/>
                    <a:pt x="1686" y="7382"/>
                    <a:pt x="1742" y="7421"/>
                  </a:cubicBezTo>
                  <a:cubicBezTo>
                    <a:pt x="1775" y="7444"/>
                    <a:pt x="1817" y="7449"/>
                    <a:pt x="1855" y="7436"/>
                  </a:cubicBezTo>
                  <a:cubicBezTo>
                    <a:pt x="1893" y="7422"/>
                    <a:pt x="1922" y="7392"/>
                    <a:pt x="1933" y="7353"/>
                  </a:cubicBezTo>
                  <a:cubicBezTo>
                    <a:pt x="1995" y="7143"/>
                    <a:pt x="2187" y="6997"/>
                    <a:pt x="2401" y="6997"/>
                  </a:cubicBezTo>
                  <a:cubicBezTo>
                    <a:pt x="2614" y="6997"/>
                    <a:pt x="2806" y="7143"/>
                    <a:pt x="2868" y="7353"/>
                  </a:cubicBezTo>
                  <a:cubicBezTo>
                    <a:pt x="2879" y="7392"/>
                    <a:pt x="2908" y="7422"/>
                    <a:pt x="2946" y="7436"/>
                  </a:cubicBezTo>
                  <a:close/>
                  <a:moveTo>
                    <a:pt x="2605" y="6776"/>
                  </a:moveTo>
                  <a:cubicBezTo>
                    <a:pt x="2540" y="6757"/>
                    <a:pt x="2471" y="6746"/>
                    <a:pt x="2401" y="6746"/>
                  </a:cubicBezTo>
                  <a:cubicBezTo>
                    <a:pt x="2330" y="6746"/>
                    <a:pt x="2262" y="6757"/>
                    <a:pt x="2196" y="6776"/>
                  </a:cubicBezTo>
                  <a:cubicBezTo>
                    <a:pt x="2242" y="6455"/>
                    <a:pt x="2256" y="6133"/>
                    <a:pt x="2238" y="5813"/>
                  </a:cubicBezTo>
                  <a:cubicBezTo>
                    <a:pt x="2289" y="5814"/>
                    <a:pt x="2341" y="5815"/>
                    <a:pt x="2393" y="5815"/>
                  </a:cubicBezTo>
                  <a:cubicBezTo>
                    <a:pt x="2450" y="5815"/>
                    <a:pt x="2507" y="5814"/>
                    <a:pt x="2563" y="5812"/>
                  </a:cubicBezTo>
                  <a:cubicBezTo>
                    <a:pt x="2545" y="6133"/>
                    <a:pt x="2559" y="6455"/>
                    <a:pt x="2605" y="6776"/>
                  </a:cubicBezTo>
                  <a:close/>
                  <a:moveTo>
                    <a:pt x="3843" y="5187"/>
                  </a:moveTo>
                  <a:cubicBezTo>
                    <a:pt x="3843" y="5234"/>
                    <a:pt x="3744" y="5336"/>
                    <a:pt x="3469" y="5424"/>
                  </a:cubicBezTo>
                  <a:cubicBezTo>
                    <a:pt x="3290" y="5481"/>
                    <a:pt x="3074" y="5522"/>
                    <a:pt x="2837" y="5544"/>
                  </a:cubicBezTo>
                  <a:cubicBezTo>
                    <a:pt x="2850" y="5439"/>
                    <a:pt x="2866" y="5334"/>
                    <a:pt x="2886" y="5229"/>
                  </a:cubicBezTo>
                  <a:cubicBezTo>
                    <a:pt x="2911" y="5096"/>
                    <a:pt x="2942" y="4969"/>
                    <a:pt x="2976" y="4846"/>
                  </a:cubicBezTo>
                  <a:cubicBezTo>
                    <a:pt x="3587" y="4925"/>
                    <a:pt x="3843" y="5104"/>
                    <a:pt x="3843" y="5187"/>
                  </a:cubicBezTo>
                  <a:close/>
                  <a:moveTo>
                    <a:pt x="3843" y="518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2" name="Freeform 38">
              <a:extLst>
                <a:ext uri="{FF2B5EF4-FFF2-40B4-BE49-F238E27FC236}">
                  <a16:creationId xmlns:a16="http://schemas.microsoft.com/office/drawing/2014/main" id="{88F8F0BD-0D47-4C5A-A340-6726CC7179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6" y="1828"/>
              <a:ext cx="45" cy="36"/>
            </a:xfrm>
            <a:custGeom>
              <a:avLst/>
              <a:gdLst>
                <a:gd name="T0" fmla="*/ 89 w 1085"/>
                <a:gd name="T1" fmla="*/ 496 h 868"/>
                <a:gd name="T2" fmla="*/ 255 w 1085"/>
                <a:gd name="T3" fmla="*/ 436 h 868"/>
                <a:gd name="T4" fmla="*/ 423 w 1085"/>
                <a:gd name="T5" fmla="*/ 284 h 868"/>
                <a:gd name="T6" fmla="*/ 649 w 1085"/>
                <a:gd name="T7" fmla="*/ 296 h 868"/>
                <a:gd name="T8" fmla="*/ 801 w 1085"/>
                <a:gd name="T9" fmla="*/ 463 h 868"/>
                <a:gd name="T10" fmla="*/ 790 w 1085"/>
                <a:gd name="T11" fmla="*/ 689 h 868"/>
                <a:gd name="T12" fmla="*/ 849 w 1085"/>
                <a:gd name="T13" fmla="*/ 856 h 868"/>
                <a:gd name="T14" fmla="*/ 903 w 1085"/>
                <a:gd name="T15" fmla="*/ 868 h 868"/>
                <a:gd name="T16" fmla="*/ 1016 w 1085"/>
                <a:gd name="T17" fmla="*/ 796 h 868"/>
                <a:gd name="T18" fmla="*/ 1036 w 1085"/>
                <a:gd name="T19" fmla="*/ 379 h 868"/>
                <a:gd name="T20" fmla="*/ 756 w 1085"/>
                <a:gd name="T21" fmla="*/ 69 h 868"/>
                <a:gd name="T22" fmla="*/ 338 w 1085"/>
                <a:gd name="T23" fmla="*/ 49 h 868"/>
                <a:gd name="T24" fmla="*/ 29 w 1085"/>
                <a:gd name="T25" fmla="*/ 330 h 868"/>
                <a:gd name="T26" fmla="*/ 89 w 1085"/>
                <a:gd name="T27" fmla="*/ 496 h 868"/>
                <a:gd name="T28" fmla="*/ 89 w 1085"/>
                <a:gd name="T29" fmla="*/ 496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85" h="868">
                  <a:moveTo>
                    <a:pt x="89" y="496"/>
                  </a:moveTo>
                  <a:cubicBezTo>
                    <a:pt x="151" y="526"/>
                    <a:pt x="226" y="499"/>
                    <a:pt x="255" y="436"/>
                  </a:cubicBezTo>
                  <a:cubicBezTo>
                    <a:pt x="289" y="365"/>
                    <a:pt x="348" y="311"/>
                    <a:pt x="423" y="284"/>
                  </a:cubicBezTo>
                  <a:cubicBezTo>
                    <a:pt x="497" y="258"/>
                    <a:pt x="577" y="262"/>
                    <a:pt x="649" y="296"/>
                  </a:cubicBezTo>
                  <a:cubicBezTo>
                    <a:pt x="720" y="329"/>
                    <a:pt x="774" y="389"/>
                    <a:pt x="801" y="463"/>
                  </a:cubicBezTo>
                  <a:cubicBezTo>
                    <a:pt x="827" y="537"/>
                    <a:pt x="823" y="618"/>
                    <a:pt x="790" y="689"/>
                  </a:cubicBezTo>
                  <a:cubicBezTo>
                    <a:pt x="760" y="751"/>
                    <a:pt x="787" y="826"/>
                    <a:pt x="849" y="856"/>
                  </a:cubicBezTo>
                  <a:cubicBezTo>
                    <a:pt x="867" y="864"/>
                    <a:pt x="885" y="868"/>
                    <a:pt x="903" y="868"/>
                  </a:cubicBezTo>
                  <a:cubicBezTo>
                    <a:pt x="950" y="868"/>
                    <a:pt x="995" y="841"/>
                    <a:pt x="1016" y="796"/>
                  </a:cubicBezTo>
                  <a:cubicBezTo>
                    <a:pt x="1078" y="664"/>
                    <a:pt x="1085" y="516"/>
                    <a:pt x="1036" y="379"/>
                  </a:cubicBezTo>
                  <a:cubicBezTo>
                    <a:pt x="987" y="241"/>
                    <a:pt x="887" y="132"/>
                    <a:pt x="756" y="69"/>
                  </a:cubicBezTo>
                  <a:cubicBezTo>
                    <a:pt x="624" y="7"/>
                    <a:pt x="476" y="0"/>
                    <a:pt x="338" y="49"/>
                  </a:cubicBezTo>
                  <a:cubicBezTo>
                    <a:pt x="201" y="98"/>
                    <a:pt x="91" y="198"/>
                    <a:pt x="29" y="330"/>
                  </a:cubicBezTo>
                  <a:cubicBezTo>
                    <a:pt x="0" y="392"/>
                    <a:pt x="26" y="467"/>
                    <a:pt x="89" y="496"/>
                  </a:cubicBezTo>
                  <a:close/>
                  <a:moveTo>
                    <a:pt x="89" y="49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3" name="Freeform 39">
              <a:extLst>
                <a:ext uri="{FF2B5EF4-FFF2-40B4-BE49-F238E27FC236}">
                  <a16:creationId xmlns:a16="http://schemas.microsoft.com/office/drawing/2014/main" id="{94D32028-2044-4451-B37E-9DF8FDDC95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6" y="1862"/>
              <a:ext cx="23" cy="30"/>
            </a:xfrm>
            <a:custGeom>
              <a:avLst/>
              <a:gdLst>
                <a:gd name="T0" fmla="*/ 201 w 558"/>
                <a:gd name="T1" fmla="*/ 469 h 716"/>
                <a:gd name="T2" fmla="*/ 105 w 558"/>
                <a:gd name="T3" fmla="*/ 617 h 716"/>
                <a:gd name="T4" fmla="*/ 227 w 558"/>
                <a:gd name="T5" fmla="*/ 716 h 716"/>
                <a:gd name="T6" fmla="*/ 253 w 558"/>
                <a:gd name="T7" fmla="*/ 714 h 716"/>
                <a:gd name="T8" fmla="*/ 519 w 558"/>
                <a:gd name="T9" fmla="*/ 305 h 716"/>
                <a:gd name="T10" fmla="*/ 111 w 558"/>
                <a:gd name="T11" fmla="*/ 39 h 716"/>
                <a:gd name="T12" fmla="*/ 14 w 558"/>
                <a:gd name="T13" fmla="*/ 187 h 716"/>
                <a:gd name="T14" fmla="*/ 162 w 558"/>
                <a:gd name="T15" fmla="*/ 284 h 716"/>
                <a:gd name="T16" fmla="*/ 274 w 558"/>
                <a:gd name="T17" fmla="*/ 357 h 716"/>
                <a:gd name="T18" fmla="*/ 201 w 558"/>
                <a:gd name="T19" fmla="*/ 469 h 716"/>
                <a:gd name="T20" fmla="*/ 201 w 558"/>
                <a:gd name="T21" fmla="*/ 469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8" h="716">
                  <a:moveTo>
                    <a:pt x="201" y="469"/>
                  </a:moveTo>
                  <a:cubicBezTo>
                    <a:pt x="134" y="483"/>
                    <a:pt x="90" y="549"/>
                    <a:pt x="105" y="617"/>
                  </a:cubicBezTo>
                  <a:cubicBezTo>
                    <a:pt x="117" y="676"/>
                    <a:pt x="169" y="716"/>
                    <a:pt x="227" y="716"/>
                  </a:cubicBezTo>
                  <a:cubicBezTo>
                    <a:pt x="235" y="716"/>
                    <a:pt x="244" y="715"/>
                    <a:pt x="253" y="714"/>
                  </a:cubicBezTo>
                  <a:cubicBezTo>
                    <a:pt x="439" y="675"/>
                    <a:pt x="558" y="491"/>
                    <a:pt x="519" y="305"/>
                  </a:cubicBezTo>
                  <a:cubicBezTo>
                    <a:pt x="480" y="120"/>
                    <a:pt x="297" y="0"/>
                    <a:pt x="111" y="39"/>
                  </a:cubicBezTo>
                  <a:cubicBezTo>
                    <a:pt x="43" y="53"/>
                    <a:pt x="0" y="120"/>
                    <a:pt x="14" y="187"/>
                  </a:cubicBezTo>
                  <a:cubicBezTo>
                    <a:pt x="28" y="255"/>
                    <a:pt x="95" y="298"/>
                    <a:pt x="162" y="284"/>
                  </a:cubicBezTo>
                  <a:cubicBezTo>
                    <a:pt x="213" y="273"/>
                    <a:pt x="263" y="306"/>
                    <a:pt x="274" y="357"/>
                  </a:cubicBezTo>
                  <a:cubicBezTo>
                    <a:pt x="285" y="408"/>
                    <a:pt x="252" y="458"/>
                    <a:pt x="201" y="469"/>
                  </a:cubicBezTo>
                  <a:close/>
                  <a:moveTo>
                    <a:pt x="201" y="46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4" name="Freeform 40">
              <a:extLst>
                <a:ext uri="{FF2B5EF4-FFF2-40B4-BE49-F238E27FC236}">
                  <a16:creationId xmlns:a16="http://schemas.microsoft.com/office/drawing/2014/main" id="{2A5B3539-D298-4664-8D0C-493BB27DFC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3" y="1865"/>
              <a:ext cx="27" cy="27"/>
            </a:xfrm>
            <a:custGeom>
              <a:avLst/>
              <a:gdLst>
                <a:gd name="T0" fmla="*/ 333 w 662"/>
                <a:gd name="T1" fmla="*/ 430 h 655"/>
                <a:gd name="T2" fmla="*/ 314 w 662"/>
                <a:gd name="T3" fmla="*/ 298 h 655"/>
                <a:gd name="T4" fmla="*/ 376 w 662"/>
                <a:gd name="T5" fmla="*/ 261 h 655"/>
                <a:gd name="T6" fmla="*/ 446 w 662"/>
                <a:gd name="T7" fmla="*/ 279 h 655"/>
                <a:gd name="T8" fmla="*/ 621 w 662"/>
                <a:gd name="T9" fmla="*/ 253 h 655"/>
                <a:gd name="T10" fmla="*/ 596 w 662"/>
                <a:gd name="T11" fmla="*/ 78 h 655"/>
                <a:gd name="T12" fmla="*/ 340 w 662"/>
                <a:gd name="T13" fmla="*/ 13 h 655"/>
                <a:gd name="T14" fmla="*/ 113 w 662"/>
                <a:gd name="T15" fmla="*/ 149 h 655"/>
                <a:gd name="T16" fmla="*/ 184 w 662"/>
                <a:gd name="T17" fmla="*/ 631 h 655"/>
                <a:gd name="T18" fmla="*/ 259 w 662"/>
                <a:gd name="T19" fmla="*/ 655 h 655"/>
                <a:gd name="T20" fmla="*/ 359 w 662"/>
                <a:gd name="T21" fmla="*/ 605 h 655"/>
                <a:gd name="T22" fmla="*/ 333 w 662"/>
                <a:gd name="T23" fmla="*/ 430 h 655"/>
                <a:gd name="T24" fmla="*/ 333 w 662"/>
                <a:gd name="T25" fmla="*/ 430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2" h="655">
                  <a:moveTo>
                    <a:pt x="333" y="430"/>
                  </a:moveTo>
                  <a:cubicBezTo>
                    <a:pt x="292" y="399"/>
                    <a:pt x="283" y="340"/>
                    <a:pt x="314" y="298"/>
                  </a:cubicBezTo>
                  <a:cubicBezTo>
                    <a:pt x="329" y="278"/>
                    <a:pt x="351" y="265"/>
                    <a:pt x="376" y="261"/>
                  </a:cubicBezTo>
                  <a:cubicBezTo>
                    <a:pt x="401" y="257"/>
                    <a:pt x="426" y="264"/>
                    <a:pt x="446" y="279"/>
                  </a:cubicBezTo>
                  <a:cubicBezTo>
                    <a:pt x="502" y="320"/>
                    <a:pt x="580" y="308"/>
                    <a:pt x="621" y="253"/>
                  </a:cubicBezTo>
                  <a:cubicBezTo>
                    <a:pt x="662" y="198"/>
                    <a:pt x="651" y="119"/>
                    <a:pt x="596" y="78"/>
                  </a:cubicBezTo>
                  <a:cubicBezTo>
                    <a:pt x="522" y="23"/>
                    <a:pt x="431" y="0"/>
                    <a:pt x="340" y="13"/>
                  </a:cubicBezTo>
                  <a:cubicBezTo>
                    <a:pt x="249" y="27"/>
                    <a:pt x="168" y="75"/>
                    <a:pt x="113" y="149"/>
                  </a:cubicBezTo>
                  <a:cubicBezTo>
                    <a:pt x="0" y="301"/>
                    <a:pt x="31" y="517"/>
                    <a:pt x="184" y="631"/>
                  </a:cubicBezTo>
                  <a:cubicBezTo>
                    <a:pt x="206" y="648"/>
                    <a:pt x="233" y="655"/>
                    <a:pt x="259" y="655"/>
                  </a:cubicBezTo>
                  <a:cubicBezTo>
                    <a:pt x="297" y="655"/>
                    <a:pt x="334" y="638"/>
                    <a:pt x="359" y="605"/>
                  </a:cubicBezTo>
                  <a:cubicBezTo>
                    <a:pt x="400" y="550"/>
                    <a:pt x="389" y="471"/>
                    <a:pt x="333" y="430"/>
                  </a:cubicBezTo>
                  <a:close/>
                  <a:moveTo>
                    <a:pt x="333" y="43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5" name="Freeform 41">
              <a:extLst>
                <a:ext uri="{FF2B5EF4-FFF2-40B4-BE49-F238E27FC236}">
                  <a16:creationId xmlns:a16="http://schemas.microsoft.com/office/drawing/2014/main" id="{7132080E-4DCA-4341-B76C-27345A2B2B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1" y="1914"/>
              <a:ext cx="30" cy="67"/>
            </a:xfrm>
            <a:custGeom>
              <a:avLst/>
              <a:gdLst>
                <a:gd name="T0" fmla="*/ 314 w 718"/>
                <a:gd name="T1" fmla="*/ 929 h 1632"/>
                <a:gd name="T2" fmla="*/ 460 w 718"/>
                <a:gd name="T3" fmla="*/ 1529 h 1632"/>
                <a:gd name="T4" fmla="*/ 583 w 718"/>
                <a:gd name="T5" fmla="*/ 1632 h 1632"/>
                <a:gd name="T6" fmla="*/ 605 w 718"/>
                <a:gd name="T7" fmla="*/ 1630 h 1632"/>
                <a:gd name="T8" fmla="*/ 706 w 718"/>
                <a:gd name="T9" fmla="*/ 1484 h 1632"/>
                <a:gd name="T10" fmla="*/ 554 w 718"/>
                <a:gd name="T11" fmla="*/ 855 h 1632"/>
                <a:gd name="T12" fmla="*/ 255 w 718"/>
                <a:gd name="T13" fmla="*/ 89 h 1632"/>
                <a:gd name="T14" fmla="*/ 89 w 718"/>
                <a:gd name="T15" fmla="*/ 30 h 1632"/>
                <a:gd name="T16" fmla="*/ 30 w 718"/>
                <a:gd name="T17" fmla="*/ 196 h 1632"/>
                <a:gd name="T18" fmla="*/ 314 w 718"/>
                <a:gd name="T19" fmla="*/ 929 h 1632"/>
                <a:gd name="T20" fmla="*/ 314 w 718"/>
                <a:gd name="T21" fmla="*/ 929 h 1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18" h="1632">
                  <a:moveTo>
                    <a:pt x="314" y="929"/>
                  </a:moveTo>
                  <a:cubicBezTo>
                    <a:pt x="374" y="1125"/>
                    <a:pt x="423" y="1327"/>
                    <a:pt x="460" y="1529"/>
                  </a:cubicBezTo>
                  <a:cubicBezTo>
                    <a:pt x="471" y="1589"/>
                    <a:pt x="523" y="1632"/>
                    <a:pt x="583" y="1632"/>
                  </a:cubicBezTo>
                  <a:cubicBezTo>
                    <a:pt x="590" y="1632"/>
                    <a:pt x="598" y="1631"/>
                    <a:pt x="605" y="1630"/>
                  </a:cubicBezTo>
                  <a:cubicBezTo>
                    <a:pt x="673" y="1617"/>
                    <a:pt x="718" y="1552"/>
                    <a:pt x="706" y="1484"/>
                  </a:cubicBezTo>
                  <a:cubicBezTo>
                    <a:pt x="668" y="1273"/>
                    <a:pt x="616" y="1061"/>
                    <a:pt x="554" y="855"/>
                  </a:cubicBezTo>
                  <a:cubicBezTo>
                    <a:pt x="474" y="594"/>
                    <a:pt x="373" y="336"/>
                    <a:pt x="255" y="89"/>
                  </a:cubicBezTo>
                  <a:cubicBezTo>
                    <a:pt x="226" y="26"/>
                    <a:pt x="151" y="0"/>
                    <a:pt x="89" y="30"/>
                  </a:cubicBezTo>
                  <a:cubicBezTo>
                    <a:pt x="26" y="59"/>
                    <a:pt x="0" y="134"/>
                    <a:pt x="30" y="196"/>
                  </a:cubicBezTo>
                  <a:cubicBezTo>
                    <a:pt x="142" y="432"/>
                    <a:pt x="238" y="679"/>
                    <a:pt x="314" y="929"/>
                  </a:cubicBezTo>
                  <a:close/>
                  <a:moveTo>
                    <a:pt x="314" y="92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6" name="Freeform 42">
              <a:extLst>
                <a:ext uri="{FF2B5EF4-FFF2-40B4-BE49-F238E27FC236}">
                  <a16:creationId xmlns:a16="http://schemas.microsoft.com/office/drawing/2014/main" id="{CE9BA391-E3BB-482E-AB75-F414DC3DBA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0" y="1911"/>
              <a:ext cx="24" cy="39"/>
            </a:xfrm>
            <a:custGeom>
              <a:avLst/>
              <a:gdLst>
                <a:gd name="T0" fmla="*/ 105 w 594"/>
                <a:gd name="T1" fmla="*/ 968 h 973"/>
                <a:gd name="T2" fmla="*/ 140 w 594"/>
                <a:gd name="T3" fmla="*/ 973 h 973"/>
                <a:gd name="T4" fmla="*/ 260 w 594"/>
                <a:gd name="T5" fmla="*/ 883 h 973"/>
                <a:gd name="T6" fmla="*/ 388 w 594"/>
                <a:gd name="T7" fmla="*/ 532 h 973"/>
                <a:gd name="T8" fmla="*/ 558 w 594"/>
                <a:gd name="T9" fmla="*/ 208 h 973"/>
                <a:gd name="T10" fmla="*/ 516 w 594"/>
                <a:gd name="T11" fmla="*/ 36 h 973"/>
                <a:gd name="T12" fmla="*/ 344 w 594"/>
                <a:gd name="T13" fmla="*/ 78 h 973"/>
                <a:gd name="T14" fmla="*/ 159 w 594"/>
                <a:gd name="T15" fmla="*/ 430 h 973"/>
                <a:gd name="T16" fmla="*/ 19 w 594"/>
                <a:gd name="T17" fmla="*/ 813 h 973"/>
                <a:gd name="T18" fmla="*/ 105 w 594"/>
                <a:gd name="T19" fmla="*/ 968 h 973"/>
                <a:gd name="T20" fmla="*/ 105 w 594"/>
                <a:gd name="T21" fmla="*/ 968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4" h="973">
                  <a:moveTo>
                    <a:pt x="105" y="968"/>
                  </a:moveTo>
                  <a:cubicBezTo>
                    <a:pt x="116" y="972"/>
                    <a:pt x="128" y="973"/>
                    <a:pt x="140" y="973"/>
                  </a:cubicBezTo>
                  <a:cubicBezTo>
                    <a:pt x="194" y="973"/>
                    <a:pt x="244" y="938"/>
                    <a:pt x="260" y="883"/>
                  </a:cubicBezTo>
                  <a:cubicBezTo>
                    <a:pt x="294" y="764"/>
                    <a:pt x="337" y="645"/>
                    <a:pt x="388" y="532"/>
                  </a:cubicBezTo>
                  <a:cubicBezTo>
                    <a:pt x="437" y="421"/>
                    <a:pt x="494" y="312"/>
                    <a:pt x="558" y="208"/>
                  </a:cubicBezTo>
                  <a:cubicBezTo>
                    <a:pt x="594" y="149"/>
                    <a:pt x="575" y="72"/>
                    <a:pt x="516" y="36"/>
                  </a:cubicBezTo>
                  <a:cubicBezTo>
                    <a:pt x="457" y="0"/>
                    <a:pt x="380" y="19"/>
                    <a:pt x="344" y="78"/>
                  </a:cubicBezTo>
                  <a:cubicBezTo>
                    <a:pt x="275" y="191"/>
                    <a:pt x="213" y="309"/>
                    <a:pt x="159" y="430"/>
                  </a:cubicBezTo>
                  <a:cubicBezTo>
                    <a:pt x="104" y="554"/>
                    <a:pt x="57" y="683"/>
                    <a:pt x="19" y="813"/>
                  </a:cubicBezTo>
                  <a:cubicBezTo>
                    <a:pt x="0" y="880"/>
                    <a:pt x="38" y="949"/>
                    <a:pt x="105" y="968"/>
                  </a:cubicBezTo>
                  <a:close/>
                  <a:moveTo>
                    <a:pt x="105" y="96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157" name="Graphic 156">
            <a:extLst>
              <a:ext uri="{FF2B5EF4-FFF2-40B4-BE49-F238E27FC236}">
                <a16:creationId xmlns:a16="http://schemas.microsoft.com/office/drawing/2014/main" id="{DCB9C80A-4D00-4ADB-A07E-6D249A9104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69400" y="3093153"/>
            <a:ext cx="351199" cy="351199"/>
          </a:xfrm>
          <a:prstGeom prst="rect">
            <a:avLst/>
          </a:prstGeom>
        </p:spPr>
      </p:pic>
      <p:pic>
        <p:nvPicPr>
          <p:cNvPr id="158" name="Graphic 157">
            <a:extLst>
              <a:ext uri="{FF2B5EF4-FFF2-40B4-BE49-F238E27FC236}">
                <a16:creationId xmlns:a16="http://schemas.microsoft.com/office/drawing/2014/main" id="{A07BF6CE-4F8C-48EB-9405-D683D6DE0DB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47893" y="5490822"/>
            <a:ext cx="331752" cy="331752"/>
          </a:xfrm>
          <a:prstGeom prst="rect">
            <a:avLst/>
          </a:prstGeom>
        </p:spPr>
      </p:pic>
      <p:pic>
        <p:nvPicPr>
          <p:cNvPr id="159" name="Graphic 158">
            <a:extLst>
              <a:ext uri="{FF2B5EF4-FFF2-40B4-BE49-F238E27FC236}">
                <a16:creationId xmlns:a16="http://schemas.microsoft.com/office/drawing/2014/main" id="{A383C032-F699-4CA8-8D0D-5F35FA9510C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054320" y="4705460"/>
            <a:ext cx="313510" cy="313510"/>
          </a:xfrm>
          <a:prstGeom prst="rect">
            <a:avLst/>
          </a:prstGeom>
        </p:spPr>
      </p:pic>
      <p:pic>
        <p:nvPicPr>
          <p:cNvPr id="160" name="Graphic 159">
            <a:extLst>
              <a:ext uri="{FF2B5EF4-FFF2-40B4-BE49-F238E27FC236}">
                <a16:creationId xmlns:a16="http://schemas.microsoft.com/office/drawing/2014/main" id="{41100B37-2874-484B-8E49-1C65A6B82ED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039688" y="3094687"/>
            <a:ext cx="329991" cy="329991"/>
          </a:xfrm>
          <a:prstGeom prst="rect">
            <a:avLst/>
          </a:prstGeom>
        </p:spPr>
      </p:pic>
      <p:pic>
        <p:nvPicPr>
          <p:cNvPr id="161" name="Graphic 160">
            <a:extLst>
              <a:ext uri="{FF2B5EF4-FFF2-40B4-BE49-F238E27FC236}">
                <a16:creationId xmlns:a16="http://schemas.microsoft.com/office/drawing/2014/main" id="{76E6D4B3-84B3-4CCF-B551-99464476CCF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490800" y="5495097"/>
            <a:ext cx="304454" cy="304454"/>
          </a:xfrm>
          <a:prstGeom prst="rect">
            <a:avLst/>
          </a:prstGeom>
        </p:spPr>
      </p:pic>
      <p:pic>
        <p:nvPicPr>
          <p:cNvPr id="162" name="Graphic 161">
            <a:extLst>
              <a:ext uri="{FF2B5EF4-FFF2-40B4-BE49-F238E27FC236}">
                <a16:creationId xmlns:a16="http://schemas.microsoft.com/office/drawing/2014/main" id="{2D43FACC-733D-4B89-A0E6-F8A90E779AA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490800" y="4684059"/>
            <a:ext cx="334911" cy="334911"/>
          </a:xfrm>
          <a:prstGeom prst="rect">
            <a:avLst/>
          </a:prstGeom>
        </p:spPr>
      </p:pic>
      <p:pic>
        <p:nvPicPr>
          <p:cNvPr id="163" name="Graphic 162">
            <a:extLst>
              <a:ext uri="{FF2B5EF4-FFF2-40B4-BE49-F238E27FC236}">
                <a16:creationId xmlns:a16="http://schemas.microsoft.com/office/drawing/2014/main" id="{47C346E8-5B10-4F47-8B6C-7249435EC7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038640" y="3880135"/>
            <a:ext cx="341005" cy="341005"/>
          </a:xfrm>
          <a:prstGeom prst="rect">
            <a:avLst/>
          </a:prstGeom>
        </p:spPr>
      </p:pic>
      <p:pic>
        <p:nvPicPr>
          <p:cNvPr id="164" name="Graphic 163">
            <a:extLst>
              <a:ext uri="{FF2B5EF4-FFF2-40B4-BE49-F238E27FC236}">
                <a16:creationId xmlns:a16="http://schemas.microsoft.com/office/drawing/2014/main" id="{97D5CA2D-5C4F-4990-B16B-0987970C427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482963" y="3931618"/>
            <a:ext cx="320128" cy="320128"/>
          </a:xfrm>
          <a:prstGeom prst="rect">
            <a:avLst/>
          </a:prstGeom>
        </p:spPr>
      </p:pic>
      <p:pic>
        <p:nvPicPr>
          <p:cNvPr id="165" name="Рисунок 89">
            <a:extLst>
              <a:ext uri="{FF2B5EF4-FFF2-40B4-BE49-F238E27FC236}">
                <a16:creationId xmlns:a16="http://schemas.microsoft.com/office/drawing/2014/main" id="{640388CE-71FC-4261-AC6E-8AD5B4CC8CA1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454970" y="2296905"/>
            <a:ext cx="378490" cy="378490"/>
          </a:xfrm>
          <a:prstGeom prst="rect">
            <a:avLst/>
          </a:prstGeom>
        </p:spPr>
      </p:pic>
      <p:grpSp>
        <p:nvGrpSpPr>
          <p:cNvPr id="166" name="Graphic 68">
            <a:extLst>
              <a:ext uri="{FF2B5EF4-FFF2-40B4-BE49-F238E27FC236}">
                <a16:creationId xmlns:a16="http://schemas.microsoft.com/office/drawing/2014/main" id="{7756CE58-5832-4A2A-BE91-DCA660B59544}"/>
              </a:ext>
            </a:extLst>
          </p:cNvPr>
          <p:cNvGrpSpPr/>
          <p:nvPr/>
        </p:nvGrpSpPr>
        <p:grpSpPr>
          <a:xfrm>
            <a:off x="599261" y="2326526"/>
            <a:ext cx="314163" cy="314163"/>
            <a:chOff x="3227545" y="4321406"/>
            <a:chExt cx="354330" cy="354330"/>
          </a:xfrm>
          <a:solidFill>
            <a:schemeClr val="tx2"/>
          </a:solidFill>
        </p:grpSpPr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769A5A80-EA21-443F-BE93-3962ED38B10E}"/>
                </a:ext>
              </a:extLst>
            </p:cNvPr>
            <p:cNvSpPr/>
            <p:nvPr/>
          </p:nvSpPr>
          <p:spPr>
            <a:xfrm>
              <a:off x="3408059" y="4477385"/>
              <a:ext cx="22860" cy="28575"/>
            </a:xfrm>
            <a:custGeom>
              <a:avLst/>
              <a:gdLst>
                <a:gd name="connsiteX0" fmla="*/ 23552 w 22860"/>
                <a:gd name="connsiteY0" fmla="*/ 22860 h 28575"/>
                <a:gd name="connsiteX1" fmla="*/ 16162 w 22860"/>
                <a:gd name="connsiteY1" fmla="*/ 15471 h 28575"/>
                <a:gd name="connsiteX2" fmla="*/ 23552 w 22860"/>
                <a:gd name="connsiteY2" fmla="*/ 8081 h 28575"/>
                <a:gd name="connsiteX3" fmla="*/ 15471 w 22860"/>
                <a:gd name="connsiteY3" fmla="*/ 0 h 28575"/>
                <a:gd name="connsiteX4" fmla="*/ 0 w 22860"/>
                <a:gd name="connsiteY4" fmla="*/ 15471 h 28575"/>
                <a:gd name="connsiteX5" fmla="*/ 15471 w 22860"/>
                <a:gd name="connsiteY5" fmla="*/ 30941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60" h="28575">
                  <a:moveTo>
                    <a:pt x="23552" y="22860"/>
                  </a:moveTo>
                  <a:lnTo>
                    <a:pt x="16162" y="15471"/>
                  </a:lnTo>
                  <a:lnTo>
                    <a:pt x="23552" y="8081"/>
                  </a:lnTo>
                  <a:lnTo>
                    <a:pt x="15471" y="0"/>
                  </a:lnTo>
                  <a:lnTo>
                    <a:pt x="0" y="15471"/>
                  </a:lnTo>
                  <a:lnTo>
                    <a:pt x="15471" y="30941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B394CCCE-64C6-4874-868E-79ED94341078}"/>
                </a:ext>
              </a:extLst>
            </p:cNvPr>
            <p:cNvSpPr/>
            <p:nvPr/>
          </p:nvSpPr>
          <p:spPr>
            <a:xfrm>
              <a:off x="3377809" y="4477385"/>
              <a:ext cx="22860" cy="28575"/>
            </a:xfrm>
            <a:custGeom>
              <a:avLst/>
              <a:gdLst>
                <a:gd name="connsiteX0" fmla="*/ 0 w 22860"/>
                <a:gd name="connsiteY0" fmla="*/ 8081 h 28575"/>
                <a:gd name="connsiteX1" fmla="*/ 7390 w 22860"/>
                <a:gd name="connsiteY1" fmla="*/ 15471 h 28575"/>
                <a:gd name="connsiteX2" fmla="*/ 0 w 22860"/>
                <a:gd name="connsiteY2" fmla="*/ 22860 h 28575"/>
                <a:gd name="connsiteX3" fmla="*/ 8081 w 22860"/>
                <a:gd name="connsiteY3" fmla="*/ 30941 h 28575"/>
                <a:gd name="connsiteX4" fmla="*/ 23552 w 22860"/>
                <a:gd name="connsiteY4" fmla="*/ 15471 h 28575"/>
                <a:gd name="connsiteX5" fmla="*/ 8081 w 22860"/>
                <a:gd name="connsiteY5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860" h="28575">
                  <a:moveTo>
                    <a:pt x="0" y="8081"/>
                  </a:moveTo>
                  <a:lnTo>
                    <a:pt x="7390" y="15471"/>
                  </a:lnTo>
                  <a:lnTo>
                    <a:pt x="0" y="22860"/>
                  </a:lnTo>
                  <a:lnTo>
                    <a:pt x="8081" y="30941"/>
                  </a:lnTo>
                  <a:lnTo>
                    <a:pt x="23552" y="15471"/>
                  </a:lnTo>
                  <a:lnTo>
                    <a:pt x="8081" y="0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60663B56-5481-4676-8D35-BD555EB7E891}"/>
                </a:ext>
              </a:extLst>
            </p:cNvPr>
            <p:cNvSpPr/>
            <p:nvPr/>
          </p:nvSpPr>
          <p:spPr>
            <a:xfrm>
              <a:off x="3227545" y="4584296"/>
              <a:ext cx="91440" cy="91440"/>
            </a:xfrm>
            <a:custGeom>
              <a:avLst/>
              <a:gdLst>
                <a:gd name="connsiteX0" fmla="*/ 68580 w 91440"/>
                <a:gd name="connsiteY0" fmla="*/ 80010 h 91440"/>
                <a:gd name="connsiteX1" fmla="*/ 45720 w 91440"/>
                <a:gd name="connsiteY1" fmla="*/ 57150 h 91440"/>
                <a:gd name="connsiteX2" fmla="*/ 68580 w 91440"/>
                <a:gd name="connsiteY2" fmla="*/ 34290 h 91440"/>
                <a:gd name="connsiteX3" fmla="*/ 68580 w 91440"/>
                <a:gd name="connsiteY3" fmla="*/ 22860 h 91440"/>
                <a:gd name="connsiteX4" fmla="*/ 36433 w 91440"/>
                <a:gd name="connsiteY4" fmla="*/ 45331 h 91440"/>
                <a:gd name="connsiteX5" fmla="*/ 22860 w 91440"/>
                <a:gd name="connsiteY5" fmla="*/ 28575 h 91440"/>
                <a:gd name="connsiteX6" fmla="*/ 40005 w 91440"/>
                <a:gd name="connsiteY6" fmla="*/ 11430 h 91440"/>
                <a:gd name="connsiteX7" fmla="*/ 40005 w 91440"/>
                <a:gd name="connsiteY7" fmla="*/ 0 h 91440"/>
                <a:gd name="connsiteX8" fmla="*/ 11430 w 91440"/>
                <a:gd name="connsiteY8" fmla="*/ 28575 h 91440"/>
                <a:gd name="connsiteX9" fmla="*/ 13390 w 91440"/>
                <a:gd name="connsiteY9" fmla="*/ 38753 h 91440"/>
                <a:gd name="connsiteX10" fmla="*/ 0 w 91440"/>
                <a:gd name="connsiteY10" fmla="*/ 62865 h 91440"/>
                <a:gd name="connsiteX11" fmla="*/ 28575 w 91440"/>
                <a:gd name="connsiteY11" fmla="*/ 91440 h 91440"/>
                <a:gd name="connsiteX12" fmla="*/ 47560 w 91440"/>
                <a:gd name="connsiteY12" fmla="*/ 84188 h 91440"/>
                <a:gd name="connsiteX13" fmla="*/ 68580 w 91440"/>
                <a:gd name="connsiteY13" fmla="*/ 91440 h 91440"/>
                <a:gd name="connsiteX14" fmla="*/ 96012 w 91440"/>
                <a:gd name="connsiteY14" fmla="*/ 77730 h 91440"/>
                <a:gd name="connsiteX15" fmla="*/ 86868 w 91440"/>
                <a:gd name="connsiteY15" fmla="*/ 70866 h 91440"/>
                <a:gd name="connsiteX16" fmla="*/ 68580 w 91440"/>
                <a:gd name="connsiteY16" fmla="*/ 80010 h 91440"/>
                <a:gd name="connsiteX17" fmla="*/ 28575 w 91440"/>
                <a:gd name="connsiteY17" fmla="*/ 80010 h 91440"/>
                <a:gd name="connsiteX18" fmla="*/ 11430 w 91440"/>
                <a:gd name="connsiteY18" fmla="*/ 62865 h 91440"/>
                <a:gd name="connsiteX19" fmla="*/ 19488 w 91440"/>
                <a:gd name="connsiteY19" fmla="*/ 48377 h 91440"/>
                <a:gd name="connsiteX20" fmla="*/ 34319 w 91440"/>
                <a:gd name="connsiteY20" fmla="*/ 56573 h 91440"/>
                <a:gd name="connsiteX21" fmla="*/ 34290 w 91440"/>
                <a:gd name="connsiteY21" fmla="*/ 57150 h 91440"/>
                <a:gd name="connsiteX22" fmla="*/ 39834 w 91440"/>
                <a:gd name="connsiteY22" fmla="*/ 75781 h 91440"/>
                <a:gd name="connsiteX23" fmla="*/ 28575 w 91440"/>
                <a:gd name="connsiteY23" fmla="*/ 8001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1440" h="91440">
                  <a:moveTo>
                    <a:pt x="68580" y="80010"/>
                  </a:moveTo>
                  <a:cubicBezTo>
                    <a:pt x="55973" y="80010"/>
                    <a:pt x="45720" y="69757"/>
                    <a:pt x="45720" y="57150"/>
                  </a:cubicBezTo>
                  <a:cubicBezTo>
                    <a:pt x="45720" y="44543"/>
                    <a:pt x="55973" y="34290"/>
                    <a:pt x="68580" y="34290"/>
                  </a:cubicBezTo>
                  <a:lnTo>
                    <a:pt x="68580" y="22860"/>
                  </a:lnTo>
                  <a:cubicBezTo>
                    <a:pt x="53830" y="22860"/>
                    <a:pt x="41262" y="32238"/>
                    <a:pt x="36433" y="45331"/>
                  </a:cubicBezTo>
                  <a:cubicBezTo>
                    <a:pt x="28689" y="43685"/>
                    <a:pt x="22860" y="36805"/>
                    <a:pt x="22860" y="28575"/>
                  </a:cubicBezTo>
                  <a:cubicBezTo>
                    <a:pt x="22860" y="19122"/>
                    <a:pt x="30552" y="11430"/>
                    <a:pt x="40005" y="11430"/>
                  </a:cubicBezTo>
                  <a:lnTo>
                    <a:pt x="40005" y="0"/>
                  </a:lnTo>
                  <a:cubicBezTo>
                    <a:pt x="24249" y="0"/>
                    <a:pt x="11430" y="12819"/>
                    <a:pt x="11430" y="28575"/>
                  </a:cubicBezTo>
                  <a:cubicBezTo>
                    <a:pt x="11430" y="32170"/>
                    <a:pt x="12173" y="35582"/>
                    <a:pt x="13390" y="38753"/>
                  </a:cubicBezTo>
                  <a:cubicBezTo>
                    <a:pt x="5224" y="43908"/>
                    <a:pt x="0" y="52921"/>
                    <a:pt x="0" y="62865"/>
                  </a:cubicBezTo>
                  <a:cubicBezTo>
                    <a:pt x="0" y="78621"/>
                    <a:pt x="12819" y="91440"/>
                    <a:pt x="28575" y="91440"/>
                  </a:cubicBezTo>
                  <a:cubicBezTo>
                    <a:pt x="35633" y="91440"/>
                    <a:pt x="42377" y="88794"/>
                    <a:pt x="47560" y="84188"/>
                  </a:cubicBezTo>
                  <a:cubicBezTo>
                    <a:pt x="53372" y="88714"/>
                    <a:pt x="60659" y="91440"/>
                    <a:pt x="68580" y="91440"/>
                  </a:cubicBezTo>
                  <a:cubicBezTo>
                    <a:pt x="79467" y="91440"/>
                    <a:pt x="89463" y="86439"/>
                    <a:pt x="96012" y="77730"/>
                  </a:cubicBezTo>
                  <a:lnTo>
                    <a:pt x="86868" y="70866"/>
                  </a:lnTo>
                  <a:cubicBezTo>
                    <a:pt x="82507" y="76678"/>
                    <a:pt x="75838" y="80010"/>
                    <a:pt x="68580" y="80010"/>
                  </a:cubicBezTo>
                  <a:close/>
                  <a:moveTo>
                    <a:pt x="28575" y="80010"/>
                  </a:moveTo>
                  <a:cubicBezTo>
                    <a:pt x="19122" y="80010"/>
                    <a:pt x="11430" y="72318"/>
                    <a:pt x="11430" y="62865"/>
                  </a:cubicBezTo>
                  <a:cubicBezTo>
                    <a:pt x="11430" y="56887"/>
                    <a:pt x="14573" y="51469"/>
                    <a:pt x="19488" y="48377"/>
                  </a:cubicBezTo>
                  <a:cubicBezTo>
                    <a:pt x="23432" y="52464"/>
                    <a:pt x="28546" y="55401"/>
                    <a:pt x="34319" y="56573"/>
                  </a:cubicBezTo>
                  <a:cubicBezTo>
                    <a:pt x="34319" y="56767"/>
                    <a:pt x="34290" y="56956"/>
                    <a:pt x="34290" y="57150"/>
                  </a:cubicBezTo>
                  <a:cubicBezTo>
                    <a:pt x="34290" y="64019"/>
                    <a:pt x="36342" y="70409"/>
                    <a:pt x="39834" y="75781"/>
                  </a:cubicBezTo>
                  <a:cubicBezTo>
                    <a:pt x="36742" y="78473"/>
                    <a:pt x="32747" y="80010"/>
                    <a:pt x="28575" y="8001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5A2C6AD8-C110-4B15-8C81-86D1863106B1}"/>
                </a:ext>
              </a:extLst>
            </p:cNvPr>
            <p:cNvSpPr/>
            <p:nvPr/>
          </p:nvSpPr>
          <p:spPr>
            <a:xfrm>
              <a:off x="3238975" y="4464281"/>
              <a:ext cx="57150" cy="91440"/>
            </a:xfrm>
            <a:custGeom>
              <a:avLst/>
              <a:gdLst>
                <a:gd name="connsiteX0" fmla="*/ 57150 w 57150"/>
                <a:gd name="connsiteY0" fmla="*/ 28575 h 91440"/>
                <a:gd name="connsiteX1" fmla="*/ 45720 w 57150"/>
                <a:gd name="connsiteY1" fmla="*/ 28575 h 91440"/>
                <a:gd name="connsiteX2" fmla="*/ 28575 w 57150"/>
                <a:gd name="connsiteY2" fmla="*/ 45720 h 91440"/>
                <a:gd name="connsiteX3" fmla="*/ 11430 w 57150"/>
                <a:gd name="connsiteY3" fmla="*/ 28575 h 91440"/>
                <a:gd name="connsiteX4" fmla="*/ 28575 w 57150"/>
                <a:gd name="connsiteY4" fmla="*/ 11430 h 91440"/>
                <a:gd name="connsiteX5" fmla="*/ 28575 w 57150"/>
                <a:gd name="connsiteY5" fmla="*/ 0 h 91440"/>
                <a:gd name="connsiteX6" fmla="*/ 0 w 57150"/>
                <a:gd name="connsiteY6" fmla="*/ 28575 h 91440"/>
                <a:gd name="connsiteX7" fmla="*/ 17276 w 57150"/>
                <a:gd name="connsiteY7" fmla="*/ 54795 h 91440"/>
                <a:gd name="connsiteX8" fmla="*/ 17145 w 57150"/>
                <a:gd name="connsiteY8" fmla="*/ 57150 h 91440"/>
                <a:gd name="connsiteX9" fmla="*/ 51435 w 57150"/>
                <a:gd name="connsiteY9" fmla="*/ 91440 h 91440"/>
                <a:gd name="connsiteX10" fmla="*/ 51435 w 57150"/>
                <a:gd name="connsiteY10" fmla="*/ 80010 h 91440"/>
                <a:gd name="connsiteX11" fmla="*/ 28575 w 57150"/>
                <a:gd name="connsiteY11" fmla="*/ 57150 h 91440"/>
                <a:gd name="connsiteX12" fmla="*/ 57150 w 57150"/>
                <a:gd name="connsiteY12" fmla="*/ 28575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91440">
                  <a:moveTo>
                    <a:pt x="57150" y="28575"/>
                  </a:moveTo>
                  <a:lnTo>
                    <a:pt x="45720" y="28575"/>
                  </a:lnTo>
                  <a:cubicBezTo>
                    <a:pt x="45720" y="38028"/>
                    <a:pt x="38028" y="45720"/>
                    <a:pt x="28575" y="45720"/>
                  </a:cubicBezTo>
                  <a:cubicBezTo>
                    <a:pt x="19122" y="45720"/>
                    <a:pt x="11430" y="38028"/>
                    <a:pt x="11430" y="28575"/>
                  </a:cubicBezTo>
                  <a:cubicBezTo>
                    <a:pt x="11430" y="19122"/>
                    <a:pt x="19122" y="11430"/>
                    <a:pt x="28575" y="11430"/>
                  </a:cubicBezTo>
                  <a:lnTo>
                    <a:pt x="28575" y="0"/>
                  </a:lnTo>
                  <a:cubicBezTo>
                    <a:pt x="12819" y="0"/>
                    <a:pt x="0" y="12819"/>
                    <a:pt x="0" y="28575"/>
                  </a:cubicBezTo>
                  <a:cubicBezTo>
                    <a:pt x="0" y="40314"/>
                    <a:pt x="7127" y="50406"/>
                    <a:pt x="17276" y="54795"/>
                  </a:cubicBezTo>
                  <a:cubicBezTo>
                    <a:pt x="17219" y="55584"/>
                    <a:pt x="17145" y="56361"/>
                    <a:pt x="17145" y="57150"/>
                  </a:cubicBezTo>
                  <a:cubicBezTo>
                    <a:pt x="17145" y="76061"/>
                    <a:pt x="32524" y="91440"/>
                    <a:pt x="51435" y="91440"/>
                  </a:cubicBezTo>
                  <a:lnTo>
                    <a:pt x="51435" y="80010"/>
                  </a:lnTo>
                  <a:cubicBezTo>
                    <a:pt x="38828" y="80010"/>
                    <a:pt x="28575" y="69757"/>
                    <a:pt x="28575" y="57150"/>
                  </a:cubicBezTo>
                  <a:cubicBezTo>
                    <a:pt x="44331" y="57150"/>
                    <a:pt x="57150" y="44331"/>
                    <a:pt x="57150" y="28575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9AE82332-11B0-459B-A8D6-002449039624}"/>
                </a:ext>
              </a:extLst>
            </p:cNvPr>
            <p:cNvSpPr/>
            <p:nvPr/>
          </p:nvSpPr>
          <p:spPr>
            <a:xfrm>
              <a:off x="3227545" y="4321406"/>
              <a:ext cx="125730" cy="137160"/>
            </a:xfrm>
            <a:custGeom>
              <a:avLst/>
              <a:gdLst>
                <a:gd name="connsiteX0" fmla="*/ 34290 w 125730"/>
                <a:gd name="connsiteY0" fmla="*/ 114300 h 137160"/>
                <a:gd name="connsiteX1" fmla="*/ 34290 w 125730"/>
                <a:gd name="connsiteY1" fmla="*/ 102870 h 137160"/>
                <a:gd name="connsiteX2" fmla="*/ 11430 w 125730"/>
                <a:gd name="connsiteY2" fmla="*/ 80010 h 137160"/>
                <a:gd name="connsiteX3" fmla="*/ 34290 w 125730"/>
                <a:gd name="connsiteY3" fmla="*/ 57150 h 137160"/>
                <a:gd name="connsiteX4" fmla="*/ 35924 w 125730"/>
                <a:gd name="connsiteY4" fmla="*/ 57327 h 137160"/>
                <a:gd name="connsiteX5" fmla="*/ 58739 w 125730"/>
                <a:gd name="connsiteY5" fmla="*/ 86096 h 137160"/>
                <a:gd name="connsiteX6" fmla="*/ 57150 w 125730"/>
                <a:gd name="connsiteY6" fmla="*/ 97155 h 137160"/>
                <a:gd name="connsiteX7" fmla="*/ 97155 w 125730"/>
                <a:gd name="connsiteY7" fmla="*/ 137160 h 137160"/>
                <a:gd name="connsiteX8" fmla="*/ 97155 w 125730"/>
                <a:gd name="connsiteY8" fmla="*/ 125730 h 137160"/>
                <a:gd name="connsiteX9" fmla="*/ 68580 w 125730"/>
                <a:gd name="connsiteY9" fmla="*/ 97155 h 137160"/>
                <a:gd name="connsiteX10" fmla="*/ 97155 w 125730"/>
                <a:gd name="connsiteY10" fmla="*/ 68580 h 137160"/>
                <a:gd name="connsiteX11" fmla="*/ 120975 w 125730"/>
                <a:gd name="connsiteY11" fmla="*/ 81359 h 137160"/>
                <a:gd name="connsiteX12" fmla="*/ 130491 w 125730"/>
                <a:gd name="connsiteY12" fmla="*/ 75032 h 137160"/>
                <a:gd name="connsiteX13" fmla="*/ 97155 w 125730"/>
                <a:gd name="connsiteY13" fmla="*/ 57150 h 137160"/>
                <a:gd name="connsiteX14" fmla="*/ 63437 w 125730"/>
                <a:gd name="connsiteY14" fmla="*/ 75718 h 137160"/>
                <a:gd name="connsiteX15" fmla="*/ 45720 w 125730"/>
                <a:gd name="connsiteY15" fmla="*/ 45720 h 137160"/>
                <a:gd name="connsiteX16" fmla="*/ 80010 w 125730"/>
                <a:gd name="connsiteY16" fmla="*/ 11430 h 137160"/>
                <a:gd name="connsiteX17" fmla="*/ 114300 w 125730"/>
                <a:gd name="connsiteY17" fmla="*/ 45720 h 137160"/>
                <a:gd name="connsiteX18" fmla="*/ 125730 w 125730"/>
                <a:gd name="connsiteY18" fmla="*/ 45720 h 137160"/>
                <a:gd name="connsiteX19" fmla="*/ 80010 w 125730"/>
                <a:gd name="connsiteY19" fmla="*/ 0 h 137160"/>
                <a:gd name="connsiteX20" fmla="*/ 34290 w 125730"/>
                <a:gd name="connsiteY20" fmla="*/ 45720 h 137160"/>
                <a:gd name="connsiteX21" fmla="*/ 0 w 125730"/>
                <a:gd name="connsiteY21" fmla="*/ 80010 h 137160"/>
                <a:gd name="connsiteX22" fmla="*/ 34290 w 125730"/>
                <a:gd name="connsiteY22" fmla="*/ 114300 h 13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5730" h="137160">
                  <a:moveTo>
                    <a:pt x="34290" y="114300"/>
                  </a:moveTo>
                  <a:lnTo>
                    <a:pt x="34290" y="102870"/>
                  </a:lnTo>
                  <a:cubicBezTo>
                    <a:pt x="21683" y="102870"/>
                    <a:pt x="11430" y="92617"/>
                    <a:pt x="11430" y="80010"/>
                  </a:cubicBezTo>
                  <a:cubicBezTo>
                    <a:pt x="11430" y="67403"/>
                    <a:pt x="21683" y="57150"/>
                    <a:pt x="34290" y="57150"/>
                  </a:cubicBezTo>
                  <a:cubicBezTo>
                    <a:pt x="34844" y="57150"/>
                    <a:pt x="35376" y="57287"/>
                    <a:pt x="35924" y="57327"/>
                  </a:cubicBezTo>
                  <a:cubicBezTo>
                    <a:pt x="39188" y="69580"/>
                    <a:pt x="47412" y="80101"/>
                    <a:pt x="58739" y="86096"/>
                  </a:cubicBezTo>
                  <a:cubicBezTo>
                    <a:pt x="57727" y="89617"/>
                    <a:pt x="57150" y="93315"/>
                    <a:pt x="57150" y="97155"/>
                  </a:cubicBezTo>
                  <a:cubicBezTo>
                    <a:pt x="57150" y="119215"/>
                    <a:pt x="75095" y="137160"/>
                    <a:pt x="97155" y="137160"/>
                  </a:cubicBezTo>
                  <a:lnTo>
                    <a:pt x="97155" y="125730"/>
                  </a:lnTo>
                  <a:cubicBezTo>
                    <a:pt x="81399" y="125730"/>
                    <a:pt x="68580" y="112911"/>
                    <a:pt x="68580" y="97155"/>
                  </a:cubicBezTo>
                  <a:cubicBezTo>
                    <a:pt x="68580" y="81399"/>
                    <a:pt x="81399" y="68580"/>
                    <a:pt x="97155" y="68580"/>
                  </a:cubicBezTo>
                  <a:cubicBezTo>
                    <a:pt x="106745" y="68580"/>
                    <a:pt x="115649" y="73358"/>
                    <a:pt x="120975" y="81359"/>
                  </a:cubicBezTo>
                  <a:lnTo>
                    <a:pt x="130491" y="75032"/>
                  </a:lnTo>
                  <a:cubicBezTo>
                    <a:pt x="123044" y="63831"/>
                    <a:pt x="110585" y="57150"/>
                    <a:pt x="97155" y="57150"/>
                  </a:cubicBezTo>
                  <a:cubicBezTo>
                    <a:pt x="82988" y="57150"/>
                    <a:pt x="70546" y="64574"/>
                    <a:pt x="63437" y="75718"/>
                  </a:cubicBezTo>
                  <a:cubicBezTo>
                    <a:pt x="52681" y="69740"/>
                    <a:pt x="45720" y="58242"/>
                    <a:pt x="45720" y="45720"/>
                  </a:cubicBezTo>
                  <a:cubicBezTo>
                    <a:pt x="45720" y="26809"/>
                    <a:pt x="61099" y="11430"/>
                    <a:pt x="80010" y="11430"/>
                  </a:cubicBezTo>
                  <a:cubicBezTo>
                    <a:pt x="98921" y="11430"/>
                    <a:pt x="114300" y="26809"/>
                    <a:pt x="114300" y="45720"/>
                  </a:cubicBezTo>
                  <a:lnTo>
                    <a:pt x="125730" y="45720"/>
                  </a:lnTo>
                  <a:cubicBezTo>
                    <a:pt x="125730" y="20511"/>
                    <a:pt x="105219" y="0"/>
                    <a:pt x="80010" y="0"/>
                  </a:cubicBezTo>
                  <a:cubicBezTo>
                    <a:pt x="54801" y="0"/>
                    <a:pt x="34290" y="20511"/>
                    <a:pt x="34290" y="45720"/>
                  </a:cubicBezTo>
                  <a:cubicBezTo>
                    <a:pt x="15379" y="45720"/>
                    <a:pt x="0" y="61099"/>
                    <a:pt x="0" y="80010"/>
                  </a:cubicBezTo>
                  <a:cubicBezTo>
                    <a:pt x="0" y="98921"/>
                    <a:pt x="15379" y="114300"/>
                    <a:pt x="34290" y="11430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5DFE5974-A743-4237-B645-185BCCADFE35}"/>
                </a:ext>
              </a:extLst>
            </p:cNvPr>
            <p:cNvSpPr/>
            <p:nvPr/>
          </p:nvSpPr>
          <p:spPr>
            <a:xfrm>
              <a:off x="3227545" y="4550006"/>
              <a:ext cx="11430" cy="11430"/>
            </a:xfrm>
            <a:custGeom>
              <a:avLst/>
              <a:gdLst>
                <a:gd name="connsiteX0" fmla="*/ 0 w 11430"/>
                <a:gd name="connsiteY0" fmla="*/ 0 h 11430"/>
                <a:gd name="connsiteX1" fmla="*/ 11430 w 11430"/>
                <a:gd name="connsiteY1" fmla="*/ 0 h 11430"/>
                <a:gd name="connsiteX2" fmla="*/ 11430 w 11430"/>
                <a:gd name="connsiteY2" fmla="*/ 11430 h 11430"/>
                <a:gd name="connsiteX3" fmla="*/ 0 w 11430"/>
                <a:gd name="connsiteY3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" h="11430">
                  <a:moveTo>
                    <a:pt x="0" y="0"/>
                  </a:moveTo>
                  <a:lnTo>
                    <a:pt x="11430" y="0"/>
                  </a:lnTo>
                  <a:lnTo>
                    <a:pt x="11430" y="1143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C98B0767-7B02-43AD-B2DB-1FACFE36BC08}"/>
                </a:ext>
              </a:extLst>
            </p:cNvPr>
            <p:cNvSpPr/>
            <p:nvPr/>
          </p:nvSpPr>
          <p:spPr>
            <a:xfrm>
              <a:off x="3261835" y="4561436"/>
              <a:ext cx="11430" cy="11430"/>
            </a:xfrm>
            <a:custGeom>
              <a:avLst/>
              <a:gdLst>
                <a:gd name="connsiteX0" fmla="*/ 0 w 11430"/>
                <a:gd name="connsiteY0" fmla="*/ 0 h 11430"/>
                <a:gd name="connsiteX1" fmla="*/ 11430 w 11430"/>
                <a:gd name="connsiteY1" fmla="*/ 0 h 11430"/>
                <a:gd name="connsiteX2" fmla="*/ 11430 w 11430"/>
                <a:gd name="connsiteY2" fmla="*/ 11430 h 11430"/>
                <a:gd name="connsiteX3" fmla="*/ 0 w 11430"/>
                <a:gd name="connsiteY3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" h="11430">
                  <a:moveTo>
                    <a:pt x="0" y="0"/>
                  </a:moveTo>
                  <a:lnTo>
                    <a:pt x="11430" y="0"/>
                  </a:lnTo>
                  <a:lnTo>
                    <a:pt x="11430" y="1143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5266416C-02A6-4C1C-823F-4879E8FD91C4}"/>
                </a:ext>
              </a:extLst>
            </p:cNvPr>
            <p:cNvSpPr/>
            <p:nvPr/>
          </p:nvSpPr>
          <p:spPr>
            <a:xfrm>
              <a:off x="3238975" y="4572866"/>
              <a:ext cx="11430" cy="11430"/>
            </a:xfrm>
            <a:custGeom>
              <a:avLst/>
              <a:gdLst>
                <a:gd name="connsiteX0" fmla="*/ 0 w 11430"/>
                <a:gd name="connsiteY0" fmla="*/ 0 h 11430"/>
                <a:gd name="connsiteX1" fmla="*/ 11430 w 11430"/>
                <a:gd name="connsiteY1" fmla="*/ 0 h 11430"/>
                <a:gd name="connsiteX2" fmla="*/ 11430 w 11430"/>
                <a:gd name="connsiteY2" fmla="*/ 11430 h 11430"/>
                <a:gd name="connsiteX3" fmla="*/ 0 w 11430"/>
                <a:gd name="connsiteY3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" h="11430">
                  <a:moveTo>
                    <a:pt x="0" y="0"/>
                  </a:moveTo>
                  <a:lnTo>
                    <a:pt x="11430" y="0"/>
                  </a:lnTo>
                  <a:lnTo>
                    <a:pt x="11430" y="1143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52F7BD4F-15DB-4999-A04B-517F3DC0233C}"/>
                </a:ext>
              </a:extLst>
            </p:cNvPr>
            <p:cNvSpPr/>
            <p:nvPr/>
          </p:nvSpPr>
          <p:spPr>
            <a:xfrm>
              <a:off x="3306395" y="4401416"/>
              <a:ext cx="194310" cy="274320"/>
            </a:xfrm>
            <a:custGeom>
              <a:avLst/>
              <a:gdLst>
                <a:gd name="connsiteX0" fmla="*/ 189755 w 194310"/>
                <a:gd name="connsiteY0" fmla="*/ 187795 h 274320"/>
                <a:gd name="connsiteX1" fmla="*/ 181011 w 194310"/>
                <a:gd name="connsiteY1" fmla="*/ 164603 h 274320"/>
                <a:gd name="connsiteX2" fmla="*/ 195179 w 194310"/>
                <a:gd name="connsiteY2" fmla="*/ 144681 h 274320"/>
                <a:gd name="connsiteX3" fmla="*/ 196625 w 194310"/>
                <a:gd name="connsiteY3" fmla="*/ 140332 h 274320"/>
                <a:gd name="connsiteX4" fmla="*/ 192693 w 194310"/>
                <a:gd name="connsiteY4" fmla="*/ 137972 h 274320"/>
                <a:gd name="connsiteX5" fmla="*/ 166895 w 194310"/>
                <a:gd name="connsiteY5" fmla="*/ 92406 h 274320"/>
                <a:gd name="connsiteX6" fmla="*/ 166895 w 194310"/>
                <a:gd name="connsiteY6" fmla="*/ 68580 h 274320"/>
                <a:gd name="connsiteX7" fmla="*/ 98315 w 194310"/>
                <a:gd name="connsiteY7" fmla="*/ 0 h 274320"/>
                <a:gd name="connsiteX8" fmla="*/ 29735 w 194310"/>
                <a:gd name="connsiteY8" fmla="*/ 68580 h 274320"/>
                <a:gd name="connsiteX9" fmla="*/ 29735 w 194310"/>
                <a:gd name="connsiteY9" fmla="*/ 92406 h 274320"/>
                <a:gd name="connsiteX10" fmla="*/ 3932 w 194310"/>
                <a:gd name="connsiteY10" fmla="*/ 137977 h 274320"/>
                <a:gd name="connsiteX11" fmla="*/ 0 w 194310"/>
                <a:gd name="connsiteY11" fmla="*/ 140338 h 274320"/>
                <a:gd name="connsiteX12" fmla="*/ 1446 w 194310"/>
                <a:gd name="connsiteY12" fmla="*/ 144687 h 274320"/>
                <a:gd name="connsiteX13" fmla="*/ 15613 w 194310"/>
                <a:gd name="connsiteY13" fmla="*/ 164609 h 274320"/>
                <a:gd name="connsiteX14" fmla="*/ 6875 w 194310"/>
                <a:gd name="connsiteY14" fmla="*/ 187795 h 274320"/>
                <a:gd name="connsiteX15" fmla="*/ 10127 w 194310"/>
                <a:gd name="connsiteY15" fmla="*/ 202614 h 274320"/>
                <a:gd name="connsiteX16" fmla="*/ 33278 w 194310"/>
                <a:gd name="connsiteY16" fmla="*/ 252774 h 274320"/>
                <a:gd name="connsiteX17" fmla="*/ 66951 w 194310"/>
                <a:gd name="connsiteY17" fmla="*/ 274320 h 274320"/>
                <a:gd name="connsiteX18" fmla="*/ 98315 w 194310"/>
                <a:gd name="connsiteY18" fmla="*/ 256929 h 274320"/>
                <a:gd name="connsiteX19" fmla="*/ 129679 w 194310"/>
                <a:gd name="connsiteY19" fmla="*/ 274320 h 274320"/>
                <a:gd name="connsiteX20" fmla="*/ 163352 w 194310"/>
                <a:gd name="connsiteY20" fmla="*/ 252774 h 274320"/>
                <a:gd name="connsiteX21" fmla="*/ 186503 w 194310"/>
                <a:gd name="connsiteY21" fmla="*/ 202614 h 274320"/>
                <a:gd name="connsiteX22" fmla="*/ 189755 w 194310"/>
                <a:gd name="connsiteY22" fmla="*/ 187795 h 274320"/>
                <a:gd name="connsiteX23" fmla="*/ 41165 w 194310"/>
                <a:gd name="connsiteY23" fmla="*/ 92406 h 274320"/>
                <a:gd name="connsiteX24" fmla="*/ 41165 w 194310"/>
                <a:gd name="connsiteY24" fmla="*/ 68580 h 274320"/>
                <a:gd name="connsiteX25" fmla="*/ 98315 w 194310"/>
                <a:gd name="connsiteY25" fmla="*/ 11430 h 274320"/>
                <a:gd name="connsiteX26" fmla="*/ 155465 w 194310"/>
                <a:gd name="connsiteY26" fmla="*/ 68580 h 274320"/>
                <a:gd name="connsiteX27" fmla="*/ 155465 w 194310"/>
                <a:gd name="connsiteY27" fmla="*/ 92406 h 274320"/>
                <a:gd name="connsiteX28" fmla="*/ 182680 w 194310"/>
                <a:gd name="connsiteY28" fmla="*/ 145070 h 274320"/>
                <a:gd name="connsiteX29" fmla="*/ 171713 w 194310"/>
                <a:gd name="connsiteY29" fmla="*/ 157065 h 274320"/>
                <a:gd name="connsiteX30" fmla="*/ 164546 w 194310"/>
                <a:gd name="connsiteY30" fmla="*/ 153922 h 274320"/>
                <a:gd name="connsiteX31" fmla="*/ 131645 w 194310"/>
                <a:gd name="connsiteY31" fmla="*/ 144052 h 274320"/>
                <a:gd name="connsiteX32" fmla="*/ 129153 w 194310"/>
                <a:gd name="connsiteY32" fmla="*/ 134074 h 274320"/>
                <a:gd name="connsiteX33" fmla="*/ 128319 w 194310"/>
                <a:gd name="connsiteY33" fmla="*/ 131639 h 274320"/>
                <a:gd name="connsiteX34" fmla="*/ 144035 w 194310"/>
                <a:gd name="connsiteY34" fmla="*/ 97155 h 274320"/>
                <a:gd name="connsiteX35" fmla="*/ 144035 w 194310"/>
                <a:gd name="connsiteY35" fmla="*/ 70946 h 274320"/>
                <a:gd name="connsiteX36" fmla="*/ 140383 w 194310"/>
                <a:gd name="connsiteY36" fmla="*/ 58024 h 274320"/>
                <a:gd name="connsiteX37" fmla="*/ 144035 w 194310"/>
                <a:gd name="connsiteY37" fmla="*/ 45720 h 274320"/>
                <a:gd name="connsiteX38" fmla="*/ 132605 w 194310"/>
                <a:gd name="connsiteY38" fmla="*/ 45720 h 274320"/>
                <a:gd name="connsiteX39" fmla="*/ 121175 w 194310"/>
                <a:gd name="connsiteY39" fmla="*/ 57150 h 274320"/>
                <a:gd name="connsiteX40" fmla="*/ 98315 w 194310"/>
                <a:gd name="connsiteY40" fmla="*/ 57150 h 274320"/>
                <a:gd name="connsiteX41" fmla="*/ 86885 w 194310"/>
                <a:gd name="connsiteY41" fmla="*/ 45720 h 274320"/>
                <a:gd name="connsiteX42" fmla="*/ 98315 w 194310"/>
                <a:gd name="connsiteY42" fmla="*/ 34290 h 274320"/>
                <a:gd name="connsiteX43" fmla="*/ 98315 w 194310"/>
                <a:gd name="connsiteY43" fmla="*/ 22860 h 274320"/>
                <a:gd name="connsiteX44" fmla="*/ 75832 w 194310"/>
                <a:gd name="connsiteY44" fmla="*/ 42000 h 274320"/>
                <a:gd name="connsiteX45" fmla="*/ 68391 w 194310"/>
                <a:gd name="connsiteY45" fmla="*/ 45720 h 274320"/>
                <a:gd name="connsiteX46" fmla="*/ 52595 w 194310"/>
                <a:gd name="connsiteY46" fmla="*/ 71277 h 274320"/>
                <a:gd name="connsiteX47" fmla="*/ 52595 w 194310"/>
                <a:gd name="connsiteY47" fmla="*/ 97155 h 274320"/>
                <a:gd name="connsiteX48" fmla="*/ 68311 w 194310"/>
                <a:gd name="connsiteY48" fmla="*/ 131634 h 274320"/>
                <a:gd name="connsiteX49" fmla="*/ 67477 w 194310"/>
                <a:gd name="connsiteY49" fmla="*/ 134068 h 274320"/>
                <a:gd name="connsiteX50" fmla="*/ 64985 w 194310"/>
                <a:gd name="connsiteY50" fmla="*/ 144047 h 274320"/>
                <a:gd name="connsiteX51" fmla="*/ 32078 w 194310"/>
                <a:gd name="connsiteY51" fmla="*/ 153916 h 274320"/>
                <a:gd name="connsiteX52" fmla="*/ 24912 w 194310"/>
                <a:gd name="connsiteY52" fmla="*/ 157060 h 274320"/>
                <a:gd name="connsiteX53" fmla="*/ 13950 w 194310"/>
                <a:gd name="connsiteY53" fmla="*/ 145064 h 274320"/>
                <a:gd name="connsiteX54" fmla="*/ 41165 w 194310"/>
                <a:gd name="connsiteY54" fmla="*/ 92406 h 274320"/>
                <a:gd name="connsiteX55" fmla="*/ 92600 w 194310"/>
                <a:gd name="connsiteY55" fmla="*/ 102870 h 274320"/>
                <a:gd name="connsiteX56" fmla="*/ 92600 w 194310"/>
                <a:gd name="connsiteY56" fmla="*/ 121444 h 274320"/>
                <a:gd name="connsiteX57" fmla="*/ 85479 w 194310"/>
                <a:gd name="connsiteY57" fmla="*/ 120015 h 274320"/>
                <a:gd name="connsiteX58" fmla="*/ 75655 w 194310"/>
                <a:gd name="connsiteY58" fmla="*/ 122890 h 274320"/>
                <a:gd name="connsiteX59" fmla="*/ 64025 w 194310"/>
                <a:gd name="connsiteY59" fmla="*/ 97155 h 274320"/>
                <a:gd name="connsiteX60" fmla="*/ 64025 w 194310"/>
                <a:gd name="connsiteY60" fmla="*/ 71277 h 274320"/>
                <a:gd name="connsiteX61" fmla="*/ 73501 w 194310"/>
                <a:gd name="connsiteY61" fmla="*/ 55944 h 274320"/>
                <a:gd name="connsiteX62" fmla="*/ 77107 w 194310"/>
                <a:gd name="connsiteY62" fmla="*/ 54138 h 274320"/>
                <a:gd name="connsiteX63" fmla="*/ 98315 w 194310"/>
                <a:gd name="connsiteY63" fmla="*/ 68580 h 274320"/>
                <a:gd name="connsiteX64" fmla="*/ 121175 w 194310"/>
                <a:gd name="connsiteY64" fmla="*/ 68580 h 274320"/>
                <a:gd name="connsiteX65" fmla="*/ 131628 w 194310"/>
                <a:gd name="connsiteY65" fmla="*/ 65934 h 274320"/>
                <a:gd name="connsiteX66" fmla="*/ 132605 w 194310"/>
                <a:gd name="connsiteY66" fmla="*/ 70946 h 274320"/>
                <a:gd name="connsiteX67" fmla="*/ 132605 w 194310"/>
                <a:gd name="connsiteY67" fmla="*/ 97155 h 274320"/>
                <a:gd name="connsiteX68" fmla="*/ 120975 w 194310"/>
                <a:gd name="connsiteY68" fmla="*/ 122890 h 274320"/>
                <a:gd name="connsiteX69" fmla="*/ 111151 w 194310"/>
                <a:gd name="connsiteY69" fmla="*/ 120015 h 274320"/>
                <a:gd name="connsiteX70" fmla="*/ 104030 w 194310"/>
                <a:gd name="connsiteY70" fmla="*/ 121444 h 274320"/>
                <a:gd name="connsiteX71" fmla="*/ 104030 w 194310"/>
                <a:gd name="connsiteY71" fmla="*/ 102870 h 274320"/>
                <a:gd name="connsiteX72" fmla="*/ 54613 w 194310"/>
                <a:gd name="connsiteY72" fmla="*/ 171119 h 274320"/>
                <a:gd name="connsiteX73" fmla="*/ 58310 w 194310"/>
                <a:gd name="connsiteY73" fmla="*/ 178514 h 274320"/>
                <a:gd name="connsiteX74" fmla="*/ 58310 w 194310"/>
                <a:gd name="connsiteY74" fmla="*/ 189401 h 274320"/>
                <a:gd name="connsiteX75" fmla="*/ 43348 w 194310"/>
                <a:gd name="connsiteY75" fmla="*/ 162472 h 274320"/>
                <a:gd name="connsiteX76" fmla="*/ 52835 w 194310"/>
                <a:gd name="connsiteY76" fmla="*/ 159626 h 274320"/>
                <a:gd name="connsiteX77" fmla="*/ 52595 w 194310"/>
                <a:gd name="connsiteY77" fmla="*/ 162575 h 274320"/>
                <a:gd name="connsiteX78" fmla="*/ 54613 w 194310"/>
                <a:gd name="connsiteY78" fmla="*/ 171119 h 274320"/>
                <a:gd name="connsiteX79" fmla="*/ 142018 w 194310"/>
                <a:gd name="connsiteY79" fmla="*/ 171119 h 274320"/>
                <a:gd name="connsiteX80" fmla="*/ 144035 w 194310"/>
                <a:gd name="connsiteY80" fmla="*/ 162575 h 274320"/>
                <a:gd name="connsiteX81" fmla="*/ 143795 w 194310"/>
                <a:gd name="connsiteY81" fmla="*/ 159626 h 274320"/>
                <a:gd name="connsiteX82" fmla="*/ 153282 w 194310"/>
                <a:gd name="connsiteY82" fmla="*/ 162472 h 274320"/>
                <a:gd name="connsiteX83" fmla="*/ 138320 w 194310"/>
                <a:gd name="connsiteY83" fmla="*/ 189401 h 274320"/>
                <a:gd name="connsiteX84" fmla="*/ 138320 w 194310"/>
                <a:gd name="connsiteY84" fmla="*/ 178514 h 274320"/>
                <a:gd name="connsiteX85" fmla="*/ 66951 w 194310"/>
                <a:gd name="connsiteY85" fmla="*/ 262890 h 274320"/>
                <a:gd name="connsiteX86" fmla="*/ 43663 w 194310"/>
                <a:gd name="connsiteY86" fmla="*/ 247991 h 274320"/>
                <a:gd name="connsiteX87" fmla="*/ 20511 w 194310"/>
                <a:gd name="connsiteY87" fmla="*/ 197830 h 274320"/>
                <a:gd name="connsiteX88" fmla="*/ 18305 w 194310"/>
                <a:gd name="connsiteY88" fmla="*/ 187795 h 274320"/>
                <a:gd name="connsiteX89" fmla="*/ 32278 w 194310"/>
                <a:gd name="connsiteY89" fmla="*/ 166072 h 274320"/>
                <a:gd name="connsiteX90" fmla="*/ 58310 w 194310"/>
                <a:gd name="connsiteY90" fmla="*/ 212935 h 274320"/>
                <a:gd name="connsiteX91" fmla="*/ 58310 w 194310"/>
                <a:gd name="connsiteY91" fmla="*/ 240030 h 274320"/>
                <a:gd name="connsiteX92" fmla="*/ 69740 w 194310"/>
                <a:gd name="connsiteY92" fmla="*/ 240030 h 274320"/>
                <a:gd name="connsiteX93" fmla="*/ 69740 w 194310"/>
                <a:gd name="connsiteY93" fmla="*/ 175816 h 274320"/>
                <a:gd name="connsiteX94" fmla="*/ 64837 w 194310"/>
                <a:gd name="connsiteY94" fmla="*/ 166009 h 274320"/>
                <a:gd name="connsiteX95" fmla="*/ 64025 w 194310"/>
                <a:gd name="connsiteY95" fmla="*/ 162575 h 274320"/>
                <a:gd name="connsiteX96" fmla="*/ 68266 w 194310"/>
                <a:gd name="connsiteY96" fmla="*/ 155717 h 274320"/>
                <a:gd name="connsiteX97" fmla="*/ 74649 w 194310"/>
                <a:gd name="connsiteY97" fmla="*/ 152522 h 274320"/>
                <a:gd name="connsiteX98" fmla="*/ 78576 w 194310"/>
                <a:gd name="connsiteY98" fmla="*/ 136840 h 274320"/>
                <a:gd name="connsiteX99" fmla="*/ 85479 w 194310"/>
                <a:gd name="connsiteY99" fmla="*/ 131445 h 274320"/>
                <a:gd name="connsiteX100" fmla="*/ 92600 w 194310"/>
                <a:gd name="connsiteY100" fmla="*/ 138566 h 274320"/>
                <a:gd name="connsiteX101" fmla="*/ 92600 w 194310"/>
                <a:gd name="connsiteY101" fmla="*/ 237241 h 274320"/>
                <a:gd name="connsiteX102" fmla="*/ 66951 w 194310"/>
                <a:gd name="connsiteY102" fmla="*/ 262890 h 274320"/>
                <a:gd name="connsiteX103" fmla="*/ 176119 w 194310"/>
                <a:gd name="connsiteY103" fmla="*/ 197830 h 274320"/>
                <a:gd name="connsiteX104" fmla="*/ 152968 w 194310"/>
                <a:gd name="connsiteY104" fmla="*/ 247991 h 274320"/>
                <a:gd name="connsiteX105" fmla="*/ 129679 w 194310"/>
                <a:gd name="connsiteY105" fmla="*/ 262890 h 274320"/>
                <a:gd name="connsiteX106" fmla="*/ 104030 w 194310"/>
                <a:gd name="connsiteY106" fmla="*/ 237241 h 274320"/>
                <a:gd name="connsiteX107" fmla="*/ 104030 w 194310"/>
                <a:gd name="connsiteY107" fmla="*/ 138566 h 274320"/>
                <a:gd name="connsiteX108" fmla="*/ 111151 w 194310"/>
                <a:gd name="connsiteY108" fmla="*/ 131445 h 274320"/>
                <a:gd name="connsiteX109" fmla="*/ 118060 w 194310"/>
                <a:gd name="connsiteY109" fmla="*/ 136840 h 274320"/>
                <a:gd name="connsiteX110" fmla="*/ 121987 w 194310"/>
                <a:gd name="connsiteY110" fmla="*/ 152522 h 274320"/>
                <a:gd name="connsiteX111" fmla="*/ 128370 w 194310"/>
                <a:gd name="connsiteY111" fmla="*/ 155717 h 274320"/>
                <a:gd name="connsiteX112" fmla="*/ 132605 w 194310"/>
                <a:gd name="connsiteY112" fmla="*/ 162575 h 274320"/>
                <a:gd name="connsiteX113" fmla="*/ 131794 w 194310"/>
                <a:gd name="connsiteY113" fmla="*/ 166004 h 274320"/>
                <a:gd name="connsiteX114" fmla="*/ 126890 w 194310"/>
                <a:gd name="connsiteY114" fmla="*/ 175816 h 274320"/>
                <a:gd name="connsiteX115" fmla="*/ 126890 w 194310"/>
                <a:gd name="connsiteY115" fmla="*/ 240030 h 274320"/>
                <a:gd name="connsiteX116" fmla="*/ 138320 w 194310"/>
                <a:gd name="connsiteY116" fmla="*/ 240030 h 274320"/>
                <a:gd name="connsiteX117" fmla="*/ 138320 w 194310"/>
                <a:gd name="connsiteY117" fmla="*/ 212935 h 274320"/>
                <a:gd name="connsiteX118" fmla="*/ 164352 w 194310"/>
                <a:gd name="connsiteY118" fmla="*/ 166072 h 274320"/>
                <a:gd name="connsiteX119" fmla="*/ 178325 w 194310"/>
                <a:gd name="connsiteY119" fmla="*/ 187795 h 274320"/>
                <a:gd name="connsiteX120" fmla="*/ 176119 w 194310"/>
                <a:gd name="connsiteY120" fmla="*/ 19783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94310" h="274320">
                  <a:moveTo>
                    <a:pt x="189755" y="187795"/>
                  </a:moveTo>
                  <a:cubicBezTo>
                    <a:pt x="189755" y="178960"/>
                    <a:pt x="186480" y="170867"/>
                    <a:pt x="181011" y="164603"/>
                  </a:cubicBezTo>
                  <a:cubicBezTo>
                    <a:pt x="187578" y="159569"/>
                    <a:pt x="192504" y="152705"/>
                    <a:pt x="195179" y="144681"/>
                  </a:cubicBezTo>
                  <a:lnTo>
                    <a:pt x="196625" y="140332"/>
                  </a:lnTo>
                  <a:lnTo>
                    <a:pt x="192693" y="137972"/>
                  </a:lnTo>
                  <a:cubicBezTo>
                    <a:pt x="176782" y="128427"/>
                    <a:pt x="166895" y="110968"/>
                    <a:pt x="166895" y="92406"/>
                  </a:cubicBezTo>
                  <a:lnTo>
                    <a:pt x="166895" y="68580"/>
                  </a:lnTo>
                  <a:cubicBezTo>
                    <a:pt x="166895" y="30764"/>
                    <a:pt x="136131" y="0"/>
                    <a:pt x="98315" y="0"/>
                  </a:cubicBezTo>
                  <a:cubicBezTo>
                    <a:pt x="60499" y="0"/>
                    <a:pt x="29735" y="30764"/>
                    <a:pt x="29735" y="68580"/>
                  </a:cubicBezTo>
                  <a:lnTo>
                    <a:pt x="29735" y="92406"/>
                  </a:lnTo>
                  <a:cubicBezTo>
                    <a:pt x="29735" y="110968"/>
                    <a:pt x="19848" y="128427"/>
                    <a:pt x="3932" y="137977"/>
                  </a:cubicBezTo>
                  <a:lnTo>
                    <a:pt x="0" y="140338"/>
                  </a:lnTo>
                  <a:lnTo>
                    <a:pt x="1446" y="144687"/>
                  </a:lnTo>
                  <a:cubicBezTo>
                    <a:pt x="4121" y="152711"/>
                    <a:pt x="9047" y="159574"/>
                    <a:pt x="15613" y="164609"/>
                  </a:cubicBezTo>
                  <a:cubicBezTo>
                    <a:pt x="10150" y="170867"/>
                    <a:pt x="6875" y="178965"/>
                    <a:pt x="6875" y="187795"/>
                  </a:cubicBezTo>
                  <a:cubicBezTo>
                    <a:pt x="6875" y="192876"/>
                    <a:pt x="8001" y="198002"/>
                    <a:pt x="10127" y="202614"/>
                  </a:cubicBezTo>
                  <a:lnTo>
                    <a:pt x="33278" y="252774"/>
                  </a:lnTo>
                  <a:cubicBezTo>
                    <a:pt x="39319" y="265862"/>
                    <a:pt x="52532" y="274320"/>
                    <a:pt x="66951" y="274320"/>
                  </a:cubicBezTo>
                  <a:cubicBezTo>
                    <a:pt x="80159" y="274320"/>
                    <a:pt x="91749" y="267353"/>
                    <a:pt x="98315" y="256929"/>
                  </a:cubicBezTo>
                  <a:cubicBezTo>
                    <a:pt x="104887" y="267353"/>
                    <a:pt x="116472" y="274320"/>
                    <a:pt x="129679" y="274320"/>
                  </a:cubicBezTo>
                  <a:cubicBezTo>
                    <a:pt x="144092" y="274320"/>
                    <a:pt x="157311" y="265868"/>
                    <a:pt x="163352" y="252774"/>
                  </a:cubicBezTo>
                  <a:lnTo>
                    <a:pt x="186503" y="202614"/>
                  </a:lnTo>
                  <a:cubicBezTo>
                    <a:pt x="188629" y="198002"/>
                    <a:pt x="189755" y="192876"/>
                    <a:pt x="189755" y="187795"/>
                  </a:cubicBezTo>
                  <a:close/>
                  <a:moveTo>
                    <a:pt x="41165" y="92406"/>
                  </a:moveTo>
                  <a:lnTo>
                    <a:pt x="41165" y="68580"/>
                  </a:lnTo>
                  <a:cubicBezTo>
                    <a:pt x="41165" y="37067"/>
                    <a:pt x="66803" y="11430"/>
                    <a:pt x="98315" y="11430"/>
                  </a:cubicBezTo>
                  <a:cubicBezTo>
                    <a:pt x="129828" y="11430"/>
                    <a:pt x="155465" y="37067"/>
                    <a:pt x="155465" y="68580"/>
                  </a:cubicBezTo>
                  <a:lnTo>
                    <a:pt x="155465" y="92406"/>
                  </a:lnTo>
                  <a:cubicBezTo>
                    <a:pt x="155465" y="113306"/>
                    <a:pt x="165781" y="133057"/>
                    <a:pt x="182680" y="145070"/>
                  </a:cubicBezTo>
                  <a:cubicBezTo>
                    <a:pt x="180211" y="150019"/>
                    <a:pt x="176411" y="154099"/>
                    <a:pt x="171713" y="157065"/>
                  </a:cubicBezTo>
                  <a:cubicBezTo>
                    <a:pt x="169461" y="155808"/>
                    <a:pt x="167107" y="154688"/>
                    <a:pt x="164546" y="153922"/>
                  </a:cubicBezTo>
                  <a:lnTo>
                    <a:pt x="131645" y="144052"/>
                  </a:lnTo>
                  <a:lnTo>
                    <a:pt x="129153" y="134074"/>
                  </a:lnTo>
                  <a:cubicBezTo>
                    <a:pt x="128942" y="133228"/>
                    <a:pt x="128639" y="132428"/>
                    <a:pt x="128319" y="131639"/>
                  </a:cubicBezTo>
                  <a:cubicBezTo>
                    <a:pt x="138234" y="122998"/>
                    <a:pt x="144035" y="110465"/>
                    <a:pt x="144035" y="97155"/>
                  </a:cubicBezTo>
                  <a:lnTo>
                    <a:pt x="144035" y="70946"/>
                  </a:lnTo>
                  <a:cubicBezTo>
                    <a:pt x="144035" y="66305"/>
                    <a:pt x="142709" y="61899"/>
                    <a:pt x="140383" y="58024"/>
                  </a:cubicBezTo>
                  <a:cubicBezTo>
                    <a:pt x="142669" y="54464"/>
                    <a:pt x="144035" y="50258"/>
                    <a:pt x="144035" y="45720"/>
                  </a:cubicBezTo>
                  <a:lnTo>
                    <a:pt x="132605" y="45720"/>
                  </a:lnTo>
                  <a:cubicBezTo>
                    <a:pt x="132605" y="52024"/>
                    <a:pt x="127479" y="57150"/>
                    <a:pt x="121175" y="57150"/>
                  </a:cubicBezTo>
                  <a:lnTo>
                    <a:pt x="98315" y="57150"/>
                  </a:lnTo>
                  <a:cubicBezTo>
                    <a:pt x="92012" y="57150"/>
                    <a:pt x="86885" y="52024"/>
                    <a:pt x="86885" y="45720"/>
                  </a:cubicBezTo>
                  <a:cubicBezTo>
                    <a:pt x="86885" y="39416"/>
                    <a:pt x="92012" y="34290"/>
                    <a:pt x="98315" y="34290"/>
                  </a:cubicBezTo>
                  <a:lnTo>
                    <a:pt x="98315" y="22860"/>
                  </a:lnTo>
                  <a:cubicBezTo>
                    <a:pt x="86982" y="22860"/>
                    <a:pt x="77621" y="31170"/>
                    <a:pt x="75832" y="42000"/>
                  </a:cubicBezTo>
                  <a:lnTo>
                    <a:pt x="68391" y="45720"/>
                  </a:lnTo>
                  <a:cubicBezTo>
                    <a:pt x="58647" y="50589"/>
                    <a:pt x="52595" y="60385"/>
                    <a:pt x="52595" y="71277"/>
                  </a:cubicBezTo>
                  <a:lnTo>
                    <a:pt x="52595" y="97155"/>
                  </a:lnTo>
                  <a:cubicBezTo>
                    <a:pt x="52595" y="110465"/>
                    <a:pt x="58396" y="122998"/>
                    <a:pt x="68311" y="131634"/>
                  </a:cubicBezTo>
                  <a:cubicBezTo>
                    <a:pt x="67991" y="132422"/>
                    <a:pt x="67688" y="133222"/>
                    <a:pt x="67477" y="134068"/>
                  </a:cubicBezTo>
                  <a:lnTo>
                    <a:pt x="64985" y="144047"/>
                  </a:lnTo>
                  <a:lnTo>
                    <a:pt x="32078" y="153916"/>
                  </a:lnTo>
                  <a:cubicBezTo>
                    <a:pt x="29518" y="154688"/>
                    <a:pt x="27163" y="155802"/>
                    <a:pt x="24912" y="157060"/>
                  </a:cubicBezTo>
                  <a:cubicBezTo>
                    <a:pt x="20220" y="154094"/>
                    <a:pt x="16413" y="150019"/>
                    <a:pt x="13950" y="145064"/>
                  </a:cubicBezTo>
                  <a:cubicBezTo>
                    <a:pt x="30850" y="133057"/>
                    <a:pt x="41165" y="113306"/>
                    <a:pt x="41165" y="92406"/>
                  </a:cubicBezTo>
                  <a:close/>
                  <a:moveTo>
                    <a:pt x="92600" y="102870"/>
                  </a:moveTo>
                  <a:lnTo>
                    <a:pt x="92600" y="121444"/>
                  </a:lnTo>
                  <a:cubicBezTo>
                    <a:pt x="90406" y="120529"/>
                    <a:pt x="88000" y="120015"/>
                    <a:pt x="85479" y="120015"/>
                  </a:cubicBezTo>
                  <a:cubicBezTo>
                    <a:pt x="81890" y="120015"/>
                    <a:pt x="78530" y="121089"/>
                    <a:pt x="75655" y="122890"/>
                  </a:cubicBezTo>
                  <a:cubicBezTo>
                    <a:pt x="68306" y="116415"/>
                    <a:pt x="64025" y="107071"/>
                    <a:pt x="64025" y="97155"/>
                  </a:cubicBezTo>
                  <a:lnTo>
                    <a:pt x="64025" y="71277"/>
                  </a:lnTo>
                  <a:cubicBezTo>
                    <a:pt x="64025" y="64740"/>
                    <a:pt x="67654" y="58864"/>
                    <a:pt x="73501" y="55944"/>
                  </a:cubicBezTo>
                  <a:lnTo>
                    <a:pt x="77107" y="54138"/>
                  </a:lnTo>
                  <a:cubicBezTo>
                    <a:pt x="80473" y="62579"/>
                    <a:pt x="88691" y="68580"/>
                    <a:pt x="98315" y="68580"/>
                  </a:cubicBezTo>
                  <a:lnTo>
                    <a:pt x="121175" y="68580"/>
                  </a:lnTo>
                  <a:cubicBezTo>
                    <a:pt x="124958" y="68580"/>
                    <a:pt x="128479" y="67568"/>
                    <a:pt x="131628" y="65934"/>
                  </a:cubicBezTo>
                  <a:cubicBezTo>
                    <a:pt x="132251" y="67523"/>
                    <a:pt x="132605" y="69226"/>
                    <a:pt x="132605" y="70946"/>
                  </a:cubicBezTo>
                  <a:lnTo>
                    <a:pt x="132605" y="97155"/>
                  </a:lnTo>
                  <a:cubicBezTo>
                    <a:pt x="132605" y="107071"/>
                    <a:pt x="128325" y="116415"/>
                    <a:pt x="120975" y="122890"/>
                  </a:cubicBezTo>
                  <a:cubicBezTo>
                    <a:pt x="118100" y="121089"/>
                    <a:pt x="114740" y="120015"/>
                    <a:pt x="111151" y="120015"/>
                  </a:cubicBezTo>
                  <a:cubicBezTo>
                    <a:pt x="108625" y="120015"/>
                    <a:pt x="106225" y="120529"/>
                    <a:pt x="104030" y="121444"/>
                  </a:cubicBezTo>
                  <a:lnTo>
                    <a:pt x="104030" y="102870"/>
                  </a:lnTo>
                  <a:close/>
                  <a:moveTo>
                    <a:pt x="54613" y="171119"/>
                  </a:moveTo>
                  <a:lnTo>
                    <a:pt x="58310" y="178514"/>
                  </a:lnTo>
                  <a:lnTo>
                    <a:pt x="58310" y="189401"/>
                  </a:lnTo>
                  <a:lnTo>
                    <a:pt x="43348" y="162472"/>
                  </a:lnTo>
                  <a:lnTo>
                    <a:pt x="52835" y="159626"/>
                  </a:lnTo>
                  <a:cubicBezTo>
                    <a:pt x="52687" y="160591"/>
                    <a:pt x="52595" y="161574"/>
                    <a:pt x="52595" y="162575"/>
                  </a:cubicBezTo>
                  <a:cubicBezTo>
                    <a:pt x="52595" y="165524"/>
                    <a:pt x="53292" y="168478"/>
                    <a:pt x="54613" y="171119"/>
                  </a:cubicBezTo>
                  <a:close/>
                  <a:moveTo>
                    <a:pt x="142018" y="171119"/>
                  </a:moveTo>
                  <a:cubicBezTo>
                    <a:pt x="143338" y="168478"/>
                    <a:pt x="144035" y="165524"/>
                    <a:pt x="144035" y="162575"/>
                  </a:cubicBezTo>
                  <a:cubicBezTo>
                    <a:pt x="144035" y="161574"/>
                    <a:pt x="143944" y="160591"/>
                    <a:pt x="143795" y="159626"/>
                  </a:cubicBezTo>
                  <a:lnTo>
                    <a:pt x="153282" y="162472"/>
                  </a:lnTo>
                  <a:lnTo>
                    <a:pt x="138320" y="189401"/>
                  </a:lnTo>
                  <a:lnTo>
                    <a:pt x="138320" y="178514"/>
                  </a:lnTo>
                  <a:close/>
                  <a:moveTo>
                    <a:pt x="66951" y="262890"/>
                  </a:moveTo>
                  <a:cubicBezTo>
                    <a:pt x="56979" y="262890"/>
                    <a:pt x="47835" y="257044"/>
                    <a:pt x="43663" y="247991"/>
                  </a:cubicBezTo>
                  <a:lnTo>
                    <a:pt x="20511" y="197830"/>
                  </a:lnTo>
                  <a:cubicBezTo>
                    <a:pt x="19065" y="194704"/>
                    <a:pt x="18305" y="191235"/>
                    <a:pt x="18305" y="187795"/>
                  </a:cubicBezTo>
                  <a:cubicBezTo>
                    <a:pt x="18305" y="178268"/>
                    <a:pt x="23814" y="169924"/>
                    <a:pt x="32278" y="166072"/>
                  </a:cubicBezTo>
                  <a:lnTo>
                    <a:pt x="58310" y="212935"/>
                  </a:lnTo>
                  <a:lnTo>
                    <a:pt x="58310" y="240030"/>
                  </a:lnTo>
                  <a:lnTo>
                    <a:pt x="69740" y="240030"/>
                  </a:lnTo>
                  <a:lnTo>
                    <a:pt x="69740" y="175816"/>
                  </a:lnTo>
                  <a:lnTo>
                    <a:pt x="64837" y="166009"/>
                  </a:lnTo>
                  <a:cubicBezTo>
                    <a:pt x="64305" y="164946"/>
                    <a:pt x="64025" y="163763"/>
                    <a:pt x="64025" y="162575"/>
                  </a:cubicBezTo>
                  <a:cubicBezTo>
                    <a:pt x="64025" y="159649"/>
                    <a:pt x="65648" y="157025"/>
                    <a:pt x="68266" y="155717"/>
                  </a:cubicBezTo>
                  <a:lnTo>
                    <a:pt x="74649" y="152522"/>
                  </a:lnTo>
                  <a:lnTo>
                    <a:pt x="78576" y="136840"/>
                  </a:lnTo>
                  <a:cubicBezTo>
                    <a:pt x="79364" y="133662"/>
                    <a:pt x="82205" y="131445"/>
                    <a:pt x="85479" y="131445"/>
                  </a:cubicBezTo>
                  <a:cubicBezTo>
                    <a:pt x="89405" y="131445"/>
                    <a:pt x="92600" y="134640"/>
                    <a:pt x="92600" y="138566"/>
                  </a:cubicBezTo>
                  <a:lnTo>
                    <a:pt x="92600" y="237241"/>
                  </a:lnTo>
                  <a:cubicBezTo>
                    <a:pt x="92600" y="251380"/>
                    <a:pt x="81090" y="262890"/>
                    <a:pt x="66951" y="262890"/>
                  </a:cubicBezTo>
                  <a:close/>
                  <a:moveTo>
                    <a:pt x="176119" y="197830"/>
                  </a:moveTo>
                  <a:lnTo>
                    <a:pt x="152968" y="247991"/>
                  </a:lnTo>
                  <a:cubicBezTo>
                    <a:pt x="148796" y="257044"/>
                    <a:pt x="139652" y="262890"/>
                    <a:pt x="129679" y="262890"/>
                  </a:cubicBezTo>
                  <a:cubicBezTo>
                    <a:pt x="115540" y="262890"/>
                    <a:pt x="104030" y="251380"/>
                    <a:pt x="104030" y="237241"/>
                  </a:cubicBezTo>
                  <a:lnTo>
                    <a:pt x="104030" y="138566"/>
                  </a:lnTo>
                  <a:cubicBezTo>
                    <a:pt x="104030" y="134640"/>
                    <a:pt x="107225" y="131445"/>
                    <a:pt x="111151" y="131445"/>
                  </a:cubicBezTo>
                  <a:cubicBezTo>
                    <a:pt x="114426" y="131445"/>
                    <a:pt x="117266" y="133662"/>
                    <a:pt x="118060" y="136840"/>
                  </a:cubicBezTo>
                  <a:lnTo>
                    <a:pt x="121987" y="152522"/>
                  </a:lnTo>
                  <a:lnTo>
                    <a:pt x="128370" y="155717"/>
                  </a:lnTo>
                  <a:cubicBezTo>
                    <a:pt x="130982" y="157025"/>
                    <a:pt x="132605" y="159649"/>
                    <a:pt x="132605" y="162575"/>
                  </a:cubicBezTo>
                  <a:cubicBezTo>
                    <a:pt x="132605" y="163763"/>
                    <a:pt x="132325" y="164946"/>
                    <a:pt x="131794" y="166004"/>
                  </a:cubicBezTo>
                  <a:lnTo>
                    <a:pt x="126890" y="175816"/>
                  </a:lnTo>
                  <a:lnTo>
                    <a:pt x="126890" y="240030"/>
                  </a:lnTo>
                  <a:lnTo>
                    <a:pt x="138320" y="240030"/>
                  </a:lnTo>
                  <a:lnTo>
                    <a:pt x="138320" y="212935"/>
                  </a:lnTo>
                  <a:lnTo>
                    <a:pt x="164352" y="166072"/>
                  </a:lnTo>
                  <a:cubicBezTo>
                    <a:pt x="172816" y="169924"/>
                    <a:pt x="178325" y="178268"/>
                    <a:pt x="178325" y="187795"/>
                  </a:cubicBezTo>
                  <a:cubicBezTo>
                    <a:pt x="178325" y="191235"/>
                    <a:pt x="177565" y="194704"/>
                    <a:pt x="176119" y="19783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DC6739E9-86A5-46E6-9549-A6541689243C}"/>
                </a:ext>
              </a:extLst>
            </p:cNvPr>
            <p:cNvSpPr/>
            <p:nvPr/>
          </p:nvSpPr>
          <p:spPr>
            <a:xfrm>
              <a:off x="3485863" y="4584296"/>
              <a:ext cx="91440" cy="91440"/>
            </a:xfrm>
            <a:custGeom>
              <a:avLst/>
              <a:gdLst>
                <a:gd name="connsiteX0" fmla="*/ 82622 w 91440"/>
                <a:gd name="connsiteY0" fmla="*/ 38753 h 91440"/>
                <a:gd name="connsiteX1" fmla="*/ 84582 w 91440"/>
                <a:gd name="connsiteY1" fmla="*/ 28575 h 91440"/>
                <a:gd name="connsiteX2" fmla="*/ 56007 w 91440"/>
                <a:gd name="connsiteY2" fmla="*/ 0 h 91440"/>
                <a:gd name="connsiteX3" fmla="*/ 56007 w 91440"/>
                <a:gd name="connsiteY3" fmla="*/ 11430 h 91440"/>
                <a:gd name="connsiteX4" fmla="*/ 73152 w 91440"/>
                <a:gd name="connsiteY4" fmla="*/ 28575 h 91440"/>
                <a:gd name="connsiteX5" fmla="*/ 59579 w 91440"/>
                <a:gd name="connsiteY5" fmla="*/ 45331 h 91440"/>
                <a:gd name="connsiteX6" fmla="*/ 27432 w 91440"/>
                <a:gd name="connsiteY6" fmla="*/ 22860 h 91440"/>
                <a:gd name="connsiteX7" fmla="*/ 27432 w 91440"/>
                <a:gd name="connsiteY7" fmla="*/ 34290 h 91440"/>
                <a:gd name="connsiteX8" fmla="*/ 50292 w 91440"/>
                <a:gd name="connsiteY8" fmla="*/ 57150 h 91440"/>
                <a:gd name="connsiteX9" fmla="*/ 27432 w 91440"/>
                <a:gd name="connsiteY9" fmla="*/ 80010 h 91440"/>
                <a:gd name="connsiteX10" fmla="*/ 9144 w 91440"/>
                <a:gd name="connsiteY10" fmla="*/ 70860 h 91440"/>
                <a:gd name="connsiteX11" fmla="*/ 0 w 91440"/>
                <a:gd name="connsiteY11" fmla="*/ 77724 h 91440"/>
                <a:gd name="connsiteX12" fmla="*/ 27432 w 91440"/>
                <a:gd name="connsiteY12" fmla="*/ 91440 h 91440"/>
                <a:gd name="connsiteX13" fmla="*/ 48452 w 91440"/>
                <a:gd name="connsiteY13" fmla="*/ 84188 h 91440"/>
                <a:gd name="connsiteX14" fmla="*/ 67437 w 91440"/>
                <a:gd name="connsiteY14" fmla="*/ 91440 h 91440"/>
                <a:gd name="connsiteX15" fmla="*/ 96012 w 91440"/>
                <a:gd name="connsiteY15" fmla="*/ 62865 h 91440"/>
                <a:gd name="connsiteX16" fmla="*/ 82622 w 91440"/>
                <a:gd name="connsiteY16" fmla="*/ 38753 h 91440"/>
                <a:gd name="connsiteX17" fmla="*/ 67437 w 91440"/>
                <a:gd name="connsiteY17" fmla="*/ 80010 h 91440"/>
                <a:gd name="connsiteX18" fmla="*/ 56178 w 91440"/>
                <a:gd name="connsiteY18" fmla="*/ 75781 h 91440"/>
                <a:gd name="connsiteX19" fmla="*/ 61722 w 91440"/>
                <a:gd name="connsiteY19" fmla="*/ 57150 h 91440"/>
                <a:gd name="connsiteX20" fmla="*/ 61693 w 91440"/>
                <a:gd name="connsiteY20" fmla="*/ 56573 h 91440"/>
                <a:gd name="connsiteX21" fmla="*/ 76524 w 91440"/>
                <a:gd name="connsiteY21" fmla="*/ 48377 h 91440"/>
                <a:gd name="connsiteX22" fmla="*/ 84582 w 91440"/>
                <a:gd name="connsiteY22" fmla="*/ 62865 h 91440"/>
                <a:gd name="connsiteX23" fmla="*/ 67437 w 91440"/>
                <a:gd name="connsiteY23" fmla="*/ 8001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1440" h="91440">
                  <a:moveTo>
                    <a:pt x="82622" y="38753"/>
                  </a:moveTo>
                  <a:cubicBezTo>
                    <a:pt x="83839" y="35582"/>
                    <a:pt x="84582" y="32170"/>
                    <a:pt x="84582" y="28575"/>
                  </a:cubicBezTo>
                  <a:cubicBezTo>
                    <a:pt x="84582" y="12819"/>
                    <a:pt x="71763" y="0"/>
                    <a:pt x="56007" y="0"/>
                  </a:cubicBezTo>
                  <a:lnTo>
                    <a:pt x="56007" y="11430"/>
                  </a:lnTo>
                  <a:cubicBezTo>
                    <a:pt x="65460" y="11430"/>
                    <a:pt x="73152" y="19122"/>
                    <a:pt x="73152" y="28575"/>
                  </a:cubicBezTo>
                  <a:cubicBezTo>
                    <a:pt x="73152" y="36805"/>
                    <a:pt x="67323" y="43685"/>
                    <a:pt x="59579" y="45331"/>
                  </a:cubicBezTo>
                  <a:cubicBezTo>
                    <a:pt x="54750" y="32238"/>
                    <a:pt x="42182" y="22860"/>
                    <a:pt x="27432" y="22860"/>
                  </a:cubicBezTo>
                  <a:lnTo>
                    <a:pt x="27432" y="34290"/>
                  </a:lnTo>
                  <a:cubicBezTo>
                    <a:pt x="40039" y="34290"/>
                    <a:pt x="50292" y="44543"/>
                    <a:pt x="50292" y="57150"/>
                  </a:cubicBezTo>
                  <a:cubicBezTo>
                    <a:pt x="50292" y="69757"/>
                    <a:pt x="40039" y="80010"/>
                    <a:pt x="27432" y="80010"/>
                  </a:cubicBezTo>
                  <a:cubicBezTo>
                    <a:pt x="20174" y="80010"/>
                    <a:pt x="13505" y="76678"/>
                    <a:pt x="9144" y="70860"/>
                  </a:cubicBezTo>
                  <a:lnTo>
                    <a:pt x="0" y="77724"/>
                  </a:lnTo>
                  <a:cubicBezTo>
                    <a:pt x="6549" y="86439"/>
                    <a:pt x="16545" y="91440"/>
                    <a:pt x="27432" y="91440"/>
                  </a:cubicBezTo>
                  <a:cubicBezTo>
                    <a:pt x="35353" y="91440"/>
                    <a:pt x="42640" y="88714"/>
                    <a:pt x="48452" y="84188"/>
                  </a:cubicBezTo>
                  <a:cubicBezTo>
                    <a:pt x="53635" y="88794"/>
                    <a:pt x="60379" y="91440"/>
                    <a:pt x="67437" y="91440"/>
                  </a:cubicBezTo>
                  <a:cubicBezTo>
                    <a:pt x="83193" y="91440"/>
                    <a:pt x="96012" y="78621"/>
                    <a:pt x="96012" y="62865"/>
                  </a:cubicBezTo>
                  <a:cubicBezTo>
                    <a:pt x="96012" y="52921"/>
                    <a:pt x="90788" y="43908"/>
                    <a:pt x="82622" y="38753"/>
                  </a:cubicBezTo>
                  <a:close/>
                  <a:moveTo>
                    <a:pt x="67437" y="80010"/>
                  </a:moveTo>
                  <a:cubicBezTo>
                    <a:pt x="63265" y="80010"/>
                    <a:pt x="59270" y="78473"/>
                    <a:pt x="56178" y="75781"/>
                  </a:cubicBezTo>
                  <a:cubicBezTo>
                    <a:pt x="59670" y="70409"/>
                    <a:pt x="61722" y="64019"/>
                    <a:pt x="61722" y="57150"/>
                  </a:cubicBezTo>
                  <a:cubicBezTo>
                    <a:pt x="61722" y="56956"/>
                    <a:pt x="61693" y="56767"/>
                    <a:pt x="61693" y="56573"/>
                  </a:cubicBezTo>
                  <a:cubicBezTo>
                    <a:pt x="67466" y="55401"/>
                    <a:pt x="72581" y="52464"/>
                    <a:pt x="76524" y="48377"/>
                  </a:cubicBezTo>
                  <a:cubicBezTo>
                    <a:pt x="81439" y="51469"/>
                    <a:pt x="84582" y="56887"/>
                    <a:pt x="84582" y="62865"/>
                  </a:cubicBezTo>
                  <a:cubicBezTo>
                    <a:pt x="84582" y="72318"/>
                    <a:pt x="76890" y="80010"/>
                    <a:pt x="67437" y="8001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53F0126E-A486-402C-97C0-02BEBE776F85}"/>
                </a:ext>
              </a:extLst>
            </p:cNvPr>
            <p:cNvSpPr/>
            <p:nvPr/>
          </p:nvSpPr>
          <p:spPr>
            <a:xfrm>
              <a:off x="3513295" y="4464281"/>
              <a:ext cx="57150" cy="91440"/>
            </a:xfrm>
            <a:custGeom>
              <a:avLst/>
              <a:gdLst>
                <a:gd name="connsiteX0" fmla="*/ 28575 w 57150"/>
                <a:gd name="connsiteY0" fmla="*/ 0 h 91440"/>
                <a:gd name="connsiteX1" fmla="*/ 28575 w 57150"/>
                <a:gd name="connsiteY1" fmla="*/ 11430 h 91440"/>
                <a:gd name="connsiteX2" fmla="*/ 45720 w 57150"/>
                <a:gd name="connsiteY2" fmla="*/ 28575 h 91440"/>
                <a:gd name="connsiteX3" fmla="*/ 28575 w 57150"/>
                <a:gd name="connsiteY3" fmla="*/ 45720 h 91440"/>
                <a:gd name="connsiteX4" fmla="*/ 11430 w 57150"/>
                <a:gd name="connsiteY4" fmla="*/ 28575 h 91440"/>
                <a:gd name="connsiteX5" fmla="*/ 0 w 57150"/>
                <a:gd name="connsiteY5" fmla="*/ 28575 h 91440"/>
                <a:gd name="connsiteX6" fmla="*/ 28575 w 57150"/>
                <a:gd name="connsiteY6" fmla="*/ 57150 h 91440"/>
                <a:gd name="connsiteX7" fmla="*/ 5715 w 57150"/>
                <a:gd name="connsiteY7" fmla="*/ 80010 h 91440"/>
                <a:gd name="connsiteX8" fmla="*/ 5715 w 57150"/>
                <a:gd name="connsiteY8" fmla="*/ 91440 h 91440"/>
                <a:gd name="connsiteX9" fmla="*/ 40005 w 57150"/>
                <a:gd name="connsiteY9" fmla="*/ 57150 h 91440"/>
                <a:gd name="connsiteX10" fmla="*/ 39874 w 57150"/>
                <a:gd name="connsiteY10" fmla="*/ 54795 h 91440"/>
                <a:gd name="connsiteX11" fmla="*/ 57150 w 57150"/>
                <a:gd name="connsiteY11" fmla="*/ 28575 h 91440"/>
                <a:gd name="connsiteX12" fmla="*/ 28575 w 57150"/>
                <a:gd name="connsiteY12" fmla="*/ 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150" h="91440">
                  <a:moveTo>
                    <a:pt x="28575" y="0"/>
                  </a:moveTo>
                  <a:lnTo>
                    <a:pt x="28575" y="11430"/>
                  </a:lnTo>
                  <a:cubicBezTo>
                    <a:pt x="38028" y="11430"/>
                    <a:pt x="45720" y="19122"/>
                    <a:pt x="45720" y="28575"/>
                  </a:cubicBezTo>
                  <a:cubicBezTo>
                    <a:pt x="45720" y="38028"/>
                    <a:pt x="38028" y="45720"/>
                    <a:pt x="28575" y="45720"/>
                  </a:cubicBezTo>
                  <a:cubicBezTo>
                    <a:pt x="19122" y="45720"/>
                    <a:pt x="11430" y="38028"/>
                    <a:pt x="11430" y="28575"/>
                  </a:cubicBezTo>
                  <a:lnTo>
                    <a:pt x="0" y="28575"/>
                  </a:lnTo>
                  <a:cubicBezTo>
                    <a:pt x="0" y="44331"/>
                    <a:pt x="12819" y="57150"/>
                    <a:pt x="28575" y="57150"/>
                  </a:cubicBezTo>
                  <a:cubicBezTo>
                    <a:pt x="28575" y="69757"/>
                    <a:pt x="18322" y="80010"/>
                    <a:pt x="5715" y="80010"/>
                  </a:cubicBezTo>
                  <a:lnTo>
                    <a:pt x="5715" y="91440"/>
                  </a:lnTo>
                  <a:cubicBezTo>
                    <a:pt x="24626" y="91440"/>
                    <a:pt x="40005" y="76061"/>
                    <a:pt x="40005" y="57150"/>
                  </a:cubicBezTo>
                  <a:cubicBezTo>
                    <a:pt x="40005" y="56361"/>
                    <a:pt x="39931" y="55584"/>
                    <a:pt x="39874" y="54795"/>
                  </a:cubicBezTo>
                  <a:cubicBezTo>
                    <a:pt x="50023" y="50406"/>
                    <a:pt x="57150" y="40314"/>
                    <a:pt x="57150" y="28575"/>
                  </a:cubicBezTo>
                  <a:cubicBezTo>
                    <a:pt x="57150" y="12819"/>
                    <a:pt x="44331" y="0"/>
                    <a:pt x="28575" y="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59F5DB8B-26A2-43D4-ADD8-0AF3F6C52076}"/>
                </a:ext>
              </a:extLst>
            </p:cNvPr>
            <p:cNvSpPr/>
            <p:nvPr/>
          </p:nvSpPr>
          <p:spPr>
            <a:xfrm>
              <a:off x="3451384" y="4321406"/>
              <a:ext cx="125730" cy="137160"/>
            </a:xfrm>
            <a:custGeom>
              <a:avLst/>
              <a:gdLst>
                <a:gd name="connsiteX0" fmla="*/ 67054 w 125730"/>
                <a:gd name="connsiteY0" fmla="*/ 75718 h 137160"/>
                <a:gd name="connsiteX1" fmla="*/ 33336 w 125730"/>
                <a:gd name="connsiteY1" fmla="*/ 57150 h 137160"/>
                <a:gd name="connsiteX2" fmla="*/ 0 w 125730"/>
                <a:gd name="connsiteY2" fmla="*/ 75032 h 137160"/>
                <a:gd name="connsiteX3" fmla="*/ 9515 w 125730"/>
                <a:gd name="connsiteY3" fmla="*/ 81359 h 137160"/>
                <a:gd name="connsiteX4" fmla="*/ 33336 w 125730"/>
                <a:gd name="connsiteY4" fmla="*/ 68580 h 137160"/>
                <a:gd name="connsiteX5" fmla="*/ 61911 w 125730"/>
                <a:gd name="connsiteY5" fmla="*/ 97155 h 137160"/>
                <a:gd name="connsiteX6" fmla="*/ 33336 w 125730"/>
                <a:gd name="connsiteY6" fmla="*/ 125730 h 137160"/>
                <a:gd name="connsiteX7" fmla="*/ 33336 w 125730"/>
                <a:gd name="connsiteY7" fmla="*/ 137160 h 137160"/>
                <a:gd name="connsiteX8" fmla="*/ 73341 w 125730"/>
                <a:gd name="connsiteY8" fmla="*/ 97155 h 137160"/>
                <a:gd name="connsiteX9" fmla="*/ 71752 w 125730"/>
                <a:gd name="connsiteY9" fmla="*/ 86096 h 137160"/>
                <a:gd name="connsiteX10" fmla="*/ 94566 w 125730"/>
                <a:gd name="connsiteY10" fmla="*/ 57327 h 137160"/>
                <a:gd name="connsiteX11" fmla="*/ 96201 w 125730"/>
                <a:gd name="connsiteY11" fmla="*/ 57150 h 137160"/>
                <a:gd name="connsiteX12" fmla="*/ 119061 w 125730"/>
                <a:gd name="connsiteY12" fmla="*/ 80010 h 137160"/>
                <a:gd name="connsiteX13" fmla="*/ 96201 w 125730"/>
                <a:gd name="connsiteY13" fmla="*/ 102870 h 137160"/>
                <a:gd name="connsiteX14" fmla="*/ 96201 w 125730"/>
                <a:gd name="connsiteY14" fmla="*/ 114300 h 137160"/>
                <a:gd name="connsiteX15" fmla="*/ 130491 w 125730"/>
                <a:gd name="connsiteY15" fmla="*/ 80010 h 137160"/>
                <a:gd name="connsiteX16" fmla="*/ 96201 w 125730"/>
                <a:gd name="connsiteY16" fmla="*/ 45720 h 137160"/>
                <a:gd name="connsiteX17" fmla="*/ 50481 w 125730"/>
                <a:gd name="connsiteY17" fmla="*/ 0 h 137160"/>
                <a:gd name="connsiteX18" fmla="*/ 4761 w 125730"/>
                <a:gd name="connsiteY18" fmla="*/ 45720 h 137160"/>
                <a:gd name="connsiteX19" fmla="*/ 16191 w 125730"/>
                <a:gd name="connsiteY19" fmla="*/ 45720 h 137160"/>
                <a:gd name="connsiteX20" fmla="*/ 50481 w 125730"/>
                <a:gd name="connsiteY20" fmla="*/ 11430 h 137160"/>
                <a:gd name="connsiteX21" fmla="*/ 84771 w 125730"/>
                <a:gd name="connsiteY21" fmla="*/ 45720 h 137160"/>
                <a:gd name="connsiteX22" fmla="*/ 67054 w 125730"/>
                <a:gd name="connsiteY22" fmla="*/ 75718 h 13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5730" h="137160">
                  <a:moveTo>
                    <a:pt x="67054" y="75718"/>
                  </a:moveTo>
                  <a:cubicBezTo>
                    <a:pt x="59945" y="64574"/>
                    <a:pt x="47503" y="57150"/>
                    <a:pt x="33336" y="57150"/>
                  </a:cubicBezTo>
                  <a:cubicBezTo>
                    <a:pt x="19905" y="57150"/>
                    <a:pt x="7447" y="63831"/>
                    <a:pt x="0" y="75032"/>
                  </a:cubicBezTo>
                  <a:lnTo>
                    <a:pt x="9515" y="81359"/>
                  </a:lnTo>
                  <a:cubicBezTo>
                    <a:pt x="14842" y="73358"/>
                    <a:pt x="23746" y="68580"/>
                    <a:pt x="33336" y="68580"/>
                  </a:cubicBezTo>
                  <a:cubicBezTo>
                    <a:pt x="49092" y="68580"/>
                    <a:pt x="61911" y="81399"/>
                    <a:pt x="61911" y="97155"/>
                  </a:cubicBezTo>
                  <a:cubicBezTo>
                    <a:pt x="61911" y="112911"/>
                    <a:pt x="49092" y="125730"/>
                    <a:pt x="33336" y="125730"/>
                  </a:cubicBezTo>
                  <a:lnTo>
                    <a:pt x="33336" y="137160"/>
                  </a:lnTo>
                  <a:cubicBezTo>
                    <a:pt x="55396" y="137160"/>
                    <a:pt x="73341" y="119215"/>
                    <a:pt x="73341" y="97155"/>
                  </a:cubicBezTo>
                  <a:cubicBezTo>
                    <a:pt x="73341" y="93315"/>
                    <a:pt x="72763" y="89617"/>
                    <a:pt x="71752" y="86096"/>
                  </a:cubicBezTo>
                  <a:cubicBezTo>
                    <a:pt x="83079" y="80101"/>
                    <a:pt x="91303" y="69580"/>
                    <a:pt x="94566" y="57327"/>
                  </a:cubicBezTo>
                  <a:cubicBezTo>
                    <a:pt x="95115" y="57287"/>
                    <a:pt x="95646" y="57150"/>
                    <a:pt x="96201" y="57150"/>
                  </a:cubicBezTo>
                  <a:cubicBezTo>
                    <a:pt x="108808" y="57150"/>
                    <a:pt x="119061" y="67403"/>
                    <a:pt x="119061" y="80010"/>
                  </a:cubicBezTo>
                  <a:cubicBezTo>
                    <a:pt x="119061" y="92617"/>
                    <a:pt x="108808" y="102870"/>
                    <a:pt x="96201" y="102870"/>
                  </a:cubicBezTo>
                  <a:lnTo>
                    <a:pt x="96201" y="114300"/>
                  </a:lnTo>
                  <a:cubicBezTo>
                    <a:pt x="115112" y="114300"/>
                    <a:pt x="130491" y="98921"/>
                    <a:pt x="130491" y="80010"/>
                  </a:cubicBezTo>
                  <a:cubicBezTo>
                    <a:pt x="130491" y="61099"/>
                    <a:pt x="115112" y="45720"/>
                    <a:pt x="96201" y="45720"/>
                  </a:cubicBezTo>
                  <a:cubicBezTo>
                    <a:pt x="96201" y="20511"/>
                    <a:pt x="75689" y="0"/>
                    <a:pt x="50481" y="0"/>
                  </a:cubicBezTo>
                  <a:cubicBezTo>
                    <a:pt x="25272" y="0"/>
                    <a:pt x="4761" y="20511"/>
                    <a:pt x="4761" y="45720"/>
                  </a:cubicBezTo>
                  <a:lnTo>
                    <a:pt x="16191" y="45720"/>
                  </a:lnTo>
                  <a:cubicBezTo>
                    <a:pt x="16191" y="26809"/>
                    <a:pt x="31570" y="11430"/>
                    <a:pt x="50481" y="11430"/>
                  </a:cubicBezTo>
                  <a:cubicBezTo>
                    <a:pt x="69392" y="11430"/>
                    <a:pt x="84771" y="26809"/>
                    <a:pt x="84771" y="45720"/>
                  </a:cubicBezTo>
                  <a:cubicBezTo>
                    <a:pt x="84771" y="58242"/>
                    <a:pt x="77810" y="69740"/>
                    <a:pt x="67054" y="75718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4684C113-4572-4E41-AC46-181B051AD679}"/>
                </a:ext>
              </a:extLst>
            </p:cNvPr>
            <p:cNvSpPr/>
            <p:nvPr/>
          </p:nvSpPr>
          <p:spPr>
            <a:xfrm>
              <a:off x="3570445" y="4550006"/>
              <a:ext cx="11430" cy="11430"/>
            </a:xfrm>
            <a:custGeom>
              <a:avLst/>
              <a:gdLst>
                <a:gd name="connsiteX0" fmla="*/ 0 w 11430"/>
                <a:gd name="connsiteY0" fmla="*/ 0 h 11430"/>
                <a:gd name="connsiteX1" fmla="*/ 11430 w 11430"/>
                <a:gd name="connsiteY1" fmla="*/ 0 h 11430"/>
                <a:gd name="connsiteX2" fmla="*/ 11430 w 11430"/>
                <a:gd name="connsiteY2" fmla="*/ 11430 h 11430"/>
                <a:gd name="connsiteX3" fmla="*/ 0 w 11430"/>
                <a:gd name="connsiteY3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" h="11430">
                  <a:moveTo>
                    <a:pt x="0" y="0"/>
                  </a:moveTo>
                  <a:lnTo>
                    <a:pt x="11430" y="0"/>
                  </a:lnTo>
                  <a:lnTo>
                    <a:pt x="11430" y="1143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FD24C7D4-3C27-4179-B9D4-9EBA4E0D6B1E}"/>
                </a:ext>
              </a:extLst>
            </p:cNvPr>
            <p:cNvSpPr/>
            <p:nvPr/>
          </p:nvSpPr>
          <p:spPr>
            <a:xfrm>
              <a:off x="3536155" y="4561436"/>
              <a:ext cx="11430" cy="11430"/>
            </a:xfrm>
            <a:custGeom>
              <a:avLst/>
              <a:gdLst>
                <a:gd name="connsiteX0" fmla="*/ 0 w 11430"/>
                <a:gd name="connsiteY0" fmla="*/ 0 h 11430"/>
                <a:gd name="connsiteX1" fmla="*/ 11430 w 11430"/>
                <a:gd name="connsiteY1" fmla="*/ 0 h 11430"/>
                <a:gd name="connsiteX2" fmla="*/ 11430 w 11430"/>
                <a:gd name="connsiteY2" fmla="*/ 11430 h 11430"/>
                <a:gd name="connsiteX3" fmla="*/ 0 w 11430"/>
                <a:gd name="connsiteY3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" h="11430">
                  <a:moveTo>
                    <a:pt x="0" y="0"/>
                  </a:moveTo>
                  <a:lnTo>
                    <a:pt x="11430" y="0"/>
                  </a:lnTo>
                  <a:lnTo>
                    <a:pt x="11430" y="1143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A3D7B3B8-15C2-46A2-8C7E-79AEDB72F198}"/>
                </a:ext>
              </a:extLst>
            </p:cNvPr>
            <p:cNvSpPr/>
            <p:nvPr/>
          </p:nvSpPr>
          <p:spPr>
            <a:xfrm>
              <a:off x="3559015" y="4572866"/>
              <a:ext cx="11430" cy="11430"/>
            </a:xfrm>
            <a:custGeom>
              <a:avLst/>
              <a:gdLst>
                <a:gd name="connsiteX0" fmla="*/ 0 w 11430"/>
                <a:gd name="connsiteY0" fmla="*/ 0 h 11430"/>
                <a:gd name="connsiteX1" fmla="*/ 11430 w 11430"/>
                <a:gd name="connsiteY1" fmla="*/ 0 h 11430"/>
                <a:gd name="connsiteX2" fmla="*/ 11430 w 11430"/>
                <a:gd name="connsiteY2" fmla="*/ 11430 h 11430"/>
                <a:gd name="connsiteX3" fmla="*/ 0 w 11430"/>
                <a:gd name="connsiteY3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" h="11430">
                  <a:moveTo>
                    <a:pt x="0" y="0"/>
                  </a:moveTo>
                  <a:lnTo>
                    <a:pt x="11430" y="0"/>
                  </a:lnTo>
                  <a:lnTo>
                    <a:pt x="11430" y="1143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7D9FC5EC-4F71-4318-AD45-C12046AB751D}"/>
                </a:ext>
              </a:extLst>
            </p:cNvPr>
            <p:cNvSpPr/>
            <p:nvPr/>
          </p:nvSpPr>
          <p:spPr>
            <a:xfrm>
              <a:off x="3381850" y="4367126"/>
              <a:ext cx="11430" cy="11430"/>
            </a:xfrm>
            <a:custGeom>
              <a:avLst/>
              <a:gdLst>
                <a:gd name="connsiteX0" fmla="*/ 0 w 11430"/>
                <a:gd name="connsiteY0" fmla="*/ 0 h 11430"/>
                <a:gd name="connsiteX1" fmla="*/ 11430 w 11430"/>
                <a:gd name="connsiteY1" fmla="*/ 0 h 11430"/>
                <a:gd name="connsiteX2" fmla="*/ 11430 w 11430"/>
                <a:gd name="connsiteY2" fmla="*/ 11430 h 11430"/>
                <a:gd name="connsiteX3" fmla="*/ 0 w 11430"/>
                <a:gd name="connsiteY3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" h="11430">
                  <a:moveTo>
                    <a:pt x="0" y="0"/>
                  </a:moveTo>
                  <a:lnTo>
                    <a:pt x="11430" y="0"/>
                  </a:lnTo>
                  <a:lnTo>
                    <a:pt x="11430" y="1143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20551A4E-6452-4B03-B8D9-E65FF79AAAF5}"/>
                </a:ext>
              </a:extLst>
            </p:cNvPr>
            <p:cNvSpPr/>
            <p:nvPr/>
          </p:nvSpPr>
          <p:spPr>
            <a:xfrm>
              <a:off x="3416140" y="4355696"/>
              <a:ext cx="11430" cy="11430"/>
            </a:xfrm>
            <a:custGeom>
              <a:avLst/>
              <a:gdLst>
                <a:gd name="connsiteX0" fmla="*/ 0 w 11430"/>
                <a:gd name="connsiteY0" fmla="*/ 0 h 11430"/>
                <a:gd name="connsiteX1" fmla="*/ 11430 w 11430"/>
                <a:gd name="connsiteY1" fmla="*/ 0 h 11430"/>
                <a:gd name="connsiteX2" fmla="*/ 11430 w 11430"/>
                <a:gd name="connsiteY2" fmla="*/ 11430 h 11430"/>
                <a:gd name="connsiteX3" fmla="*/ 0 w 11430"/>
                <a:gd name="connsiteY3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" h="11430">
                  <a:moveTo>
                    <a:pt x="0" y="0"/>
                  </a:moveTo>
                  <a:lnTo>
                    <a:pt x="11430" y="0"/>
                  </a:lnTo>
                  <a:lnTo>
                    <a:pt x="11430" y="1143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635F32E1-0F79-46F1-8F6A-7B9D8C81E985}"/>
                </a:ext>
              </a:extLst>
            </p:cNvPr>
            <p:cNvSpPr/>
            <p:nvPr/>
          </p:nvSpPr>
          <p:spPr>
            <a:xfrm>
              <a:off x="3393280" y="4332836"/>
              <a:ext cx="11430" cy="11430"/>
            </a:xfrm>
            <a:custGeom>
              <a:avLst/>
              <a:gdLst>
                <a:gd name="connsiteX0" fmla="*/ 0 w 11430"/>
                <a:gd name="connsiteY0" fmla="*/ 0 h 11430"/>
                <a:gd name="connsiteX1" fmla="*/ 11430 w 11430"/>
                <a:gd name="connsiteY1" fmla="*/ 0 h 11430"/>
                <a:gd name="connsiteX2" fmla="*/ 11430 w 11430"/>
                <a:gd name="connsiteY2" fmla="*/ 11430 h 11430"/>
                <a:gd name="connsiteX3" fmla="*/ 0 w 11430"/>
                <a:gd name="connsiteY3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30" h="11430">
                  <a:moveTo>
                    <a:pt x="0" y="0"/>
                  </a:moveTo>
                  <a:lnTo>
                    <a:pt x="11430" y="0"/>
                  </a:lnTo>
                  <a:lnTo>
                    <a:pt x="11430" y="11430"/>
                  </a:lnTo>
                  <a:lnTo>
                    <a:pt x="0" y="11430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85" name="Graphic 70">
            <a:extLst>
              <a:ext uri="{FF2B5EF4-FFF2-40B4-BE49-F238E27FC236}">
                <a16:creationId xmlns:a16="http://schemas.microsoft.com/office/drawing/2014/main" id="{039562E4-C637-4C90-B8C3-B0F44E32B78B}"/>
              </a:ext>
            </a:extLst>
          </p:cNvPr>
          <p:cNvGrpSpPr/>
          <p:nvPr/>
        </p:nvGrpSpPr>
        <p:grpSpPr>
          <a:xfrm>
            <a:off x="634730" y="4746562"/>
            <a:ext cx="281996" cy="281996"/>
            <a:chOff x="3774121" y="4321406"/>
            <a:chExt cx="354330" cy="354330"/>
          </a:xfrm>
          <a:solidFill>
            <a:schemeClr val="tx2"/>
          </a:solidFill>
        </p:grpSpPr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F9C0CD4D-8A1A-461D-B388-C8499846FD9C}"/>
                </a:ext>
              </a:extLst>
            </p:cNvPr>
            <p:cNvSpPr/>
            <p:nvPr/>
          </p:nvSpPr>
          <p:spPr>
            <a:xfrm>
              <a:off x="3774121" y="4321406"/>
              <a:ext cx="354330" cy="354330"/>
            </a:xfrm>
            <a:custGeom>
              <a:avLst/>
              <a:gdLst>
                <a:gd name="connsiteX0" fmla="*/ 251460 w 354330"/>
                <a:gd name="connsiteY0" fmla="*/ 295191 h 354330"/>
                <a:gd name="connsiteX1" fmla="*/ 262890 w 354330"/>
                <a:gd name="connsiteY1" fmla="*/ 297180 h 354330"/>
                <a:gd name="connsiteX2" fmla="*/ 297180 w 354330"/>
                <a:gd name="connsiteY2" fmla="*/ 262890 h 354330"/>
                <a:gd name="connsiteX3" fmla="*/ 342900 w 354330"/>
                <a:gd name="connsiteY3" fmla="*/ 217170 h 354330"/>
                <a:gd name="connsiteX4" fmla="*/ 297180 w 354330"/>
                <a:gd name="connsiteY4" fmla="*/ 171450 h 354330"/>
                <a:gd name="connsiteX5" fmla="*/ 297180 w 354330"/>
                <a:gd name="connsiteY5" fmla="*/ 182880 h 354330"/>
                <a:gd name="connsiteX6" fmla="*/ 331470 w 354330"/>
                <a:gd name="connsiteY6" fmla="*/ 217170 h 354330"/>
                <a:gd name="connsiteX7" fmla="*/ 297180 w 354330"/>
                <a:gd name="connsiteY7" fmla="*/ 251460 h 354330"/>
                <a:gd name="connsiteX8" fmla="*/ 295117 w 354330"/>
                <a:gd name="connsiteY8" fmla="*/ 251294 h 354330"/>
                <a:gd name="connsiteX9" fmla="*/ 262890 w 354330"/>
                <a:gd name="connsiteY9" fmla="*/ 228600 h 354330"/>
                <a:gd name="connsiteX10" fmla="*/ 262890 w 354330"/>
                <a:gd name="connsiteY10" fmla="*/ 240030 h 354330"/>
                <a:gd name="connsiteX11" fmla="*/ 285750 w 354330"/>
                <a:gd name="connsiteY11" fmla="*/ 262890 h 354330"/>
                <a:gd name="connsiteX12" fmla="*/ 262890 w 354330"/>
                <a:gd name="connsiteY12" fmla="*/ 285750 h 354330"/>
                <a:gd name="connsiteX13" fmla="*/ 251460 w 354330"/>
                <a:gd name="connsiteY13" fmla="*/ 282630 h 354330"/>
                <a:gd name="connsiteX14" fmla="*/ 251460 w 354330"/>
                <a:gd name="connsiteY14" fmla="*/ 262890 h 354330"/>
                <a:gd name="connsiteX15" fmla="*/ 240030 w 354330"/>
                <a:gd name="connsiteY15" fmla="*/ 251460 h 354330"/>
                <a:gd name="connsiteX16" fmla="*/ 194310 w 354330"/>
                <a:gd name="connsiteY16" fmla="*/ 251460 h 354330"/>
                <a:gd name="connsiteX17" fmla="*/ 182880 w 354330"/>
                <a:gd name="connsiteY17" fmla="*/ 262890 h 354330"/>
                <a:gd name="connsiteX18" fmla="*/ 182880 w 354330"/>
                <a:gd name="connsiteY18" fmla="*/ 342900 h 354330"/>
                <a:gd name="connsiteX19" fmla="*/ 160020 w 354330"/>
                <a:gd name="connsiteY19" fmla="*/ 342900 h 354330"/>
                <a:gd name="connsiteX20" fmla="*/ 160020 w 354330"/>
                <a:gd name="connsiteY20" fmla="*/ 194310 h 354330"/>
                <a:gd name="connsiteX21" fmla="*/ 148590 w 354330"/>
                <a:gd name="connsiteY21" fmla="*/ 182880 h 354330"/>
                <a:gd name="connsiteX22" fmla="*/ 137160 w 354330"/>
                <a:gd name="connsiteY22" fmla="*/ 182880 h 354330"/>
                <a:gd name="connsiteX23" fmla="*/ 114300 w 354330"/>
                <a:gd name="connsiteY23" fmla="*/ 160020 h 354330"/>
                <a:gd name="connsiteX24" fmla="*/ 137160 w 354330"/>
                <a:gd name="connsiteY24" fmla="*/ 137160 h 354330"/>
                <a:gd name="connsiteX25" fmla="*/ 160020 w 354330"/>
                <a:gd name="connsiteY25" fmla="*/ 160020 h 354330"/>
                <a:gd name="connsiteX26" fmla="*/ 171450 w 354330"/>
                <a:gd name="connsiteY26" fmla="*/ 160020 h 354330"/>
                <a:gd name="connsiteX27" fmla="*/ 137160 w 354330"/>
                <a:gd name="connsiteY27" fmla="*/ 125730 h 354330"/>
                <a:gd name="connsiteX28" fmla="*/ 102870 w 354330"/>
                <a:gd name="connsiteY28" fmla="*/ 160020 h 354330"/>
                <a:gd name="connsiteX29" fmla="*/ 91440 w 354330"/>
                <a:gd name="connsiteY29" fmla="*/ 148590 h 354330"/>
                <a:gd name="connsiteX30" fmla="*/ 102870 w 354330"/>
                <a:gd name="connsiteY30" fmla="*/ 137160 h 354330"/>
                <a:gd name="connsiteX31" fmla="*/ 102870 w 354330"/>
                <a:gd name="connsiteY31" fmla="*/ 125730 h 354330"/>
                <a:gd name="connsiteX32" fmla="*/ 80010 w 354330"/>
                <a:gd name="connsiteY32" fmla="*/ 148590 h 354330"/>
                <a:gd name="connsiteX33" fmla="*/ 102870 w 354330"/>
                <a:gd name="connsiteY33" fmla="*/ 171450 h 354330"/>
                <a:gd name="connsiteX34" fmla="*/ 104807 w 354330"/>
                <a:gd name="connsiteY34" fmla="*/ 171273 h 354330"/>
                <a:gd name="connsiteX35" fmla="*/ 111677 w 354330"/>
                <a:gd name="connsiteY35" fmla="*/ 182880 h 354330"/>
                <a:gd name="connsiteX36" fmla="*/ 102870 w 354330"/>
                <a:gd name="connsiteY36" fmla="*/ 182880 h 354330"/>
                <a:gd name="connsiteX37" fmla="*/ 91440 w 354330"/>
                <a:gd name="connsiteY37" fmla="*/ 194310 h 354330"/>
                <a:gd name="connsiteX38" fmla="*/ 91440 w 354330"/>
                <a:gd name="connsiteY38" fmla="*/ 342900 h 354330"/>
                <a:gd name="connsiteX39" fmla="*/ 68580 w 354330"/>
                <a:gd name="connsiteY39" fmla="*/ 342900 h 354330"/>
                <a:gd name="connsiteX40" fmla="*/ 68580 w 354330"/>
                <a:gd name="connsiteY40" fmla="*/ 125730 h 354330"/>
                <a:gd name="connsiteX41" fmla="*/ 57150 w 354330"/>
                <a:gd name="connsiteY41" fmla="*/ 114300 h 354330"/>
                <a:gd name="connsiteX42" fmla="*/ 23969 w 354330"/>
                <a:gd name="connsiteY42" fmla="*/ 114300 h 354330"/>
                <a:gd name="connsiteX43" fmla="*/ 22860 w 354330"/>
                <a:gd name="connsiteY43" fmla="*/ 108585 h 354330"/>
                <a:gd name="connsiteX44" fmla="*/ 40005 w 354330"/>
                <a:gd name="connsiteY44" fmla="*/ 91440 h 354330"/>
                <a:gd name="connsiteX45" fmla="*/ 40005 w 354330"/>
                <a:gd name="connsiteY45" fmla="*/ 80010 h 354330"/>
                <a:gd name="connsiteX46" fmla="*/ 22951 w 354330"/>
                <a:gd name="connsiteY46" fmla="*/ 85794 h 354330"/>
                <a:gd name="connsiteX47" fmla="*/ 11430 w 354330"/>
                <a:gd name="connsiteY47" fmla="*/ 62865 h 354330"/>
                <a:gd name="connsiteX48" fmla="*/ 40005 w 354330"/>
                <a:gd name="connsiteY48" fmla="*/ 34290 h 354330"/>
                <a:gd name="connsiteX49" fmla="*/ 68580 w 354330"/>
                <a:gd name="connsiteY49" fmla="*/ 62865 h 354330"/>
                <a:gd name="connsiteX50" fmla="*/ 80010 w 354330"/>
                <a:gd name="connsiteY50" fmla="*/ 62865 h 354330"/>
                <a:gd name="connsiteX51" fmla="*/ 57321 w 354330"/>
                <a:gd name="connsiteY51" fmla="*/ 26860 h 354330"/>
                <a:gd name="connsiteX52" fmla="*/ 74295 w 354330"/>
                <a:gd name="connsiteY52" fmla="*/ 11430 h 354330"/>
                <a:gd name="connsiteX53" fmla="*/ 91440 w 354330"/>
                <a:gd name="connsiteY53" fmla="*/ 28575 h 354330"/>
                <a:gd name="connsiteX54" fmla="*/ 102870 w 354330"/>
                <a:gd name="connsiteY54" fmla="*/ 28575 h 354330"/>
                <a:gd name="connsiteX55" fmla="*/ 74295 w 354330"/>
                <a:gd name="connsiteY55" fmla="*/ 0 h 354330"/>
                <a:gd name="connsiteX56" fmla="*/ 46246 w 354330"/>
                <a:gd name="connsiteY56" fmla="*/ 23397 h 354330"/>
                <a:gd name="connsiteX57" fmla="*/ 40005 w 354330"/>
                <a:gd name="connsiteY57" fmla="*/ 22860 h 354330"/>
                <a:gd name="connsiteX58" fmla="*/ 0 w 354330"/>
                <a:gd name="connsiteY58" fmla="*/ 62865 h 354330"/>
                <a:gd name="connsiteX59" fmla="*/ 15385 w 354330"/>
                <a:gd name="connsiteY59" fmla="*/ 94338 h 354330"/>
                <a:gd name="connsiteX60" fmla="*/ 11430 w 354330"/>
                <a:gd name="connsiteY60" fmla="*/ 108585 h 354330"/>
                <a:gd name="connsiteX61" fmla="*/ 12070 w 354330"/>
                <a:gd name="connsiteY61" fmla="*/ 114300 h 354330"/>
                <a:gd name="connsiteX62" fmla="*/ 11430 w 354330"/>
                <a:gd name="connsiteY62" fmla="*/ 114300 h 354330"/>
                <a:gd name="connsiteX63" fmla="*/ 0 w 354330"/>
                <a:gd name="connsiteY63" fmla="*/ 125730 h 354330"/>
                <a:gd name="connsiteX64" fmla="*/ 0 w 354330"/>
                <a:gd name="connsiteY64" fmla="*/ 354330 h 354330"/>
                <a:gd name="connsiteX65" fmla="*/ 354330 w 354330"/>
                <a:gd name="connsiteY65" fmla="*/ 354330 h 354330"/>
                <a:gd name="connsiteX66" fmla="*/ 354330 w 354330"/>
                <a:gd name="connsiteY66" fmla="*/ 342900 h 354330"/>
                <a:gd name="connsiteX67" fmla="*/ 251460 w 354330"/>
                <a:gd name="connsiteY67" fmla="*/ 342900 h 354330"/>
                <a:gd name="connsiteX68" fmla="*/ 57150 w 354330"/>
                <a:gd name="connsiteY68" fmla="*/ 125730 h 354330"/>
                <a:gd name="connsiteX69" fmla="*/ 57150 w 354330"/>
                <a:gd name="connsiteY69" fmla="*/ 137160 h 354330"/>
                <a:gd name="connsiteX70" fmla="*/ 11430 w 354330"/>
                <a:gd name="connsiteY70" fmla="*/ 137160 h 354330"/>
                <a:gd name="connsiteX71" fmla="*/ 11430 w 354330"/>
                <a:gd name="connsiteY71" fmla="*/ 125730 h 354330"/>
                <a:gd name="connsiteX72" fmla="*/ 11430 w 354330"/>
                <a:gd name="connsiteY72" fmla="*/ 205740 h 354330"/>
                <a:gd name="connsiteX73" fmla="*/ 11430 w 354330"/>
                <a:gd name="connsiteY73" fmla="*/ 148590 h 354330"/>
                <a:gd name="connsiteX74" fmla="*/ 57150 w 354330"/>
                <a:gd name="connsiteY74" fmla="*/ 148590 h 354330"/>
                <a:gd name="connsiteX75" fmla="*/ 57150 w 354330"/>
                <a:gd name="connsiteY75" fmla="*/ 205740 h 354330"/>
                <a:gd name="connsiteX76" fmla="*/ 57150 w 354330"/>
                <a:gd name="connsiteY76" fmla="*/ 217170 h 354330"/>
                <a:gd name="connsiteX77" fmla="*/ 57150 w 354330"/>
                <a:gd name="connsiteY77" fmla="*/ 274320 h 354330"/>
                <a:gd name="connsiteX78" fmla="*/ 11430 w 354330"/>
                <a:gd name="connsiteY78" fmla="*/ 274320 h 354330"/>
                <a:gd name="connsiteX79" fmla="*/ 11430 w 354330"/>
                <a:gd name="connsiteY79" fmla="*/ 217170 h 354330"/>
                <a:gd name="connsiteX80" fmla="*/ 11430 w 354330"/>
                <a:gd name="connsiteY80" fmla="*/ 342900 h 354330"/>
                <a:gd name="connsiteX81" fmla="*/ 11430 w 354330"/>
                <a:gd name="connsiteY81" fmla="*/ 285750 h 354330"/>
                <a:gd name="connsiteX82" fmla="*/ 57150 w 354330"/>
                <a:gd name="connsiteY82" fmla="*/ 285750 h 354330"/>
                <a:gd name="connsiteX83" fmla="*/ 57150 w 354330"/>
                <a:gd name="connsiteY83" fmla="*/ 342900 h 354330"/>
                <a:gd name="connsiteX84" fmla="*/ 240030 w 354330"/>
                <a:gd name="connsiteY84" fmla="*/ 308610 h 354330"/>
                <a:gd name="connsiteX85" fmla="*/ 194310 w 354330"/>
                <a:gd name="connsiteY85" fmla="*/ 308610 h 354330"/>
                <a:gd name="connsiteX86" fmla="*/ 194310 w 354330"/>
                <a:gd name="connsiteY86" fmla="*/ 285750 h 354330"/>
                <a:gd name="connsiteX87" fmla="*/ 240030 w 354330"/>
                <a:gd name="connsiteY87" fmla="*/ 285750 h 354330"/>
                <a:gd name="connsiteX88" fmla="*/ 240030 w 354330"/>
                <a:gd name="connsiteY88" fmla="*/ 262890 h 354330"/>
                <a:gd name="connsiteX89" fmla="*/ 240030 w 354330"/>
                <a:gd name="connsiteY89" fmla="*/ 274320 h 354330"/>
                <a:gd name="connsiteX90" fmla="*/ 194310 w 354330"/>
                <a:gd name="connsiteY90" fmla="*/ 274320 h 354330"/>
                <a:gd name="connsiteX91" fmla="*/ 194310 w 354330"/>
                <a:gd name="connsiteY91" fmla="*/ 262890 h 354330"/>
                <a:gd name="connsiteX92" fmla="*/ 194310 w 354330"/>
                <a:gd name="connsiteY92" fmla="*/ 320040 h 354330"/>
                <a:gd name="connsiteX93" fmla="*/ 240030 w 354330"/>
                <a:gd name="connsiteY93" fmla="*/ 320040 h 354330"/>
                <a:gd name="connsiteX94" fmla="*/ 240030 w 354330"/>
                <a:gd name="connsiteY94" fmla="*/ 342900 h 354330"/>
                <a:gd name="connsiteX95" fmla="*/ 194310 w 354330"/>
                <a:gd name="connsiteY95" fmla="*/ 342900 h 354330"/>
                <a:gd name="connsiteX96" fmla="*/ 148590 w 354330"/>
                <a:gd name="connsiteY96" fmla="*/ 251460 h 354330"/>
                <a:gd name="connsiteX97" fmla="*/ 102870 w 354330"/>
                <a:gd name="connsiteY97" fmla="*/ 251460 h 354330"/>
                <a:gd name="connsiteX98" fmla="*/ 102870 w 354330"/>
                <a:gd name="connsiteY98" fmla="*/ 217170 h 354330"/>
                <a:gd name="connsiteX99" fmla="*/ 148590 w 354330"/>
                <a:gd name="connsiteY99" fmla="*/ 217170 h 354330"/>
                <a:gd name="connsiteX100" fmla="*/ 148590 w 354330"/>
                <a:gd name="connsiteY100" fmla="*/ 262890 h 354330"/>
                <a:gd name="connsiteX101" fmla="*/ 148590 w 354330"/>
                <a:gd name="connsiteY101" fmla="*/ 297180 h 354330"/>
                <a:gd name="connsiteX102" fmla="*/ 102870 w 354330"/>
                <a:gd name="connsiteY102" fmla="*/ 297180 h 354330"/>
                <a:gd name="connsiteX103" fmla="*/ 102870 w 354330"/>
                <a:gd name="connsiteY103" fmla="*/ 262890 h 354330"/>
                <a:gd name="connsiteX104" fmla="*/ 148590 w 354330"/>
                <a:gd name="connsiteY104" fmla="*/ 194310 h 354330"/>
                <a:gd name="connsiteX105" fmla="*/ 148590 w 354330"/>
                <a:gd name="connsiteY105" fmla="*/ 205740 h 354330"/>
                <a:gd name="connsiteX106" fmla="*/ 102870 w 354330"/>
                <a:gd name="connsiteY106" fmla="*/ 205740 h 354330"/>
                <a:gd name="connsiteX107" fmla="*/ 102870 w 354330"/>
                <a:gd name="connsiteY107" fmla="*/ 194310 h 354330"/>
                <a:gd name="connsiteX108" fmla="*/ 102870 w 354330"/>
                <a:gd name="connsiteY108" fmla="*/ 308610 h 354330"/>
                <a:gd name="connsiteX109" fmla="*/ 148590 w 354330"/>
                <a:gd name="connsiteY109" fmla="*/ 308610 h 354330"/>
                <a:gd name="connsiteX110" fmla="*/ 148590 w 354330"/>
                <a:gd name="connsiteY110" fmla="*/ 342900 h 354330"/>
                <a:gd name="connsiteX111" fmla="*/ 102870 w 354330"/>
                <a:gd name="connsiteY111" fmla="*/ 342900 h 354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354330" h="354330">
                  <a:moveTo>
                    <a:pt x="251460" y="295191"/>
                  </a:moveTo>
                  <a:cubicBezTo>
                    <a:pt x="255095" y="296477"/>
                    <a:pt x="258935" y="297180"/>
                    <a:pt x="262890" y="297180"/>
                  </a:cubicBezTo>
                  <a:cubicBezTo>
                    <a:pt x="281801" y="297180"/>
                    <a:pt x="297180" y="281801"/>
                    <a:pt x="297180" y="262890"/>
                  </a:cubicBezTo>
                  <a:cubicBezTo>
                    <a:pt x="322389" y="262890"/>
                    <a:pt x="342900" y="242379"/>
                    <a:pt x="342900" y="217170"/>
                  </a:cubicBezTo>
                  <a:cubicBezTo>
                    <a:pt x="342900" y="191961"/>
                    <a:pt x="322389" y="171450"/>
                    <a:pt x="297180" y="171450"/>
                  </a:cubicBezTo>
                  <a:lnTo>
                    <a:pt x="297180" y="182880"/>
                  </a:lnTo>
                  <a:cubicBezTo>
                    <a:pt x="316091" y="182880"/>
                    <a:pt x="331470" y="198259"/>
                    <a:pt x="331470" y="217170"/>
                  </a:cubicBezTo>
                  <a:cubicBezTo>
                    <a:pt x="331470" y="236081"/>
                    <a:pt x="316091" y="251460"/>
                    <a:pt x="297180" y="251460"/>
                  </a:cubicBezTo>
                  <a:cubicBezTo>
                    <a:pt x="296494" y="251460"/>
                    <a:pt x="295808" y="251340"/>
                    <a:pt x="295117" y="251294"/>
                  </a:cubicBezTo>
                  <a:cubicBezTo>
                    <a:pt x="290351" y="238087"/>
                    <a:pt x="277726" y="228600"/>
                    <a:pt x="262890" y="228600"/>
                  </a:cubicBezTo>
                  <a:lnTo>
                    <a:pt x="262890" y="240030"/>
                  </a:lnTo>
                  <a:cubicBezTo>
                    <a:pt x="275497" y="240030"/>
                    <a:pt x="285750" y="250283"/>
                    <a:pt x="285750" y="262890"/>
                  </a:cubicBezTo>
                  <a:cubicBezTo>
                    <a:pt x="285750" y="275497"/>
                    <a:pt x="275497" y="285750"/>
                    <a:pt x="262890" y="285750"/>
                  </a:cubicBezTo>
                  <a:cubicBezTo>
                    <a:pt x="258809" y="285750"/>
                    <a:pt x="254923" y="284641"/>
                    <a:pt x="251460" y="282630"/>
                  </a:cubicBezTo>
                  <a:lnTo>
                    <a:pt x="251460" y="262890"/>
                  </a:lnTo>
                  <a:cubicBezTo>
                    <a:pt x="251460" y="256586"/>
                    <a:pt x="246334" y="251460"/>
                    <a:pt x="240030" y="251460"/>
                  </a:cubicBezTo>
                  <a:lnTo>
                    <a:pt x="194310" y="251460"/>
                  </a:lnTo>
                  <a:cubicBezTo>
                    <a:pt x="188006" y="251460"/>
                    <a:pt x="182880" y="256586"/>
                    <a:pt x="182880" y="262890"/>
                  </a:cubicBezTo>
                  <a:lnTo>
                    <a:pt x="182880" y="342900"/>
                  </a:lnTo>
                  <a:lnTo>
                    <a:pt x="160020" y="342900"/>
                  </a:lnTo>
                  <a:lnTo>
                    <a:pt x="160020" y="194310"/>
                  </a:lnTo>
                  <a:cubicBezTo>
                    <a:pt x="160020" y="188006"/>
                    <a:pt x="154894" y="182880"/>
                    <a:pt x="148590" y="182880"/>
                  </a:cubicBezTo>
                  <a:lnTo>
                    <a:pt x="137160" y="182880"/>
                  </a:lnTo>
                  <a:cubicBezTo>
                    <a:pt x="124553" y="182880"/>
                    <a:pt x="114300" y="172627"/>
                    <a:pt x="114300" y="160020"/>
                  </a:cubicBezTo>
                  <a:cubicBezTo>
                    <a:pt x="114300" y="147413"/>
                    <a:pt x="124553" y="137160"/>
                    <a:pt x="137160" y="137160"/>
                  </a:cubicBezTo>
                  <a:cubicBezTo>
                    <a:pt x="149767" y="137160"/>
                    <a:pt x="160020" y="147413"/>
                    <a:pt x="160020" y="160020"/>
                  </a:cubicBezTo>
                  <a:lnTo>
                    <a:pt x="171450" y="160020"/>
                  </a:lnTo>
                  <a:cubicBezTo>
                    <a:pt x="171450" y="141109"/>
                    <a:pt x="156071" y="125730"/>
                    <a:pt x="137160" y="125730"/>
                  </a:cubicBezTo>
                  <a:cubicBezTo>
                    <a:pt x="118249" y="125730"/>
                    <a:pt x="102870" y="141109"/>
                    <a:pt x="102870" y="160020"/>
                  </a:cubicBezTo>
                  <a:cubicBezTo>
                    <a:pt x="96566" y="160020"/>
                    <a:pt x="91440" y="154894"/>
                    <a:pt x="91440" y="148590"/>
                  </a:cubicBezTo>
                  <a:cubicBezTo>
                    <a:pt x="91440" y="142286"/>
                    <a:pt x="96566" y="137160"/>
                    <a:pt x="102870" y="137160"/>
                  </a:cubicBezTo>
                  <a:lnTo>
                    <a:pt x="102870" y="125730"/>
                  </a:lnTo>
                  <a:cubicBezTo>
                    <a:pt x="90263" y="125730"/>
                    <a:pt x="80010" y="135983"/>
                    <a:pt x="80010" y="148590"/>
                  </a:cubicBezTo>
                  <a:cubicBezTo>
                    <a:pt x="80010" y="161197"/>
                    <a:pt x="90263" y="171450"/>
                    <a:pt x="102870" y="171450"/>
                  </a:cubicBezTo>
                  <a:cubicBezTo>
                    <a:pt x="103522" y="171450"/>
                    <a:pt x="104162" y="171330"/>
                    <a:pt x="104807" y="171273"/>
                  </a:cubicBezTo>
                  <a:cubicBezTo>
                    <a:pt x="106322" y="175605"/>
                    <a:pt x="108671" y="179531"/>
                    <a:pt x="111677" y="182880"/>
                  </a:cubicBezTo>
                  <a:lnTo>
                    <a:pt x="102870" y="182880"/>
                  </a:lnTo>
                  <a:cubicBezTo>
                    <a:pt x="96566" y="182880"/>
                    <a:pt x="91440" y="188006"/>
                    <a:pt x="91440" y="194310"/>
                  </a:cubicBezTo>
                  <a:lnTo>
                    <a:pt x="91440" y="342900"/>
                  </a:lnTo>
                  <a:lnTo>
                    <a:pt x="68580" y="342900"/>
                  </a:lnTo>
                  <a:lnTo>
                    <a:pt x="68580" y="125730"/>
                  </a:lnTo>
                  <a:cubicBezTo>
                    <a:pt x="68580" y="119426"/>
                    <a:pt x="63454" y="114300"/>
                    <a:pt x="57150" y="114300"/>
                  </a:cubicBezTo>
                  <a:lnTo>
                    <a:pt x="23969" y="114300"/>
                  </a:lnTo>
                  <a:cubicBezTo>
                    <a:pt x="23317" y="112460"/>
                    <a:pt x="22860" y="110557"/>
                    <a:pt x="22860" y="108585"/>
                  </a:cubicBezTo>
                  <a:cubicBezTo>
                    <a:pt x="22860" y="99132"/>
                    <a:pt x="30552" y="91440"/>
                    <a:pt x="40005" y="91440"/>
                  </a:cubicBezTo>
                  <a:lnTo>
                    <a:pt x="40005" y="80010"/>
                  </a:lnTo>
                  <a:cubicBezTo>
                    <a:pt x="33593" y="80010"/>
                    <a:pt x="27723" y="82210"/>
                    <a:pt x="22951" y="85794"/>
                  </a:cubicBezTo>
                  <a:cubicBezTo>
                    <a:pt x="15762" y="80444"/>
                    <a:pt x="11430" y="71963"/>
                    <a:pt x="11430" y="62865"/>
                  </a:cubicBezTo>
                  <a:cubicBezTo>
                    <a:pt x="11430" y="47109"/>
                    <a:pt x="24249" y="34290"/>
                    <a:pt x="40005" y="34290"/>
                  </a:cubicBezTo>
                  <a:cubicBezTo>
                    <a:pt x="55761" y="34290"/>
                    <a:pt x="68580" y="47109"/>
                    <a:pt x="68580" y="62865"/>
                  </a:cubicBezTo>
                  <a:lnTo>
                    <a:pt x="80010" y="62865"/>
                  </a:lnTo>
                  <a:cubicBezTo>
                    <a:pt x="80010" y="47017"/>
                    <a:pt x="70723" y="33330"/>
                    <a:pt x="57321" y="26860"/>
                  </a:cubicBezTo>
                  <a:cubicBezTo>
                    <a:pt x="58202" y="18219"/>
                    <a:pt x="65431" y="11430"/>
                    <a:pt x="74295" y="11430"/>
                  </a:cubicBezTo>
                  <a:cubicBezTo>
                    <a:pt x="83748" y="11430"/>
                    <a:pt x="91440" y="19122"/>
                    <a:pt x="91440" y="28575"/>
                  </a:cubicBezTo>
                  <a:lnTo>
                    <a:pt x="102870" y="28575"/>
                  </a:lnTo>
                  <a:cubicBezTo>
                    <a:pt x="102870" y="12819"/>
                    <a:pt x="90051" y="0"/>
                    <a:pt x="74295" y="0"/>
                  </a:cubicBezTo>
                  <a:cubicBezTo>
                    <a:pt x="60310" y="0"/>
                    <a:pt x="48692" y="10110"/>
                    <a:pt x="46246" y="23397"/>
                  </a:cubicBezTo>
                  <a:cubicBezTo>
                    <a:pt x="44206" y="23077"/>
                    <a:pt x="42131" y="22860"/>
                    <a:pt x="40005" y="22860"/>
                  </a:cubicBezTo>
                  <a:cubicBezTo>
                    <a:pt x="17945" y="22860"/>
                    <a:pt x="0" y="40805"/>
                    <a:pt x="0" y="62865"/>
                  </a:cubicBezTo>
                  <a:cubicBezTo>
                    <a:pt x="0" y="75272"/>
                    <a:pt x="5789" y="86822"/>
                    <a:pt x="15385" y="94338"/>
                  </a:cubicBezTo>
                  <a:cubicBezTo>
                    <a:pt x="12939" y="98549"/>
                    <a:pt x="11430" y="103373"/>
                    <a:pt x="11430" y="108585"/>
                  </a:cubicBezTo>
                  <a:cubicBezTo>
                    <a:pt x="11430" y="110517"/>
                    <a:pt x="11687" y="112425"/>
                    <a:pt x="12070" y="114300"/>
                  </a:cubicBezTo>
                  <a:lnTo>
                    <a:pt x="11430" y="114300"/>
                  </a:lnTo>
                  <a:cubicBezTo>
                    <a:pt x="5126" y="114300"/>
                    <a:pt x="0" y="119426"/>
                    <a:pt x="0" y="125730"/>
                  </a:cubicBezTo>
                  <a:lnTo>
                    <a:pt x="0" y="354330"/>
                  </a:lnTo>
                  <a:lnTo>
                    <a:pt x="354330" y="354330"/>
                  </a:lnTo>
                  <a:lnTo>
                    <a:pt x="354330" y="342900"/>
                  </a:lnTo>
                  <a:lnTo>
                    <a:pt x="251460" y="342900"/>
                  </a:lnTo>
                  <a:close/>
                  <a:moveTo>
                    <a:pt x="57150" y="125730"/>
                  </a:moveTo>
                  <a:lnTo>
                    <a:pt x="57150" y="137160"/>
                  </a:lnTo>
                  <a:lnTo>
                    <a:pt x="11430" y="137160"/>
                  </a:lnTo>
                  <a:lnTo>
                    <a:pt x="11430" y="125730"/>
                  </a:lnTo>
                  <a:close/>
                  <a:moveTo>
                    <a:pt x="11430" y="205740"/>
                  </a:moveTo>
                  <a:lnTo>
                    <a:pt x="11430" y="148590"/>
                  </a:lnTo>
                  <a:lnTo>
                    <a:pt x="57150" y="148590"/>
                  </a:lnTo>
                  <a:lnTo>
                    <a:pt x="57150" y="205740"/>
                  </a:lnTo>
                  <a:close/>
                  <a:moveTo>
                    <a:pt x="57150" y="217170"/>
                  </a:moveTo>
                  <a:lnTo>
                    <a:pt x="57150" y="274320"/>
                  </a:lnTo>
                  <a:lnTo>
                    <a:pt x="11430" y="274320"/>
                  </a:lnTo>
                  <a:lnTo>
                    <a:pt x="11430" y="217170"/>
                  </a:lnTo>
                  <a:close/>
                  <a:moveTo>
                    <a:pt x="11430" y="342900"/>
                  </a:moveTo>
                  <a:lnTo>
                    <a:pt x="11430" y="285750"/>
                  </a:lnTo>
                  <a:lnTo>
                    <a:pt x="57150" y="285750"/>
                  </a:lnTo>
                  <a:lnTo>
                    <a:pt x="57150" y="342900"/>
                  </a:lnTo>
                  <a:close/>
                  <a:moveTo>
                    <a:pt x="240030" y="308610"/>
                  </a:moveTo>
                  <a:lnTo>
                    <a:pt x="194310" y="308610"/>
                  </a:lnTo>
                  <a:lnTo>
                    <a:pt x="194310" y="285750"/>
                  </a:lnTo>
                  <a:lnTo>
                    <a:pt x="240030" y="285750"/>
                  </a:lnTo>
                  <a:close/>
                  <a:moveTo>
                    <a:pt x="240030" y="262890"/>
                  </a:moveTo>
                  <a:lnTo>
                    <a:pt x="240030" y="274320"/>
                  </a:lnTo>
                  <a:lnTo>
                    <a:pt x="194310" y="274320"/>
                  </a:lnTo>
                  <a:lnTo>
                    <a:pt x="194310" y="262890"/>
                  </a:lnTo>
                  <a:close/>
                  <a:moveTo>
                    <a:pt x="194310" y="320040"/>
                  </a:moveTo>
                  <a:lnTo>
                    <a:pt x="240030" y="320040"/>
                  </a:lnTo>
                  <a:lnTo>
                    <a:pt x="240030" y="342900"/>
                  </a:lnTo>
                  <a:lnTo>
                    <a:pt x="194310" y="342900"/>
                  </a:lnTo>
                  <a:close/>
                  <a:moveTo>
                    <a:pt x="148590" y="251460"/>
                  </a:moveTo>
                  <a:lnTo>
                    <a:pt x="102870" y="251460"/>
                  </a:lnTo>
                  <a:lnTo>
                    <a:pt x="102870" y="217170"/>
                  </a:lnTo>
                  <a:lnTo>
                    <a:pt x="148590" y="217170"/>
                  </a:lnTo>
                  <a:close/>
                  <a:moveTo>
                    <a:pt x="148590" y="262890"/>
                  </a:moveTo>
                  <a:lnTo>
                    <a:pt x="148590" y="297180"/>
                  </a:lnTo>
                  <a:lnTo>
                    <a:pt x="102870" y="297180"/>
                  </a:lnTo>
                  <a:lnTo>
                    <a:pt x="102870" y="262890"/>
                  </a:lnTo>
                  <a:close/>
                  <a:moveTo>
                    <a:pt x="148590" y="194310"/>
                  </a:moveTo>
                  <a:lnTo>
                    <a:pt x="148590" y="205740"/>
                  </a:lnTo>
                  <a:lnTo>
                    <a:pt x="102870" y="205740"/>
                  </a:lnTo>
                  <a:lnTo>
                    <a:pt x="102870" y="194310"/>
                  </a:lnTo>
                  <a:close/>
                  <a:moveTo>
                    <a:pt x="102870" y="308610"/>
                  </a:moveTo>
                  <a:lnTo>
                    <a:pt x="148590" y="308610"/>
                  </a:lnTo>
                  <a:lnTo>
                    <a:pt x="148590" y="342900"/>
                  </a:lnTo>
                  <a:lnTo>
                    <a:pt x="102870" y="342900"/>
                  </a:ln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2D3A1D92-01C1-4DA6-B897-6F6A1B95243D}"/>
                </a:ext>
              </a:extLst>
            </p:cNvPr>
            <p:cNvSpPr/>
            <p:nvPr/>
          </p:nvSpPr>
          <p:spPr>
            <a:xfrm>
              <a:off x="3848416" y="4395701"/>
              <a:ext cx="28575" cy="28575"/>
            </a:xfrm>
            <a:custGeom>
              <a:avLst/>
              <a:gdLst>
                <a:gd name="connsiteX0" fmla="*/ 0 w 28575"/>
                <a:gd name="connsiteY0" fmla="*/ 17145 h 28575"/>
                <a:gd name="connsiteX1" fmla="*/ 0 w 28575"/>
                <a:gd name="connsiteY1" fmla="*/ 28575 h 28575"/>
                <a:gd name="connsiteX2" fmla="*/ 28575 w 28575"/>
                <a:gd name="connsiteY2" fmla="*/ 0 h 28575"/>
                <a:gd name="connsiteX3" fmla="*/ 17145 w 28575"/>
                <a:gd name="connsiteY3" fmla="*/ 0 h 28575"/>
                <a:gd name="connsiteX4" fmla="*/ 0 w 28575"/>
                <a:gd name="connsiteY4" fmla="*/ 1714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" h="28575">
                  <a:moveTo>
                    <a:pt x="0" y="17145"/>
                  </a:moveTo>
                  <a:lnTo>
                    <a:pt x="0" y="28575"/>
                  </a:lnTo>
                  <a:cubicBezTo>
                    <a:pt x="15756" y="28575"/>
                    <a:pt x="28575" y="15756"/>
                    <a:pt x="28575" y="0"/>
                  </a:cubicBezTo>
                  <a:lnTo>
                    <a:pt x="17145" y="0"/>
                  </a:lnTo>
                  <a:cubicBezTo>
                    <a:pt x="17145" y="9453"/>
                    <a:pt x="9453" y="17145"/>
                    <a:pt x="0" y="17145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F6C68CC1-2B12-45FC-9DCE-C1F6938C7FCA}"/>
                </a:ext>
              </a:extLst>
            </p:cNvPr>
            <p:cNvSpPr/>
            <p:nvPr/>
          </p:nvSpPr>
          <p:spPr>
            <a:xfrm>
              <a:off x="4037011" y="4332836"/>
              <a:ext cx="91440" cy="91440"/>
            </a:xfrm>
            <a:custGeom>
              <a:avLst/>
              <a:gdLst>
                <a:gd name="connsiteX0" fmla="*/ 45720 w 91440"/>
                <a:gd name="connsiteY0" fmla="*/ 91440 h 91440"/>
                <a:gd name="connsiteX1" fmla="*/ 91440 w 91440"/>
                <a:gd name="connsiteY1" fmla="*/ 45720 h 91440"/>
                <a:gd name="connsiteX2" fmla="*/ 45720 w 91440"/>
                <a:gd name="connsiteY2" fmla="*/ 0 h 91440"/>
                <a:gd name="connsiteX3" fmla="*/ 45720 w 91440"/>
                <a:gd name="connsiteY3" fmla="*/ 11430 h 91440"/>
                <a:gd name="connsiteX4" fmla="*/ 80010 w 91440"/>
                <a:gd name="connsiteY4" fmla="*/ 45720 h 91440"/>
                <a:gd name="connsiteX5" fmla="*/ 45720 w 91440"/>
                <a:gd name="connsiteY5" fmla="*/ 80010 h 91440"/>
                <a:gd name="connsiteX6" fmla="*/ 11430 w 91440"/>
                <a:gd name="connsiteY6" fmla="*/ 45720 h 91440"/>
                <a:gd name="connsiteX7" fmla="*/ 0 w 91440"/>
                <a:gd name="connsiteY7" fmla="*/ 45720 h 91440"/>
                <a:gd name="connsiteX8" fmla="*/ 45720 w 91440"/>
                <a:gd name="connsiteY8" fmla="*/ 9144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1440" h="91440">
                  <a:moveTo>
                    <a:pt x="45720" y="91440"/>
                  </a:moveTo>
                  <a:cubicBezTo>
                    <a:pt x="70929" y="91440"/>
                    <a:pt x="91440" y="70929"/>
                    <a:pt x="91440" y="45720"/>
                  </a:cubicBezTo>
                  <a:cubicBezTo>
                    <a:pt x="91440" y="20511"/>
                    <a:pt x="70929" y="0"/>
                    <a:pt x="45720" y="0"/>
                  </a:cubicBezTo>
                  <a:lnTo>
                    <a:pt x="45720" y="11430"/>
                  </a:lnTo>
                  <a:cubicBezTo>
                    <a:pt x="64631" y="11430"/>
                    <a:pt x="80010" y="26809"/>
                    <a:pt x="80010" y="45720"/>
                  </a:cubicBezTo>
                  <a:cubicBezTo>
                    <a:pt x="80010" y="64631"/>
                    <a:pt x="64631" y="80010"/>
                    <a:pt x="45720" y="80010"/>
                  </a:cubicBezTo>
                  <a:cubicBezTo>
                    <a:pt x="26809" y="80010"/>
                    <a:pt x="11430" y="64631"/>
                    <a:pt x="11430" y="45720"/>
                  </a:cubicBezTo>
                  <a:lnTo>
                    <a:pt x="0" y="45720"/>
                  </a:lnTo>
                  <a:cubicBezTo>
                    <a:pt x="0" y="70929"/>
                    <a:pt x="20511" y="91440"/>
                    <a:pt x="45720" y="9144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4FE56880-84D7-4CA8-8696-83FCCE46FF62}"/>
                </a:ext>
              </a:extLst>
            </p:cNvPr>
            <p:cNvSpPr/>
            <p:nvPr/>
          </p:nvSpPr>
          <p:spPr>
            <a:xfrm>
              <a:off x="4082731" y="4355696"/>
              <a:ext cx="22860" cy="22860"/>
            </a:xfrm>
            <a:custGeom>
              <a:avLst/>
              <a:gdLst>
                <a:gd name="connsiteX0" fmla="*/ 11430 w 22860"/>
                <a:gd name="connsiteY0" fmla="*/ 22860 h 22860"/>
                <a:gd name="connsiteX1" fmla="*/ 22860 w 22860"/>
                <a:gd name="connsiteY1" fmla="*/ 22860 h 22860"/>
                <a:gd name="connsiteX2" fmla="*/ 0 w 22860"/>
                <a:gd name="connsiteY2" fmla="*/ 0 h 22860"/>
                <a:gd name="connsiteX3" fmla="*/ 0 w 22860"/>
                <a:gd name="connsiteY3" fmla="*/ 11430 h 22860"/>
                <a:gd name="connsiteX4" fmla="*/ 11430 w 22860"/>
                <a:gd name="connsiteY4" fmla="*/ 22860 h 22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" h="22860">
                  <a:moveTo>
                    <a:pt x="11430" y="22860"/>
                  </a:moveTo>
                  <a:lnTo>
                    <a:pt x="22860" y="22860"/>
                  </a:lnTo>
                  <a:cubicBezTo>
                    <a:pt x="22860" y="10253"/>
                    <a:pt x="12607" y="0"/>
                    <a:pt x="0" y="0"/>
                  </a:cubicBezTo>
                  <a:lnTo>
                    <a:pt x="0" y="11430"/>
                  </a:lnTo>
                  <a:cubicBezTo>
                    <a:pt x="6304" y="11430"/>
                    <a:pt x="11430" y="16556"/>
                    <a:pt x="11430" y="2286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7280279C-1FAF-4998-8307-6EF9B0996F15}"/>
                </a:ext>
              </a:extLst>
            </p:cNvPr>
            <p:cNvSpPr/>
            <p:nvPr/>
          </p:nvSpPr>
          <p:spPr>
            <a:xfrm>
              <a:off x="3922711" y="4344266"/>
              <a:ext cx="57150" cy="28575"/>
            </a:xfrm>
            <a:custGeom>
              <a:avLst/>
              <a:gdLst>
                <a:gd name="connsiteX0" fmla="*/ 45720 w 57150"/>
                <a:gd name="connsiteY0" fmla="*/ 28575 h 28575"/>
                <a:gd name="connsiteX1" fmla="*/ 57150 w 57150"/>
                <a:gd name="connsiteY1" fmla="*/ 28575 h 28575"/>
                <a:gd name="connsiteX2" fmla="*/ 28575 w 57150"/>
                <a:gd name="connsiteY2" fmla="*/ 0 h 28575"/>
                <a:gd name="connsiteX3" fmla="*/ 0 w 57150"/>
                <a:gd name="connsiteY3" fmla="*/ 28575 h 28575"/>
                <a:gd name="connsiteX4" fmla="*/ 11430 w 57150"/>
                <a:gd name="connsiteY4" fmla="*/ 28575 h 28575"/>
                <a:gd name="connsiteX5" fmla="*/ 28575 w 57150"/>
                <a:gd name="connsiteY5" fmla="*/ 11430 h 28575"/>
                <a:gd name="connsiteX6" fmla="*/ 45720 w 57150"/>
                <a:gd name="connsiteY6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150" h="28575">
                  <a:moveTo>
                    <a:pt x="45720" y="28575"/>
                  </a:moveTo>
                  <a:lnTo>
                    <a:pt x="57150" y="28575"/>
                  </a:lnTo>
                  <a:cubicBezTo>
                    <a:pt x="57150" y="12819"/>
                    <a:pt x="44331" y="0"/>
                    <a:pt x="28575" y="0"/>
                  </a:cubicBezTo>
                  <a:cubicBezTo>
                    <a:pt x="12819" y="0"/>
                    <a:pt x="0" y="12819"/>
                    <a:pt x="0" y="28575"/>
                  </a:cubicBezTo>
                  <a:lnTo>
                    <a:pt x="11430" y="28575"/>
                  </a:lnTo>
                  <a:cubicBezTo>
                    <a:pt x="11430" y="19122"/>
                    <a:pt x="19122" y="11430"/>
                    <a:pt x="28575" y="11430"/>
                  </a:cubicBezTo>
                  <a:cubicBezTo>
                    <a:pt x="38028" y="11430"/>
                    <a:pt x="45720" y="19122"/>
                    <a:pt x="45720" y="28575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C0014F1B-7BFE-40D2-8860-3CE60C5637B7}"/>
                </a:ext>
              </a:extLst>
            </p:cNvPr>
            <p:cNvSpPr/>
            <p:nvPr/>
          </p:nvSpPr>
          <p:spPr>
            <a:xfrm>
              <a:off x="3894136" y="4321406"/>
              <a:ext cx="142875" cy="114300"/>
            </a:xfrm>
            <a:custGeom>
              <a:avLst/>
              <a:gdLst>
                <a:gd name="connsiteX0" fmla="*/ 30552 w 142875"/>
                <a:gd name="connsiteY0" fmla="*/ 95378 h 114300"/>
                <a:gd name="connsiteX1" fmla="*/ 57150 w 142875"/>
                <a:gd name="connsiteY1" fmla="*/ 102870 h 114300"/>
                <a:gd name="connsiteX2" fmla="*/ 57150 w 142875"/>
                <a:gd name="connsiteY2" fmla="*/ 91440 h 114300"/>
                <a:gd name="connsiteX3" fmla="*/ 17145 w 142875"/>
                <a:gd name="connsiteY3" fmla="*/ 51435 h 114300"/>
                <a:gd name="connsiteX4" fmla="*/ 57150 w 142875"/>
                <a:gd name="connsiteY4" fmla="*/ 11430 h 114300"/>
                <a:gd name="connsiteX5" fmla="*/ 97155 w 142875"/>
                <a:gd name="connsiteY5" fmla="*/ 51435 h 114300"/>
                <a:gd name="connsiteX6" fmla="*/ 108585 w 142875"/>
                <a:gd name="connsiteY6" fmla="*/ 51435 h 114300"/>
                <a:gd name="connsiteX7" fmla="*/ 98767 w 142875"/>
                <a:gd name="connsiteY7" fmla="*/ 21334 h 114300"/>
                <a:gd name="connsiteX8" fmla="*/ 114300 w 142875"/>
                <a:gd name="connsiteY8" fmla="*/ 11430 h 114300"/>
                <a:gd name="connsiteX9" fmla="*/ 131445 w 142875"/>
                <a:gd name="connsiteY9" fmla="*/ 28575 h 114300"/>
                <a:gd name="connsiteX10" fmla="*/ 142875 w 142875"/>
                <a:gd name="connsiteY10" fmla="*/ 28575 h 114300"/>
                <a:gd name="connsiteX11" fmla="*/ 114300 w 142875"/>
                <a:gd name="connsiteY11" fmla="*/ 0 h 114300"/>
                <a:gd name="connsiteX12" fmla="*/ 90691 w 142875"/>
                <a:gd name="connsiteY12" fmla="*/ 12527 h 114300"/>
                <a:gd name="connsiteX13" fmla="*/ 57150 w 142875"/>
                <a:gd name="connsiteY13" fmla="*/ 0 h 114300"/>
                <a:gd name="connsiteX14" fmla="*/ 5715 w 142875"/>
                <a:gd name="connsiteY14" fmla="*/ 51435 h 114300"/>
                <a:gd name="connsiteX15" fmla="*/ 21288 w 142875"/>
                <a:gd name="connsiteY15" fmla="*/ 88234 h 114300"/>
                <a:gd name="connsiteX16" fmla="*/ 0 w 142875"/>
                <a:gd name="connsiteY16" fmla="*/ 102870 h 114300"/>
                <a:gd name="connsiteX17" fmla="*/ 0 w 142875"/>
                <a:gd name="connsiteY17" fmla="*/ 114300 h 114300"/>
                <a:gd name="connsiteX18" fmla="*/ 30552 w 142875"/>
                <a:gd name="connsiteY18" fmla="*/ 95378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2875" h="114300">
                  <a:moveTo>
                    <a:pt x="30552" y="95378"/>
                  </a:moveTo>
                  <a:cubicBezTo>
                    <a:pt x="38325" y="100098"/>
                    <a:pt x="47412" y="102870"/>
                    <a:pt x="57150" y="102870"/>
                  </a:cubicBezTo>
                  <a:lnTo>
                    <a:pt x="57150" y="91440"/>
                  </a:lnTo>
                  <a:cubicBezTo>
                    <a:pt x="35090" y="91440"/>
                    <a:pt x="17145" y="73495"/>
                    <a:pt x="17145" y="51435"/>
                  </a:cubicBezTo>
                  <a:cubicBezTo>
                    <a:pt x="17145" y="29375"/>
                    <a:pt x="35090" y="11430"/>
                    <a:pt x="57150" y="11430"/>
                  </a:cubicBezTo>
                  <a:cubicBezTo>
                    <a:pt x="79210" y="11430"/>
                    <a:pt x="97155" y="29375"/>
                    <a:pt x="97155" y="51435"/>
                  </a:cubicBezTo>
                  <a:lnTo>
                    <a:pt x="108585" y="51435"/>
                  </a:lnTo>
                  <a:cubicBezTo>
                    <a:pt x="108585" y="40188"/>
                    <a:pt x="104916" y="29809"/>
                    <a:pt x="98767" y="21334"/>
                  </a:cubicBezTo>
                  <a:cubicBezTo>
                    <a:pt x="101550" y="15396"/>
                    <a:pt x="107596" y="11430"/>
                    <a:pt x="114300" y="11430"/>
                  </a:cubicBezTo>
                  <a:cubicBezTo>
                    <a:pt x="123753" y="11430"/>
                    <a:pt x="131445" y="19122"/>
                    <a:pt x="131445" y="28575"/>
                  </a:cubicBezTo>
                  <a:lnTo>
                    <a:pt x="142875" y="28575"/>
                  </a:lnTo>
                  <a:cubicBezTo>
                    <a:pt x="142875" y="12819"/>
                    <a:pt x="130056" y="0"/>
                    <a:pt x="114300" y="0"/>
                  </a:cubicBezTo>
                  <a:cubicBezTo>
                    <a:pt x="104710" y="0"/>
                    <a:pt x="95921" y="4881"/>
                    <a:pt x="90691" y="12527"/>
                  </a:cubicBezTo>
                  <a:cubicBezTo>
                    <a:pt x="81673" y="4743"/>
                    <a:pt x="69969" y="0"/>
                    <a:pt x="57150" y="0"/>
                  </a:cubicBezTo>
                  <a:cubicBezTo>
                    <a:pt x="28792" y="0"/>
                    <a:pt x="5715" y="23077"/>
                    <a:pt x="5715" y="51435"/>
                  </a:cubicBezTo>
                  <a:cubicBezTo>
                    <a:pt x="5715" y="65854"/>
                    <a:pt x="11699" y="78884"/>
                    <a:pt x="21288" y="88234"/>
                  </a:cubicBezTo>
                  <a:cubicBezTo>
                    <a:pt x="17939" y="96972"/>
                    <a:pt x="9613" y="102870"/>
                    <a:pt x="0" y="102870"/>
                  </a:cubicBezTo>
                  <a:lnTo>
                    <a:pt x="0" y="114300"/>
                  </a:lnTo>
                  <a:cubicBezTo>
                    <a:pt x="13265" y="114300"/>
                    <a:pt x="24855" y="106779"/>
                    <a:pt x="30552" y="95378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ABCA24CD-33F2-4D63-84A8-2F8A9599068F}"/>
                </a:ext>
              </a:extLst>
            </p:cNvPr>
            <p:cNvSpPr/>
            <p:nvPr/>
          </p:nvSpPr>
          <p:spPr>
            <a:xfrm>
              <a:off x="4025581" y="4487141"/>
              <a:ext cx="45720" cy="45720"/>
            </a:xfrm>
            <a:custGeom>
              <a:avLst/>
              <a:gdLst>
                <a:gd name="connsiteX0" fmla="*/ 45720 w 45720"/>
                <a:gd name="connsiteY0" fmla="*/ 45720 h 45720"/>
                <a:gd name="connsiteX1" fmla="*/ 45720 w 45720"/>
                <a:gd name="connsiteY1" fmla="*/ 34290 h 45720"/>
                <a:gd name="connsiteX2" fmla="*/ 11430 w 45720"/>
                <a:gd name="connsiteY2" fmla="*/ 0 h 45720"/>
                <a:gd name="connsiteX3" fmla="*/ 0 w 45720"/>
                <a:gd name="connsiteY3" fmla="*/ 0 h 45720"/>
                <a:gd name="connsiteX4" fmla="*/ 45720 w 45720"/>
                <a:gd name="connsiteY4" fmla="*/ 45720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20" h="45720">
                  <a:moveTo>
                    <a:pt x="45720" y="45720"/>
                  </a:moveTo>
                  <a:lnTo>
                    <a:pt x="45720" y="34290"/>
                  </a:lnTo>
                  <a:cubicBezTo>
                    <a:pt x="26809" y="34290"/>
                    <a:pt x="11430" y="18911"/>
                    <a:pt x="11430" y="0"/>
                  </a:cubicBezTo>
                  <a:lnTo>
                    <a:pt x="0" y="0"/>
                  </a:lnTo>
                  <a:cubicBezTo>
                    <a:pt x="0" y="25209"/>
                    <a:pt x="20511" y="45720"/>
                    <a:pt x="45720" y="4572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EC09D08F-A92E-435B-A09F-DE34D1673D97}"/>
                </a:ext>
              </a:extLst>
            </p:cNvPr>
            <p:cNvSpPr/>
            <p:nvPr/>
          </p:nvSpPr>
          <p:spPr>
            <a:xfrm>
              <a:off x="4071301" y="4447136"/>
              <a:ext cx="45720" cy="45720"/>
            </a:xfrm>
            <a:custGeom>
              <a:avLst/>
              <a:gdLst>
                <a:gd name="connsiteX0" fmla="*/ 0 w 45720"/>
                <a:gd name="connsiteY0" fmla="*/ 0 h 45720"/>
                <a:gd name="connsiteX1" fmla="*/ 0 w 45720"/>
                <a:gd name="connsiteY1" fmla="*/ 11430 h 45720"/>
                <a:gd name="connsiteX2" fmla="*/ 34290 w 45720"/>
                <a:gd name="connsiteY2" fmla="*/ 45720 h 45720"/>
                <a:gd name="connsiteX3" fmla="*/ 45720 w 45720"/>
                <a:gd name="connsiteY3" fmla="*/ 45720 h 45720"/>
                <a:gd name="connsiteX4" fmla="*/ 0 w 45720"/>
                <a:gd name="connsiteY4" fmla="*/ 0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720" h="45720">
                  <a:moveTo>
                    <a:pt x="0" y="0"/>
                  </a:moveTo>
                  <a:lnTo>
                    <a:pt x="0" y="11430"/>
                  </a:lnTo>
                  <a:cubicBezTo>
                    <a:pt x="18911" y="11430"/>
                    <a:pt x="34290" y="26809"/>
                    <a:pt x="34290" y="45720"/>
                  </a:cubicBezTo>
                  <a:lnTo>
                    <a:pt x="45720" y="45720"/>
                  </a:lnTo>
                  <a:cubicBezTo>
                    <a:pt x="45720" y="20511"/>
                    <a:pt x="25209" y="0"/>
                    <a:pt x="0" y="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7DE8821D-C655-46D9-A670-D188A8E8660F}"/>
                </a:ext>
              </a:extLst>
            </p:cNvPr>
            <p:cNvSpPr/>
            <p:nvPr/>
          </p:nvSpPr>
          <p:spPr>
            <a:xfrm>
              <a:off x="3957001" y="4492856"/>
              <a:ext cx="68580" cy="68580"/>
            </a:xfrm>
            <a:custGeom>
              <a:avLst/>
              <a:gdLst>
                <a:gd name="connsiteX0" fmla="*/ 34290 w 68580"/>
                <a:gd name="connsiteY0" fmla="*/ 11430 h 68580"/>
                <a:gd name="connsiteX1" fmla="*/ 57150 w 68580"/>
                <a:gd name="connsiteY1" fmla="*/ 34290 h 68580"/>
                <a:gd name="connsiteX2" fmla="*/ 68580 w 68580"/>
                <a:gd name="connsiteY2" fmla="*/ 34290 h 68580"/>
                <a:gd name="connsiteX3" fmla="*/ 34290 w 68580"/>
                <a:gd name="connsiteY3" fmla="*/ 0 h 68580"/>
                <a:gd name="connsiteX4" fmla="*/ 0 w 68580"/>
                <a:gd name="connsiteY4" fmla="*/ 34290 h 68580"/>
                <a:gd name="connsiteX5" fmla="*/ 5886 w 68580"/>
                <a:gd name="connsiteY5" fmla="*/ 53412 h 68580"/>
                <a:gd name="connsiteX6" fmla="*/ 0 w 68580"/>
                <a:gd name="connsiteY6" fmla="*/ 68580 h 68580"/>
                <a:gd name="connsiteX7" fmla="*/ 11430 w 68580"/>
                <a:gd name="connsiteY7" fmla="*/ 68580 h 68580"/>
                <a:gd name="connsiteX8" fmla="*/ 22860 w 68580"/>
                <a:gd name="connsiteY8" fmla="*/ 57150 h 68580"/>
                <a:gd name="connsiteX9" fmla="*/ 34290 w 68580"/>
                <a:gd name="connsiteY9" fmla="*/ 68580 h 68580"/>
                <a:gd name="connsiteX10" fmla="*/ 45720 w 68580"/>
                <a:gd name="connsiteY10" fmla="*/ 68580 h 68580"/>
                <a:gd name="connsiteX11" fmla="*/ 22860 w 68580"/>
                <a:gd name="connsiteY11" fmla="*/ 45720 h 68580"/>
                <a:gd name="connsiteX12" fmla="*/ 15385 w 68580"/>
                <a:gd name="connsiteY12" fmla="*/ 47080 h 68580"/>
                <a:gd name="connsiteX13" fmla="*/ 11430 w 68580"/>
                <a:gd name="connsiteY13" fmla="*/ 34290 h 68580"/>
                <a:gd name="connsiteX14" fmla="*/ 34290 w 68580"/>
                <a:gd name="connsiteY14" fmla="*/ 11430 h 6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8580" h="68580">
                  <a:moveTo>
                    <a:pt x="34290" y="11430"/>
                  </a:moveTo>
                  <a:cubicBezTo>
                    <a:pt x="46897" y="11430"/>
                    <a:pt x="57150" y="21683"/>
                    <a:pt x="57150" y="34290"/>
                  </a:cubicBezTo>
                  <a:lnTo>
                    <a:pt x="68580" y="34290"/>
                  </a:lnTo>
                  <a:cubicBezTo>
                    <a:pt x="68580" y="15379"/>
                    <a:pt x="53201" y="0"/>
                    <a:pt x="34290" y="0"/>
                  </a:cubicBezTo>
                  <a:cubicBezTo>
                    <a:pt x="15379" y="0"/>
                    <a:pt x="0" y="15379"/>
                    <a:pt x="0" y="34290"/>
                  </a:cubicBezTo>
                  <a:cubicBezTo>
                    <a:pt x="0" y="41199"/>
                    <a:pt x="2092" y="47795"/>
                    <a:pt x="5886" y="53412"/>
                  </a:cubicBezTo>
                  <a:cubicBezTo>
                    <a:pt x="2269" y="57459"/>
                    <a:pt x="0" y="62739"/>
                    <a:pt x="0" y="68580"/>
                  </a:cubicBezTo>
                  <a:lnTo>
                    <a:pt x="11430" y="68580"/>
                  </a:lnTo>
                  <a:cubicBezTo>
                    <a:pt x="11430" y="62276"/>
                    <a:pt x="16556" y="57150"/>
                    <a:pt x="22860" y="57150"/>
                  </a:cubicBezTo>
                  <a:cubicBezTo>
                    <a:pt x="29164" y="57150"/>
                    <a:pt x="34290" y="62276"/>
                    <a:pt x="34290" y="68580"/>
                  </a:cubicBezTo>
                  <a:lnTo>
                    <a:pt x="45720" y="68580"/>
                  </a:lnTo>
                  <a:cubicBezTo>
                    <a:pt x="45720" y="55973"/>
                    <a:pt x="35467" y="45720"/>
                    <a:pt x="22860" y="45720"/>
                  </a:cubicBezTo>
                  <a:cubicBezTo>
                    <a:pt x="20231" y="45720"/>
                    <a:pt x="17739" y="46257"/>
                    <a:pt x="15385" y="47080"/>
                  </a:cubicBezTo>
                  <a:cubicBezTo>
                    <a:pt x="12836" y="43325"/>
                    <a:pt x="11430" y="38913"/>
                    <a:pt x="11430" y="34290"/>
                  </a:cubicBezTo>
                  <a:cubicBezTo>
                    <a:pt x="11430" y="21683"/>
                    <a:pt x="21683" y="11430"/>
                    <a:pt x="34290" y="1143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09CD8E82-0CA5-489D-AE55-353221EC9C15}"/>
                </a:ext>
              </a:extLst>
            </p:cNvPr>
            <p:cNvSpPr/>
            <p:nvPr/>
          </p:nvSpPr>
          <p:spPr>
            <a:xfrm>
              <a:off x="3974146" y="4401416"/>
              <a:ext cx="68580" cy="68580"/>
            </a:xfrm>
            <a:custGeom>
              <a:avLst/>
              <a:gdLst>
                <a:gd name="connsiteX0" fmla="*/ 68580 w 68580"/>
                <a:gd name="connsiteY0" fmla="*/ 34290 h 68580"/>
                <a:gd name="connsiteX1" fmla="*/ 34290 w 68580"/>
                <a:gd name="connsiteY1" fmla="*/ 0 h 68580"/>
                <a:gd name="connsiteX2" fmla="*/ 0 w 68580"/>
                <a:gd name="connsiteY2" fmla="*/ 34290 h 68580"/>
                <a:gd name="connsiteX3" fmla="*/ 11430 w 68580"/>
                <a:gd name="connsiteY3" fmla="*/ 34290 h 68580"/>
                <a:gd name="connsiteX4" fmla="*/ 34290 w 68580"/>
                <a:gd name="connsiteY4" fmla="*/ 11430 h 68580"/>
                <a:gd name="connsiteX5" fmla="*/ 57150 w 68580"/>
                <a:gd name="connsiteY5" fmla="*/ 34290 h 68580"/>
                <a:gd name="connsiteX6" fmla="*/ 34290 w 68580"/>
                <a:gd name="connsiteY6" fmla="*/ 57150 h 68580"/>
                <a:gd name="connsiteX7" fmla="*/ 34290 w 68580"/>
                <a:gd name="connsiteY7" fmla="*/ 68580 h 68580"/>
                <a:gd name="connsiteX8" fmla="*/ 68580 w 68580"/>
                <a:gd name="connsiteY8" fmla="*/ 34290 h 6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580" h="68580">
                  <a:moveTo>
                    <a:pt x="68580" y="34290"/>
                  </a:moveTo>
                  <a:cubicBezTo>
                    <a:pt x="68580" y="15379"/>
                    <a:pt x="53201" y="0"/>
                    <a:pt x="34290" y="0"/>
                  </a:cubicBezTo>
                  <a:cubicBezTo>
                    <a:pt x="15379" y="0"/>
                    <a:pt x="0" y="15379"/>
                    <a:pt x="0" y="34290"/>
                  </a:cubicBezTo>
                  <a:lnTo>
                    <a:pt x="11430" y="34290"/>
                  </a:lnTo>
                  <a:cubicBezTo>
                    <a:pt x="11430" y="21683"/>
                    <a:pt x="21683" y="11430"/>
                    <a:pt x="34290" y="11430"/>
                  </a:cubicBezTo>
                  <a:cubicBezTo>
                    <a:pt x="46897" y="11430"/>
                    <a:pt x="57150" y="21683"/>
                    <a:pt x="57150" y="34290"/>
                  </a:cubicBezTo>
                  <a:cubicBezTo>
                    <a:pt x="57150" y="46897"/>
                    <a:pt x="46897" y="57150"/>
                    <a:pt x="34290" y="57150"/>
                  </a:cubicBezTo>
                  <a:lnTo>
                    <a:pt x="34290" y="68580"/>
                  </a:lnTo>
                  <a:cubicBezTo>
                    <a:pt x="53201" y="68580"/>
                    <a:pt x="68580" y="53201"/>
                    <a:pt x="68580" y="3429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6271B127-4D96-40D0-BE62-3D420666D648}"/>
                </a:ext>
              </a:extLst>
            </p:cNvPr>
            <p:cNvSpPr/>
            <p:nvPr/>
          </p:nvSpPr>
          <p:spPr>
            <a:xfrm>
              <a:off x="3951286" y="4452851"/>
              <a:ext cx="45720" cy="22860"/>
            </a:xfrm>
            <a:custGeom>
              <a:avLst/>
              <a:gdLst>
                <a:gd name="connsiteX0" fmla="*/ 22860 w 45720"/>
                <a:gd name="connsiteY0" fmla="*/ 22860 h 22860"/>
                <a:gd name="connsiteX1" fmla="*/ 45720 w 45720"/>
                <a:gd name="connsiteY1" fmla="*/ 0 h 22860"/>
                <a:gd name="connsiteX2" fmla="*/ 34290 w 45720"/>
                <a:gd name="connsiteY2" fmla="*/ 0 h 22860"/>
                <a:gd name="connsiteX3" fmla="*/ 22860 w 45720"/>
                <a:gd name="connsiteY3" fmla="*/ 11430 h 22860"/>
                <a:gd name="connsiteX4" fmla="*/ 11430 w 45720"/>
                <a:gd name="connsiteY4" fmla="*/ 0 h 22860"/>
                <a:gd name="connsiteX5" fmla="*/ 0 w 45720"/>
                <a:gd name="connsiteY5" fmla="*/ 0 h 22860"/>
                <a:gd name="connsiteX6" fmla="*/ 22860 w 45720"/>
                <a:gd name="connsiteY6" fmla="*/ 22860 h 22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720" h="22860">
                  <a:moveTo>
                    <a:pt x="22860" y="22860"/>
                  </a:moveTo>
                  <a:cubicBezTo>
                    <a:pt x="35467" y="22860"/>
                    <a:pt x="45720" y="12607"/>
                    <a:pt x="45720" y="0"/>
                  </a:cubicBezTo>
                  <a:lnTo>
                    <a:pt x="34290" y="0"/>
                  </a:lnTo>
                  <a:cubicBezTo>
                    <a:pt x="34290" y="6304"/>
                    <a:pt x="29164" y="11430"/>
                    <a:pt x="22860" y="11430"/>
                  </a:cubicBezTo>
                  <a:cubicBezTo>
                    <a:pt x="16556" y="11430"/>
                    <a:pt x="11430" y="6304"/>
                    <a:pt x="11430" y="0"/>
                  </a:cubicBezTo>
                  <a:lnTo>
                    <a:pt x="0" y="0"/>
                  </a:lnTo>
                  <a:cubicBezTo>
                    <a:pt x="0" y="12607"/>
                    <a:pt x="10253" y="22860"/>
                    <a:pt x="22860" y="22860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43B8EB8F-3077-4DCD-96A6-5CC236012D52}"/>
                </a:ext>
              </a:extLst>
            </p:cNvPr>
            <p:cNvSpPr/>
            <p:nvPr/>
          </p:nvSpPr>
          <p:spPr>
            <a:xfrm>
              <a:off x="4077016" y="4601441"/>
              <a:ext cx="28575" cy="28575"/>
            </a:xfrm>
            <a:custGeom>
              <a:avLst/>
              <a:gdLst>
                <a:gd name="connsiteX0" fmla="*/ 0 w 28575"/>
                <a:gd name="connsiteY0" fmla="*/ 17145 h 28575"/>
                <a:gd name="connsiteX1" fmla="*/ 0 w 28575"/>
                <a:gd name="connsiteY1" fmla="*/ 28575 h 28575"/>
                <a:gd name="connsiteX2" fmla="*/ 28575 w 28575"/>
                <a:gd name="connsiteY2" fmla="*/ 0 h 28575"/>
                <a:gd name="connsiteX3" fmla="*/ 17145 w 28575"/>
                <a:gd name="connsiteY3" fmla="*/ 0 h 28575"/>
                <a:gd name="connsiteX4" fmla="*/ 0 w 28575"/>
                <a:gd name="connsiteY4" fmla="*/ 1714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75" h="28575">
                  <a:moveTo>
                    <a:pt x="0" y="17145"/>
                  </a:moveTo>
                  <a:lnTo>
                    <a:pt x="0" y="28575"/>
                  </a:lnTo>
                  <a:cubicBezTo>
                    <a:pt x="15756" y="28575"/>
                    <a:pt x="28575" y="15756"/>
                    <a:pt x="28575" y="0"/>
                  </a:cubicBezTo>
                  <a:lnTo>
                    <a:pt x="17145" y="0"/>
                  </a:lnTo>
                  <a:cubicBezTo>
                    <a:pt x="17145" y="9453"/>
                    <a:pt x="9453" y="17145"/>
                    <a:pt x="0" y="17145"/>
                  </a:cubicBezTo>
                  <a:close/>
                </a:path>
              </a:pathLst>
            </a:custGeom>
            <a:grpFill/>
            <a:ln w="56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1571020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3E6A0-9EB3-4155-9C3E-9828E4C3B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оррупциянинг</a:t>
            </a:r>
            <a:r>
              <a:rPr lang="ru-RU" dirty="0"/>
              <a:t> </a:t>
            </a:r>
            <a:r>
              <a:rPr lang="ru-RU" dirty="0" err="1"/>
              <a:t>оқибатлари</a:t>
            </a:r>
            <a:endParaRPr lang="en-US" dirty="0"/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3DF22F27-A5CA-45D7-B478-48C49E8C8F2E}"/>
              </a:ext>
            </a:extLst>
          </p:cNvPr>
          <p:cNvSpPr/>
          <p:nvPr/>
        </p:nvSpPr>
        <p:spPr>
          <a:xfrm>
            <a:off x="440353" y="10668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59BD29-0AB6-45F7-87BD-37E79E082D02}"/>
              </a:ext>
            </a:extLst>
          </p:cNvPr>
          <p:cNvSpPr/>
          <p:nvPr/>
        </p:nvSpPr>
        <p:spPr>
          <a:xfrm>
            <a:off x="1410444" y="1209658"/>
            <a:ext cx="103386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000" b="1" dirty="0" err="1">
                <a:solidFill>
                  <a:srgbClr val="49A9F6"/>
                </a:solidFill>
              </a:rPr>
              <a:t>Аниқ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мисоллар</a:t>
            </a:r>
            <a:endParaRPr lang="ru-RU" sz="2000" b="1" dirty="0">
              <a:solidFill>
                <a:srgbClr val="49A9F6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0D630007-755C-48C9-99EA-CA8D37CE44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1735" y="1124468"/>
            <a:ext cx="571514" cy="571514"/>
          </a:xfrm>
          <a:prstGeom prst="rect">
            <a:avLst/>
          </a:prstGeom>
        </p:spPr>
      </p:pic>
      <p:sp>
        <p:nvSpPr>
          <p:cNvPr id="6" name="object 15">
            <a:extLst>
              <a:ext uri="{FF2B5EF4-FFF2-40B4-BE49-F238E27FC236}">
                <a16:creationId xmlns:a16="http://schemas.microsoft.com/office/drawing/2014/main" id="{959167E0-90F1-43C3-998A-D13DE49B1301}"/>
              </a:ext>
            </a:extLst>
          </p:cNvPr>
          <p:cNvSpPr txBox="1"/>
          <p:nvPr/>
        </p:nvSpPr>
        <p:spPr>
          <a:xfrm>
            <a:off x="431999" y="1910540"/>
            <a:ext cx="1131709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1-мисол: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Жиноят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содир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этганликда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гумон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қилинаётган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шахс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жиноят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содир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этиш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қтида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гумонланувчининг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алибисини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сдиқлаш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учун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ўз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дўстига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пора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ради</a:t>
            </a:r>
            <a:endParaRPr lang="ru-RU" sz="1400" b="1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83142DB-C324-43AF-AFFC-B0F7398E9117}"/>
              </a:ext>
            </a:extLst>
          </p:cNvPr>
          <p:cNvSpPr/>
          <p:nvPr/>
        </p:nvSpPr>
        <p:spPr>
          <a:xfrm>
            <a:off x="438150" y="2481275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err="1">
                <a:solidFill>
                  <a:schemeClr val="tx2"/>
                </a:solidFill>
              </a:rPr>
              <a:t>Жиноя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йич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гувоҳга</a:t>
            </a:r>
            <a:r>
              <a:rPr lang="ru-RU" sz="1400" dirty="0">
                <a:solidFill>
                  <a:schemeClr val="tx2"/>
                </a:solidFill>
              </a:rPr>
              <a:t> пора </a:t>
            </a:r>
            <a:r>
              <a:rPr lang="ru-RU" sz="1400" dirty="0" err="1">
                <a:solidFill>
                  <a:schemeClr val="tx2"/>
                </a:solidFill>
              </a:rPr>
              <a:t>бериш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040BF4A-0505-40B6-86E6-C4451D7153DB}"/>
              </a:ext>
            </a:extLst>
          </p:cNvPr>
          <p:cNvSpPr/>
          <p:nvPr/>
        </p:nvSpPr>
        <p:spPr>
          <a:xfrm>
            <a:off x="3411124" y="2481275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err="1">
                <a:solidFill>
                  <a:schemeClr val="tx2"/>
                </a:solidFill>
              </a:rPr>
              <a:t>Гуво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гумонланувч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хт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uz-Cyrl-UZ" sz="1400" dirty="0">
                <a:solidFill>
                  <a:schemeClr val="tx2"/>
                </a:solidFill>
              </a:rPr>
              <a:t>алибис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сдиқлайди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36FD19E-FE65-4756-8CA0-A5111775329D}"/>
              </a:ext>
            </a:extLst>
          </p:cNvPr>
          <p:cNvSpPr/>
          <p:nvPr/>
        </p:nvSpPr>
        <p:spPr>
          <a:xfrm>
            <a:off x="6384098" y="2481275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err="1">
                <a:solidFill>
                  <a:schemeClr val="tx2"/>
                </a:solidFill>
              </a:rPr>
              <a:t>Тергов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ган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ерговда</a:t>
            </a:r>
            <a:r>
              <a:rPr lang="ru-RU" sz="1400" dirty="0">
                <a:solidFill>
                  <a:schemeClr val="tx2"/>
                </a:solidFill>
              </a:rPr>
              <a:t> боши </a:t>
            </a:r>
            <a:r>
              <a:rPr lang="ru-RU" sz="1400" dirty="0" err="1">
                <a:solidFill>
                  <a:schemeClr val="tx2"/>
                </a:solidFill>
              </a:rPr>
              <a:t>бер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ўча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ири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ладилар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2A82F26-0F34-45CC-BBC3-EF18B900B55B}"/>
              </a:ext>
            </a:extLst>
          </p:cNvPr>
          <p:cNvSpPr/>
          <p:nvPr/>
        </p:nvSpPr>
        <p:spPr>
          <a:xfrm>
            <a:off x="9357070" y="2481275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err="1">
                <a:solidFill>
                  <a:srgbClr val="C00000"/>
                </a:solidFill>
              </a:rPr>
              <a:t>Жазосизлик</a:t>
            </a:r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dirty="0" err="1">
                <a:solidFill>
                  <a:srgbClr val="C00000"/>
                </a:solidFill>
              </a:rPr>
              <a:t>ва</a:t>
            </a:r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dirty="0" err="1">
                <a:solidFill>
                  <a:srgbClr val="C00000"/>
                </a:solidFill>
              </a:rPr>
              <a:t>қисман</a:t>
            </a:r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dirty="0" err="1">
                <a:solidFill>
                  <a:srgbClr val="C00000"/>
                </a:solidFill>
              </a:rPr>
              <a:t>адолат</a:t>
            </a:r>
            <a:endParaRPr lang="ru-RU" sz="1400" dirty="0">
              <a:solidFill>
                <a:srgbClr val="C00000"/>
              </a:solidFill>
            </a:endParaRP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FC46296-5C4D-4728-A774-527C5786F259}"/>
              </a:ext>
            </a:extLst>
          </p:cNvPr>
          <p:cNvCxnSpPr>
            <a:stCxn id="7" idx="3"/>
            <a:endCxn id="8" idx="1"/>
          </p:cNvCxnSpPr>
          <p:nvPr/>
        </p:nvCxnSpPr>
        <p:spPr>
          <a:xfrm>
            <a:off x="2830168" y="2811112"/>
            <a:ext cx="580956" cy="0"/>
          </a:xfrm>
          <a:prstGeom prst="straightConnector1">
            <a:avLst/>
          </a:prstGeom>
          <a:ln w="15875">
            <a:solidFill>
              <a:srgbClr val="1BD7D3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D54C9FB-8DF8-4DBC-A8CE-A4662B415B58}"/>
              </a:ext>
            </a:extLst>
          </p:cNvPr>
          <p:cNvCxnSpPr/>
          <p:nvPr/>
        </p:nvCxnSpPr>
        <p:spPr>
          <a:xfrm>
            <a:off x="5805522" y="2811112"/>
            <a:ext cx="580956" cy="0"/>
          </a:xfrm>
          <a:prstGeom prst="straightConnector1">
            <a:avLst/>
          </a:prstGeom>
          <a:ln w="15875">
            <a:solidFill>
              <a:schemeClr val="bg2">
                <a:lumMod val="2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6CFFA05F-447A-4BCE-9070-2E101725F918}"/>
              </a:ext>
            </a:extLst>
          </p:cNvPr>
          <p:cNvCxnSpPr/>
          <p:nvPr/>
        </p:nvCxnSpPr>
        <p:spPr>
          <a:xfrm>
            <a:off x="8776114" y="2811112"/>
            <a:ext cx="580956" cy="0"/>
          </a:xfrm>
          <a:prstGeom prst="straightConnector1">
            <a:avLst/>
          </a:prstGeom>
          <a:ln w="15875">
            <a:solidFill>
              <a:schemeClr val="bg2">
                <a:lumMod val="2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15">
            <a:extLst>
              <a:ext uri="{FF2B5EF4-FFF2-40B4-BE49-F238E27FC236}">
                <a16:creationId xmlns:a16="http://schemas.microsoft.com/office/drawing/2014/main" id="{F5BA4E6E-FD4B-4B58-ABA7-C0D21C9C581F}"/>
              </a:ext>
            </a:extLst>
          </p:cNvPr>
          <p:cNvSpPr txBox="1"/>
          <p:nvPr/>
        </p:nvSpPr>
        <p:spPr>
          <a:xfrm>
            <a:off x="431998" y="3380342"/>
            <a:ext cx="11317090" cy="440786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2-мисол: Энергетика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компаниясининг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харидлар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бўлими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ходими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қариндошига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пудратчи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сифатида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электр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подстанциясини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қуриш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учун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унинг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компаниясини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танлашга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ваъда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ради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9E5EEDB-8F10-407E-93F4-E29564F0926F}"/>
              </a:ext>
            </a:extLst>
          </p:cNvPr>
          <p:cNvSpPr/>
          <p:nvPr/>
        </p:nvSpPr>
        <p:spPr>
          <a:xfrm>
            <a:off x="438149" y="3951077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dirty="0">
                <a:solidFill>
                  <a:schemeClr val="tx2"/>
                </a:solidFill>
              </a:rPr>
              <a:t>"</a:t>
            </a:r>
            <a:r>
              <a:rPr lang="ru-RU" sz="1200" dirty="0" err="1">
                <a:solidFill>
                  <a:schemeClr val="tx2"/>
                </a:solidFill>
              </a:rPr>
              <a:t>Тўғри</a:t>
            </a:r>
            <a:r>
              <a:rPr lang="ru-RU" sz="1200" dirty="0">
                <a:solidFill>
                  <a:schemeClr val="tx2"/>
                </a:solidFill>
              </a:rPr>
              <a:t>" </a:t>
            </a:r>
            <a:r>
              <a:rPr lang="ru-RU" sz="1200" dirty="0" err="1">
                <a:solidFill>
                  <a:schemeClr val="tx2"/>
                </a:solidFill>
              </a:rPr>
              <a:t>пудратч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нлаганл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чун</a:t>
            </a:r>
            <a:r>
              <a:rPr lang="ru-RU" sz="1200" dirty="0">
                <a:solidFill>
                  <a:schemeClr val="tx2"/>
                </a:solidFill>
              </a:rPr>
              <a:t> ходим </a:t>
            </a:r>
            <a:r>
              <a:rPr lang="ru-RU" sz="1200" dirty="0" err="1">
                <a:solidFill>
                  <a:schemeClr val="tx2"/>
                </a:solidFill>
              </a:rPr>
              <a:t>томонидан</a:t>
            </a:r>
            <a:r>
              <a:rPr lang="ru-RU" sz="1200" dirty="0">
                <a:solidFill>
                  <a:schemeClr val="tx2"/>
                </a:solidFill>
              </a:rPr>
              <a:t> «пул </a:t>
            </a:r>
            <a:r>
              <a:rPr lang="ru-RU" sz="1200" dirty="0" err="1">
                <a:solidFill>
                  <a:schemeClr val="tx2"/>
                </a:solidFill>
              </a:rPr>
              <a:t>ювиш</a:t>
            </a:r>
            <a:r>
              <a:rPr lang="ru-RU" sz="1200" dirty="0">
                <a:solidFill>
                  <a:schemeClr val="tx2"/>
                </a:solidFill>
              </a:rPr>
              <a:t>»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73362C9-89A7-4022-8A3A-FCFA5A02AE8A}"/>
              </a:ext>
            </a:extLst>
          </p:cNvPr>
          <p:cNvSpPr/>
          <p:nvPr/>
        </p:nvSpPr>
        <p:spPr>
          <a:xfrm>
            <a:off x="3411123" y="3951077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err="1">
                <a:solidFill>
                  <a:schemeClr val="tx2"/>
                </a:solidFill>
              </a:rPr>
              <a:t>Пудр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лар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ифациз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жарилиши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095B9C-A954-4A9A-95EA-51860335AC88}"/>
              </a:ext>
            </a:extLst>
          </p:cNvPr>
          <p:cNvSpPr/>
          <p:nvPr/>
        </p:nvSpPr>
        <p:spPr>
          <a:xfrm>
            <a:off x="6384097" y="3951077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err="1">
                <a:solidFill>
                  <a:schemeClr val="tx2"/>
                </a:solidFill>
              </a:rPr>
              <a:t>Бузуқ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бъект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ушириш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3E14BEF-34BE-456F-B27F-9C526D19983B}"/>
              </a:ext>
            </a:extLst>
          </p:cNvPr>
          <p:cNvSpPr/>
          <p:nvPr/>
        </p:nvSpPr>
        <p:spPr>
          <a:xfrm>
            <a:off x="9357069" y="3951077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err="1">
                <a:solidFill>
                  <a:srgbClr val="C00000"/>
                </a:solidFill>
              </a:rPr>
              <a:t>Инфраструктурада</a:t>
            </a:r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dirty="0" err="1">
                <a:solidFill>
                  <a:srgbClr val="C00000"/>
                </a:solidFill>
              </a:rPr>
              <a:t>узилишлар</a:t>
            </a:r>
            <a:endParaRPr lang="ru-RU" sz="1400" dirty="0">
              <a:solidFill>
                <a:srgbClr val="C00000"/>
              </a:solidFill>
            </a:endParaRP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5CB241E-EE0F-46CB-9CA6-1C9D8DF3CB23}"/>
              </a:ext>
            </a:extLst>
          </p:cNvPr>
          <p:cNvCxnSpPr>
            <a:stCxn id="17" idx="3"/>
            <a:endCxn id="18" idx="1"/>
          </p:cNvCxnSpPr>
          <p:nvPr/>
        </p:nvCxnSpPr>
        <p:spPr>
          <a:xfrm>
            <a:off x="2830167" y="4280914"/>
            <a:ext cx="580956" cy="0"/>
          </a:xfrm>
          <a:prstGeom prst="straightConnector1">
            <a:avLst/>
          </a:prstGeom>
          <a:ln w="15875">
            <a:solidFill>
              <a:srgbClr val="1BD7D3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108708D-9C41-4224-A39E-AE597EFBDDC2}"/>
              </a:ext>
            </a:extLst>
          </p:cNvPr>
          <p:cNvCxnSpPr/>
          <p:nvPr/>
        </p:nvCxnSpPr>
        <p:spPr>
          <a:xfrm>
            <a:off x="5805521" y="4280914"/>
            <a:ext cx="580956" cy="0"/>
          </a:xfrm>
          <a:prstGeom prst="straightConnector1">
            <a:avLst/>
          </a:prstGeom>
          <a:ln w="15875">
            <a:solidFill>
              <a:schemeClr val="bg2">
                <a:lumMod val="2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AFAFB2B5-8623-4B45-B8FE-F51F82DAE2FC}"/>
              </a:ext>
            </a:extLst>
          </p:cNvPr>
          <p:cNvCxnSpPr/>
          <p:nvPr/>
        </p:nvCxnSpPr>
        <p:spPr>
          <a:xfrm>
            <a:off x="8776113" y="4280914"/>
            <a:ext cx="580956" cy="0"/>
          </a:xfrm>
          <a:prstGeom prst="straightConnector1">
            <a:avLst/>
          </a:prstGeom>
          <a:ln w="15875">
            <a:solidFill>
              <a:schemeClr val="bg2">
                <a:lumMod val="2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bject 15">
            <a:extLst>
              <a:ext uri="{FF2B5EF4-FFF2-40B4-BE49-F238E27FC236}">
                <a16:creationId xmlns:a16="http://schemas.microsoft.com/office/drawing/2014/main" id="{08B69DDA-DCDF-4BB0-85A4-1DC80A555A00}"/>
              </a:ext>
            </a:extLst>
          </p:cNvPr>
          <p:cNvSpPr txBox="1"/>
          <p:nvPr/>
        </p:nvSpPr>
        <p:spPr>
          <a:xfrm>
            <a:off x="440353" y="4918614"/>
            <a:ext cx="11317090" cy="225342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3-мисол: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Маиший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тозалаш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компанияси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ижобий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аудиторлик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хулосасини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олиш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учун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экология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инспекторига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 пора </a:t>
            </a:r>
            <a:r>
              <a:rPr lang="ru-RU" sz="1400" b="1" spc="-4" dirty="0" err="1">
                <a:solidFill>
                  <a:schemeClr val="tx2"/>
                </a:solidFill>
                <a:cs typeface="Arial" panose="020B0604020202020204" pitchFamily="34" charset="0"/>
              </a:rPr>
              <a:t>беради</a:t>
            </a:r>
            <a:r>
              <a:rPr lang="ru-RU" sz="1400" b="1" spc="-4" dirty="0">
                <a:solidFill>
                  <a:schemeClr val="tx2"/>
                </a:solidFill>
                <a:cs typeface="Arial" panose="020B0604020202020204" pitchFamily="34" charset="0"/>
              </a:rPr>
              <a:t>.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A4E2255-B30F-4880-808D-AAB2521441ED}"/>
              </a:ext>
            </a:extLst>
          </p:cNvPr>
          <p:cNvSpPr/>
          <p:nvPr/>
        </p:nvSpPr>
        <p:spPr>
          <a:xfrm>
            <a:off x="446504" y="5489349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err="1">
                <a:solidFill>
                  <a:schemeClr val="tx2"/>
                </a:solidFill>
              </a:rPr>
              <a:t>Эколог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нспекторга</a:t>
            </a:r>
            <a:r>
              <a:rPr lang="ru-RU" sz="1400" dirty="0">
                <a:solidFill>
                  <a:schemeClr val="tx2"/>
                </a:solidFill>
              </a:rPr>
              <a:t> пора </a:t>
            </a:r>
            <a:r>
              <a:rPr lang="ru-RU" sz="1400" dirty="0" err="1">
                <a:solidFill>
                  <a:schemeClr val="tx2"/>
                </a:solidFill>
              </a:rPr>
              <a:t>бериш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9078C53-2ABB-40AD-B47D-13190C6707F7}"/>
              </a:ext>
            </a:extLst>
          </p:cNvPr>
          <p:cNvSpPr/>
          <p:nvPr/>
        </p:nvSpPr>
        <p:spPr>
          <a:xfrm>
            <a:off x="3419478" y="5489349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err="1">
                <a:solidFill>
                  <a:schemeClr val="tx2"/>
                </a:solidFill>
              </a:rPr>
              <a:t>Сув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взалар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но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чиқинди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флосланиши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9A6144C-5712-47AD-95AF-C6CE4C1FCEBB}"/>
              </a:ext>
            </a:extLst>
          </p:cNvPr>
          <p:cNvSpPr/>
          <p:nvPr/>
        </p:nvSpPr>
        <p:spPr>
          <a:xfrm>
            <a:off x="6392452" y="5489349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err="1">
                <a:solidFill>
                  <a:schemeClr val="tx2"/>
                </a:solidFill>
              </a:rPr>
              <a:t>Эколог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ожия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363CC3B-68F2-46AA-92C7-5CD53F323B77}"/>
              </a:ext>
            </a:extLst>
          </p:cNvPr>
          <p:cNvSpPr/>
          <p:nvPr/>
        </p:nvSpPr>
        <p:spPr>
          <a:xfrm>
            <a:off x="9365424" y="5489349"/>
            <a:ext cx="2392018" cy="659674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dirty="0" err="1">
                <a:solidFill>
                  <a:srgbClr val="C00000"/>
                </a:solidFill>
              </a:rPr>
              <a:t>Иқлим</a:t>
            </a:r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dirty="0" err="1">
                <a:solidFill>
                  <a:srgbClr val="C00000"/>
                </a:solidFill>
              </a:rPr>
              <a:t>ўзгариши</a:t>
            </a:r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dirty="0" err="1">
                <a:solidFill>
                  <a:srgbClr val="C00000"/>
                </a:solidFill>
              </a:rPr>
              <a:t>ва</a:t>
            </a:r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dirty="0" err="1">
                <a:solidFill>
                  <a:srgbClr val="C00000"/>
                </a:solidFill>
              </a:rPr>
              <a:t>биологик</a:t>
            </a:r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dirty="0" err="1">
                <a:solidFill>
                  <a:srgbClr val="C00000"/>
                </a:solidFill>
              </a:rPr>
              <a:t>хилма-хилликка</a:t>
            </a:r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dirty="0" err="1">
                <a:solidFill>
                  <a:srgbClr val="C00000"/>
                </a:solidFill>
              </a:rPr>
              <a:t>зарар</a:t>
            </a:r>
            <a:r>
              <a:rPr lang="ru-RU" sz="1400" dirty="0">
                <a:solidFill>
                  <a:srgbClr val="C00000"/>
                </a:solidFill>
              </a:rPr>
              <a:t> </a:t>
            </a:r>
            <a:r>
              <a:rPr lang="ru-RU" sz="1400" dirty="0" err="1">
                <a:solidFill>
                  <a:srgbClr val="C00000"/>
                </a:solidFill>
              </a:rPr>
              <a:t>етказиш</a:t>
            </a:r>
            <a:endParaRPr lang="ru-RU" sz="1400" dirty="0">
              <a:solidFill>
                <a:srgbClr val="C00000"/>
              </a:solidFill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2C470F49-D926-49E8-8AB9-4A3E6D5DDAE6}"/>
              </a:ext>
            </a:extLst>
          </p:cNvPr>
          <p:cNvCxnSpPr>
            <a:stCxn id="25" idx="3"/>
            <a:endCxn id="26" idx="1"/>
          </p:cNvCxnSpPr>
          <p:nvPr/>
        </p:nvCxnSpPr>
        <p:spPr>
          <a:xfrm>
            <a:off x="2838522" y="5819186"/>
            <a:ext cx="580956" cy="0"/>
          </a:xfrm>
          <a:prstGeom prst="straightConnector1">
            <a:avLst/>
          </a:prstGeom>
          <a:ln w="15875">
            <a:solidFill>
              <a:srgbClr val="1BD7D3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169B2E1C-9906-4D18-84A2-97A45877A6AF}"/>
              </a:ext>
            </a:extLst>
          </p:cNvPr>
          <p:cNvCxnSpPr/>
          <p:nvPr/>
        </p:nvCxnSpPr>
        <p:spPr>
          <a:xfrm>
            <a:off x="5813876" y="5819186"/>
            <a:ext cx="580956" cy="0"/>
          </a:xfrm>
          <a:prstGeom prst="straightConnector1">
            <a:avLst/>
          </a:prstGeom>
          <a:ln w="15875">
            <a:solidFill>
              <a:schemeClr val="bg2">
                <a:lumMod val="2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12F641D4-0096-492B-9D69-EF0C9DB79A2B}"/>
              </a:ext>
            </a:extLst>
          </p:cNvPr>
          <p:cNvCxnSpPr/>
          <p:nvPr/>
        </p:nvCxnSpPr>
        <p:spPr>
          <a:xfrm>
            <a:off x="8784468" y="5819186"/>
            <a:ext cx="580956" cy="0"/>
          </a:xfrm>
          <a:prstGeom prst="straightConnector1">
            <a:avLst/>
          </a:prstGeom>
          <a:ln w="15875">
            <a:solidFill>
              <a:schemeClr val="bg2">
                <a:lumMod val="2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7372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E902ED-9C42-40F7-843C-CA3549EEBE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Мундарижа</a:t>
            </a:r>
            <a:endParaRPr lang="ru-RU" dirty="0"/>
          </a:p>
        </p:txBody>
      </p:sp>
      <p:sp>
        <p:nvSpPr>
          <p:cNvPr id="3" name="TextBox 2">
            <a:hlinkClick r:id="rId2" action="ppaction://hlinksldjump"/>
            <a:extLst>
              <a:ext uri="{FF2B5EF4-FFF2-40B4-BE49-F238E27FC236}">
                <a16:creationId xmlns:a16="http://schemas.microsoft.com/office/drawing/2014/main" id="{9152FD75-7C48-42A8-B2AB-975B84D3A956}"/>
              </a:ext>
            </a:extLst>
          </p:cNvPr>
          <p:cNvSpPr txBox="1"/>
          <p:nvPr/>
        </p:nvSpPr>
        <p:spPr>
          <a:xfrm>
            <a:off x="661481" y="873125"/>
            <a:ext cx="10000034" cy="340519"/>
          </a:xfrm>
          <a:prstGeom prst="roundRect">
            <a:avLst/>
          </a:prstGeom>
          <a:ln>
            <a:solidFill>
              <a:srgbClr val="49A9F6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400" b="1" dirty="0" err="1">
                <a:solidFill>
                  <a:srgbClr val="00338D"/>
                </a:solidFill>
              </a:rPr>
              <a:t>Маъруза</a:t>
            </a:r>
            <a:r>
              <a:rPr lang="en-US" sz="1400" b="1" dirty="0">
                <a:solidFill>
                  <a:srgbClr val="00338D"/>
                </a:solidFill>
              </a:rPr>
              <a:t>                                                                                                                                                                                    3</a:t>
            </a:r>
            <a:endParaRPr lang="ru-RU" sz="1400" b="1" dirty="0">
              <a:solidFill>
                <a:srgbClr val="00338D"/>
              </a:solidFill>
            </a:endParaRPr>
          </a:p>
        </p:txBody>
      </p:sp>
      <p:sp>
        <p:nvSpPr>
          <p:cNvPr id="4" name="TextBox 3">
            <a:hlinkClick r:id="rId2" action="ppaction://hlinksldjump"/>
            <a:extLst>
              <a:ext uri="{FF2B5EF4-FFF2-40B4-BE49-F238E27FC236}">
                <a16:creationId xmlns:a16="http://schemas.microsoft.com/office/drawing/2014/main" id="{B49B6DAE-A3E3-4BF8-955D-64915719C866}"/>
              </a:ext>
            </a:extLst>
          </p:cNvPr>
          <p:cNvSpPr txBox="1"/>
          <p:nvPr/>
        </p:nvSpPr>
        <p:spPr>
          <a:xfrm>
            <a:off x="661481" y="1305258"/>
            <a:ext cx="10000034" cy="340519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</a:rPr>
              <a:t>1. Коррупция </a:t>
            </a:r>
            <a:r>
              <a:rPr lang="ru-RU" sz="1200" dirty="0" err="1">
                <a:solidFill>
                  <a:schemeClr val="tx2"/>
                </a:solidFill>
              </a:rPr>
              <a:t>тушунчас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йич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сос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онцепциялар</a:t>
            </a:r>
            <a:r>
              <a:rPr lang="en-US" sz="1200" dirty="0">
                <a:solidFill>
                  <a:schemeClr val="tx2"/>
                </a:solidFill>
              </a:rPr>
              <a:t>                                                                                                                          </a:t>
            </a:r>
            <a:r>
              <a:rPr lang="uz-Cyrl-UZ" sz="1200" dirty="0">
                <a:solidFill>
                  <a:schemeClr val="tx2"/>
                </a:solidFill>
              </a:rPr>
              <a:t>         </a:t>
            </a:r>
            <a:r>
              <a:rPr lang="en-US" sz="1200" dirty="0">
                <a:solidFill>
                  <a:schemeClr val="tx2"/>
                </a:solidFill>
              </a:rPr>
              <a:t>   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en-US" sz="1400" b="1" dirty="0">
                <a:solidFill>
                  <a:srgbClr val="00338D"/>
                </a:solidFill>
              </a:rPr>
              <a:t>3</a:t>
            </a:r>
            <a:endParaRPr lang="ru-RU" sz="1400" b="1" dirty="0">
              <a:solidFill>
                <a:srgbClr val="00338D"/>
              </a:solidFill>
            </a:endParaRPr>
          </a:p>
        </p:txBody>
      </p:sp>
      <p:sp>
        <p:nvSpPr>
          <p:cNvPr id="5" name="TextBox 4">
            <a:hlinkClick r:id="rId3" action="ppaction://hlinksldjump"/>
            <a:extLst>
              <a:ext uri="{FF2B5EF4-FFF2-40B4-BE49-F238E27FC236}">
                <a16:creationId xmlns:a16="http://schemas.microsoft.com/office/drawing/2014/main" id="{E9D96815-1EE7-4B9D-8131-E5BE98185CCA}"/>
              </a:ext>
            </a:extLst>
          </p:cNvPr>
          <p:cNvSpPr txBox="1"/>
          <p:nvPr/>
        </p:nvSpPr>
        <p:spPr>
          <a:xfrm>
            <a:off x="661481" y="1702267"/>
            <a:ext cx="10000034" cy="340519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</a:rPr>
              <a:t>2. </a:t>
            </a:r>
            <a:r>
              <a:rPr lang="ru-RU" sz="1200" dirty="0" err="1">
                <a:solidFill>
                  <a:schemeClr val="tx2"/>
                </a:solidFill>
              </a:rPr>
              <a:t>Ўзбекисто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еспубликас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онунчилигида</a:t>
            </a:r>
            <a:r>
              <a:rPr lang="ru-RU" sz="1200" dirty="0">
                <a:solidFill>
                  <a:schemeClr val="tx2"/>
                </a:solidFill>
              </a:rPr>
              <a:t> коррупция </a:t>
            </a:r>
            <a:r>
              <a:rPr lang="ru-RU" sz="1200" dirty="0" err="1">
                <a:solidFill>
                  <a:schemeClr val="tx2"/>
                </a:solidFill>
              </a:rPr>
              <a:t>тушунчаси</a:t>
            </a:r>
            <a:r>
              <a:rPr lang="ru-RU" sz="1200" dirty="0">
                <a:solidFill>
                  <a:schemeClr val="tx2"/>
                </a:solidFill>
              </a:rPr>
              <a:t>: </a:t>
            </a:r>
            <a:r>
              <a:rPr lang="ru-RU" sz="1200" dirty="0" err="1">
                <a:solidFill>
                  <a:schemeClr val="tx2"/>
                </a:solidFill>
              </a:rPr>
              <a:t>коррупция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изим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шкил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тувч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лементлари</a:t>
            </a:r>
            <a:r>
              <a:rPr lang="ru-RU" sz="1200" dirty="0">
                <a:solidFill>
                  <a:schemeClr val="tx2"/>
                </a:solidFill>
              </a:rPr>
              <a:t>                           </a:t>
            </a:r>
            <a:r>
              <a:rPr lang="ru-RU" sz="1400" b="1" dirty="0">
                <a:solidFill>
                  <a:srgbClr val="00338D"/>
                </a:solidFill>
              </a:rPr>
              <a:t>6</a:t>
            </a:r>
          </a:p>
        </p:txBody>
      </p:sp>
      <p:sp>
        <p:nvSpPr>
          <p:cNvPr id="6" name="TextBox 5">
            <a:hlinkClick r:id="rId4" action="ppaction://hlinksldjump"/>
            <a:extLst>
              <a:ext uri="{FF2B5EF4-FFF2-40B4-BE49-F238E27FC236}">
                <a16:creationId xmlns:a16="http://schemas.microsoft.com/office/drawing/2014/main" id="{B1AC0DE1-2D98-4838-886E-D7268B22037D}"/>
              </a:ext>
            </a:extLst>
          </p:cNvPr>
          <p:cNvSpPr txBox="1"/>
          <p:nvPr/>
        </p:nvSpPr>
        <p:spPr>
          <a:xfrm>
            <a:off x="661481" y="2094820"/>
            <a:ext cx="10000034" cy="340519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</a:rPr>
              <a:t>3. </a:t>
            </a:r>
            <a:r>
              <a:rPr lang="ru-RU" sz="1200" dirty="0" err="1">
                <a:solidFill>
                  <a:schemeClr val="tx2"/>
                </a:solidFill>
              </a:rPr>
              <a:t>Коррупция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жтимоий-ҳуқуқ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жтимоий-иқтисод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одис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ифат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оҳият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арактерл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елгилари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ърифи</a:t>
            </a:r>
            <a:r>
              <a:rPr lang="ru-RU" sz="1200" dirty="0">
                <a:solidFill>
                  <a:schemeClr val="tx2"/>
                </a:solidFill>
              </a:rPr>
              <a:t>              </a:t>
            </a:r>
            <a:r>
              <a:rPr lang="ru-RU" sz="1400" b="1" dirty="0">
                <a:solidFill>
                  <a:srgbClr val="00338D"/>
                </a:solidFill>
              </a:rPr>
              <a:t>9</a:t>
            </a:r>
          </a:p>
        </p:txBody>
      </p:sp>
      <p:sp>
        <p:nvSpPr>
          <p:cNvPr id="7" name="TextBox 6">
            <a:hlinkClick r:id="rId5" action="ppaction://hlinksldjump"/>
            <a:extLst>
              <a:ext uri="{FF2B5EF4-FFF2-40B4-BE49-F238E27FC236}">
                <a16:creationId xmlns:a16="http://schemas.microsoft.com/office/drawing/2014/main" id="{7800CE79-DD29-4BF8-9669-9E5C5E0376B3}"/>
              </a:ext>
            </a:extLst>
          </p:cNvPr>
          <p:cNvSpPr txBox="1"/>
          <p:nvPr/>
        </p:nvSpPr>
        <p:spPr>
          <a:xfrm>
            <a:off x="661481" y="2487373"/>
            <a:ext cx="10000034" cy="340519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</a:rPr>
              <a:t>4. </a:t>
            </a:r>
            <a:r>
              <a:rPr lang="ru-RU" sz="1200" dirty="0" err="1">
                <a:solidFill>
                  <a:schemeClr val="tx2"/>
                </a:solidFill>
              </a:rPr>
              <a:t>Коррупция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жтимоий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иқтисод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иёс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қибатлари</a:t>
            </a:r>
            <a:r>
              <a:rPr lang="ru-RU" sz="1200" dirty="0">
                <a:solidFill>
                  <a:schemeClr val="tx2"/>
                </a:solidFill>
              </a:rPr>
              <a:t>: </a:t>
            </a:r>
            <a:r>
              <a:rPr lang="ru-RU" sz="1200" dirty="0" err="1">
                <a:solidFill>
                  <a:schemeClr val="tx2"/>
                </a:solidFill>
              </a:rPr>
              <a:t>фуқаролар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ташкилот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бутун </a:t>
            </a:r>
            <a:r>
              <a:rPr lang="ru-RU" sz="1200" dirty="0" err="1">
                <a:solidFill>
                  <a:schemeClr val="tx2"/>
                </a:solidFill>
              </a:rPr>
              <a:t>мамлак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чу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қибатлари</a:t>
            </a:r>
            <a:r>
              <a:rPr lang="ru-RU" sz="1200" dirty="0">
                <a:solidFill>
                  <a:schemeClr val="tx2"/>
                </a:solidFill>
              </a:rPr>
              <a:t>         </a:t>
            </a:r>
            <a:r>
              <a:rPr lang="en-US" sz="1200" dirty="0">
                <a:solidFill>
                  <a:schemeClr val="tx2"/>
                </a:solidFill>
              </a:rPr>
              <a:t>       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en-US" sz="1400" b="1" dirty="0">
                <a:solidFill>
                  <a:srgbClr val="00338D"/>
                </a:solidFill>
              </a:rPr>
              <a:t>12</a:t>
            </a:r>
            <a:endParaRPr lang="ru-RU" sz="1400" b="1" dirty="0">
              <a:solidFill>
                <a:srgbClr val="00338D"/>
              </a:solidFill>
            </a:endParaRPr>
          </a:p>
        </p:txBody>
      </p:sp>
      <p:sp>
        <p:nvSpPr>
          <p:cNvPr id="8" name="TextBox 7">
            <a:hlinkClick r:id="rId6" action="ppaction://hlinksldjump"/>
            <a:extLst>
              <a:ext uri="{FF2B5EF4-FFF2-40B4-BE49-F238E27FC236}">
                <a16:creationId xmlns:a16="http://schemas.microsoft.com/office/drawing/2014/main" id="{7DCDEDCB-654D-459A-98C8-689C83E75E49}"/>
              </a:ext>
            </a:extLst>
          </p:cNvPr>
          <p:cNvSpPr txBox="1"/>
          <p:nvPr/>
        </p:nvSpPr>
        <p:spPr>
          <a:xfrm>
            <a:off x="661481" y="2879926"/>
            <a:ext cx="10000034" cy="340519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</a:rPr>
              <a:t>5. </a:t>
            </a:r>
            <a:r>
              <a:rPr lang="ru-RU" sz="1200" dirty="0" err="1">
                <a:solidFill>
                  <a:schemeClr val="tx2"/>
                </a:solidFill>
              </a:rPr>
              <a:t>Фирибгарл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чбурча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оррупцио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улқ-атвор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ушунтирувч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назариялар</a:t>
            </a:r>
            <a:r>
              <a:rPr lang="en-US" sz="1200" dirty="0">
                <a:solidFill>
                  <a:schemeClr val="tx2"/>
                </a:solidFill>
              </a:rPr>
              <a:t>                                                                          </a:t>
            </a:r>
            <a:r>
              <a:rPr lang="ru-RU" sz="1200" dirty="0">
                <a:solidFill>
                  <a:schemeClr val="tx2"/>
                </a:solidFill>
              </a:rPr>
              <a:t>   </a:t>
            </a:r>
            <a:r>
              <a:rPr lang="en-US" sz="1400" b="1" dirty="0">
                <a:solidFill>
                  <a:srgbClr val="00338D"/>
                </a:solidFill>
              </a:rPr>
              <a:t>20</a:t>
            </a:r>
            <a:endParaRPr lang="ru-RU" sz="1400" b="1" dirty="0">
              <a:solidFill>
                <a:srgbClr val="00338D"/>
              </a:solidFill>
            </a:endParaRPr>
          </a:p>
        </p:txBody>
      </p:sp>
      <p:sp>
        <p:nvSpPr>
          <p:cNvPr id="9" name="TextBox 8">
            <a:hlinkClick r:id="rId7" action="ppaction://hlinksldjump"/>
            <a:extLst>
              <a:ext uri="{FF2B5EF4-FFF2-40B4-BE49-F238E27FC236}">
                <a16:creationId xmlns:a16="http://schemas.microsoft.com/office/drawing/2014/main" id="{A3845A8C-EDEE-41F5-92DA-0687DCF7AE23}"/>
              </a:ext>
            </a:extLst>
          </p:cNvPr>
          <p:cNvSpPr txBox="1"/>
          <p:nvPr/>
        </p:nvSpPr>
        <p:spPr>
          <a:xfrm>
            <a:off x="661481" y="3272479"/>
            <a:ext cx="10000034" cy="340519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</a:rPr>
              <a:t>6. </a:t>
            </a:r>
            <a:r>
              <a:rPr lang="ru-RU" sz="1200" dirty="0" err="1">
                <a:solidFill>
                  <a:schemeClr val="tx2"/>
                </a:solidFill>
              </a:rPr>
              <a:t>Коррупциянинг</a:t>
            </a:r>
            <a:r>
              <a:rPr lang="ru-RU" sz="1200" dirty="0">
                <a:solidFill>
                  <a:schemeClr val="tx2"/>
                </a:solidFill>
              </a:rPr>
              <a:t>, шу </a:t>
            </a:r>
            <a:r>
              <a:rPr lang="ru-RU" sz="1200" dirty="0" err="1">
                <a:solidFill>
                  <a:schemeClr val="tx2"/>
                </a:solidFill>
              </a:rPr>
              <a:t>жумла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нфаат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ўқнашуви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намоё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кллари</a:t>
            </a:r>
            <a:r>
              <a:rPr lang="ru-RU" sz="1200" dirty="0">
                <a:solidFill>
                  <a:schemeClr val="tx2"/>
                </a:solidFill>
              </a:rPr>
              <a:t>                                                                                 </a:t>
            </a:r>
            <a:r>
              <a:rPr lang="ru-RU" sz="1400" b="1" dirty="0">
                <a:solidFill>
                  <a:srgbClr val="00338D"/>
                </a:solidFill>
              </a:rPr>
              <a:t>24</a:t>
            </a:r>
          </a:p>
        </p:txBody>
      </p:sp>
      <p:sp>
        <p:nvSpPr>
          <p:cNvPr id="11" name="TextBox 10">
            <a:hlinkClick r:id="rId8" action="ppaction://hlinksldjump"/>
            <a:extLst>
              <a:ext uri="{FF2B5EF4-FFF2-40B4-BE49-F238E27FC236}">
                <a16:creationId xmlns:a16="http://schemas.microsoft.com/office/drawing/2014/main" id="{66EB961E-1260-47D0-8A20-2FAAFADE55C3}"/>
              </a:ext>
            </a:extLst>
          </p:cNvPr>
          <p:cNvSpPr txBox="1"/>
          <p:nvPr/>
        </p:nvSpPr>
        <p:spPr>
          <a:xfrm>
            <a:off x="661481" y="3668360"/>
            <a:ext cx="10000034" cy="340519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</a:rPr>
              <a:t>7. </a:t>
            </a:r>
            <a:r>
              <a:rPr lang="ru-RU" sz="1200" dirty="0" err="1">
                <a:solidFill>
                  <a:schemeClr val="tx2"/>
                </a:solidFill>
              </a:rPr>
              <a:t>Ўзбекисто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еспубликасида</a:t>
            </a:r>
            <a:r>
              <a:rPr lang="ru-RU" sz="1200" dirty="0">
                <a:solidFill>
                  <a:schemeClr val="tx2"/>
                </a:solidFill>
              </a:rPr>
              <a:t> коррупция </a:t>
            </a:r>
            <a:r>
              <a:rPr lang="ru-RU" sz="1200" dirty="0" err="1">
                <a:solidFill>
                  <a:schemeClr val="tx2"/>
                </a:solidFill>
              </a:rPr>
              <a:t>ҳолатлари</a:t>
            </a:r>
            <a:r>
              <a:rPr lang="ru-RU" sz="1200" dirty="0">
                <a:solidFill>
                  <a:schemeClr val="tx2"/>
                </a:solidFill>
              </a:rPr>
              <a:t>                                                                                                                                        </a:t>
            </a:r>
            <a:r>
              <a:rPr lang="ru-RU" sz="1400" b="1" dirty="0">
                <a:solidFill>
                  <a:srgbClr val="00338D"/>
                </a:solidFill>
              </a:rPr>
              <a:t>27</a:t>
            </a:r>
          </a:p>
        </p:txBody>
      </p:sp>
      <p:sp>
        <p:nvSpPr>
          <p:cNvPr id="12" name="TextBox 11">
            <a:hlinkClick r:id="rId9" action="ppaction://hlinksldjump"/>
            <a:extLst>
              <a:ext uri="{FF2B5EF4-FFF2-40B4-BE49-F238E27FC236}">
                <a16:creationId xmlns:a16="http://schemas.microsoft.com/office/drawing/2014/main" id="{A8AF59A8-C941-4E05-86EE-D2EC3725CA3E}"/>
              </a:ext>
            </a:extLst>
          </p:cNvPr>
          <p:cNvSpPr txBox="1"/>
          <p:nvPr/>
        </p:nvSpPr>
        <p:spPr>
          <a:xfrm>
            <a:off x="661481" y="4068882"/>
            <a:ext cx="10000034" cy="340519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</a:rPr>
              <a:t>8. </a:t>
            </a:r>
            <a:r>
              <a:rPr lang="ru-RU" sz="1200" dirty="0" err="1">
                <a:solidFill>
                  <a:schemeClr val="tx2"/>
                </a:solidFill>
              </a:rPr>
              <a:t>Турл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млакатлар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иқтисодиё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рмоқлари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фаолия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оҳаларида</a:t>
            </a:r>
            <a:r>
              <a:rPr lang="ru-RU" sz="1200" dirty="0">
                <a:solidFill>
                  <a:schemeClr val="tx2"/>
                </a:solidFill>
              </a:rPr>
              <a:t> коррупция </a:t>
            </a:r>
            <a:r>
              <a:rPr lang="ru-RU" sz="1200" dirty="0" err="1">
                <a:solidFill>
                  <a:schemeClr val="tx2"/>
                </a:solidFill>
              </a:rPr>
              <a:t>даражас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йич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алқаро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дқиқотлар</a:t>
            </a:r>
            <a:r>
              <a:rPr lang="ru-RU" sz="1200" dirty="0">
                <a:solidFill>
                  <a:schemeClr val="tx2"/>
                </a:solidFill>
              </a:rPr>
              <a:t>                         </a:t>
            </a:r>
            <a:r>
              <a:rPr lang="ru-RU" sz="1400" b="1" dirty="0">
                <a:solidFill>
                  <a:srgbClr val="00338D"/>
                </a:solidFill>
              </a:rPr>
              <a:t>29</a:t>
            </a:r>
          </a:p>
        </p:txBody>
      </p:sp>
      <p:sp>
        <p:nvSpPr>
          <p:cNvPr id="13" name="TextBox 12">
            <a:hlinkClick r:id="rId10" action="ppaction://hlinksldjump"/>
            <a:extLst>
              <a:ext uri="{FF2B5EF4-FFF2-40B4-BE49-F238E27FC236}">
                <a16:creationId xmlns:a16="http://schemas.microsoft.com/office/drawing/2014/main" id="{BC4DFE58-BD33-4B38-B4CB-475B81D06B65}"/>
              </a:ext>
            </a:extLst>
          </p:cNvPr>
          <p:cNvSpPr txBox="1"/>
          <p:nvPr/>
        </p:nvSpPr>
        <p:spPr>
          <a:xfrm>
            <a:off x="661481" y="4903978"/>
            <a:ext cx="10000034" cy="340519"/>
          </a:xfrm>
          <a:prstGeom prst="roundRect">
            <a:avLst/>
          </a:prstGeom>
          <a:ln>
            <a:solidFill>
              <a:srgbClr val="49A9F6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400" b="1" dirty="0" err="1">
                <a:solidFill>
                  <a:srgbClr val="00338D"/>
                </a:solidFill>
              </a:rPr>
              <a:t>Билимлар</a:t>
            </a:r>
            <a:r>
              <a:rPr lang="ru-RU" sz="1400" b="1" dirty="0">
                <a:solidFill>
                  <a:srgbClr val="00338D"/>
                </a:solidFill>
              </a:rPr>
              <a:t> </a:t>
            </a:r>
            <a:r>
              <a:rPr lang="ru-RU" sz="1400" b="1" dirty="0" err="1">
                <a:solidFill>
                  <a:srgbClr val="00338D"/>
                </a:solidFill>
              </a:rPr>
              <a:t>назорати</a:t>
            </a:r>
            <a:r>
              <a:rPr lang="ru-RU" sz="1400" b="1" dirty="0">
                <a:solidFill>
                  <a:srgbClr val="00338D"/>
                </a:solidFill>
              </a:rPr>
              <a:t>                                                                                                                                                              41</a:t>
            </a:r>
          </a:p>
        </p:txBody>
      </p:sp>
      <p:sp>
        <p:nvSpPr>
          <p:cNvPr id="14" name="TextBox 13">
            <a:hlinkClick r:id="rId11" action="ppaction://hlinksldjump"/>
            <a:extLst>
              <a:ext uri="{FF2B5EF4-FFF2-40B4-BE49-F238E27FC236}">
                <a16:creationId xmlns:a16="http://schemas.microsoft.com/office/drawing/2014/main" id="{4B98322A-47BB-4EB1-8642-142A22FE3852}"/>
              </a:ext>
            </a:extLst>
          </p:cNvPr>
          <p:cNvSpPr txBox="1"/>
          <p:nvPr/>
        </p:nvSpPr>
        <p:spPr>
          <a:xfrm>
            <a:off x="661481" y="5349699"/>
            <a:ext cx="10000034" cy="340519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 err="1">
                <a:solidFill>
                  <a:schemeClr val="tx2"/>
                </a:solidFill>
              </a:rPr>
              <a:t>Назор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аволлари</a:t>
            </a:r>
            <a:r>
              <a:rPr lang="ru-RU" sz="1200" dirty="0">
                <a:solidFill>
                  <a:schemeClr val="tx2"/>
                </a:solidFill>
              </a:rPr>
              <a:t>                                                                                                                                                                                               </a:t>
            </a:r>
            <a:r>
              <a:rPr lang="ru-RU" sz="1400" b="1" dirty="0">
                <a:solidFill>
                  <a:srgbClr val="00338D"/>
                </a:solidFill>
              </a:rPr>
              <a:t>42</a:t>
            </a:r>
          </a:p>
        </p:txBody>
      </p:sp>
      <p:sp>
        <p:nvSpPr>
          <p:cNvPr id="15" name="TextBox 14">
            <a:hlinkClick r:id="rId12" action="ppaction://hlinksldjump"/>
            <a:extLst>
              <a:ext uri="{FF2B5EF4-FFF2-40B4-BE49-F238E27FC236}">
                <a16:creationId xmlns:a16="http://schemas.microsoft.com/office/drawing/2014/main" id="{76E7C83F-575D-4D65-B179-B69AB3A0808A}"/>
              </a:ext>
            </a:extLst>
          </p:cNvPr>
          <p:cNvSpPr txBox="1"/>
          <p:nvPr/>
        </p:nvSpPr>
        <p:spPr>
          <a:xfrm>
            <a:off x="661481" y="5750221"/>
            <a:ext cx="10000034" cy="340519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2"/>
                </a:solidFill>
              </a:rPr>
              <a:t>Тест                                                                                                                                                                                                                        </a:t>
            </a:r>
            <a:r>
              <a:rPr lang="ru-RU" sz="1400" b="1" dirty="0">
                <a:solidFill>
                  <a:srgbClr val="00338D"/>
                </a:solidFill>
              </a:rPr>
              <a:t>43</a:t>
            </a:r>
          </a:p>
        </p:txBody>
      </p:sp>
      <p:sp>
        <p:nvSpPr>
          <p:cNvPr id="16" name="TextBox 15">
            <a:hlinkClick r:id="rId13" action="ppaction://hlinksldjump"/>
            <a:extLst>
              <a:ext uri="{FF2B5EF4-FFF2-40B4-BE49-F238E27FC236}">
                <a16:creationId xmlns:a16="http://schemas.microsoft.com/office/drawing/2014/main" id="{B3A07269-004B-406F-85DC-5D95810DCB89}"/>
              </a:ext>
            </a:extLst>
          </p:cNvPr>
          <p:cNvSpPr txBox="1"/>
          <p:nvPr/>
        </p:nvSpPr>
        <p:spPr>
          <a:xfrm>
            <a:off x="661481" y="4469404"/>
            <a:ext cx="10000034" cy="340519"/>
          </a:xfrm>
          <a:prstGeom prst="roundRect">
            <a:avLst/>
          </a:prstGeom>
          <a:ln>
            <a:solidFill>
              <a:srgbClr val="49A9F6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338D"/>
                </a:solidFill>
              </a:rPr>
              <a:t>Семинар                                                                                                                                                                                  39</a:t>
            </a:r>
          </a:p>
        </p:txBody>
      </p:sp>
    </p:spTree>
    <p:extLst>
      <p:ext uri="{BB962C8B-B14F-4D97-AF65-F5344CB8AC3E}">
        <p14:creationId xmlns:p14="http://schemas.microsoft.com/office/powerpoint/2010/main" val="30530024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2C6541-2A31-4E7F-B834-4CE389EA3A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4400" dirty="0" err="1"/>
              <a:t>Фирибгарлик</a:t>
            </a:r>
            <a:r>
              <a:rPr lang="ru-RU" sz="4400" dirty="0"/>
              <a:t> </a:t>
            </a:r>
            <a:r>
              <a:rPr lang="ru-RU" sz="4400" dirty="0" err="1"/>
              <a:t>учбурчаги</a:t>
            </a:r>
            <a:r>
              <a:rPr lang="ru-RU" sz="4400" dirty="0"/>
              <a:t> </a:t>
            </a:r>
            <a:r>
              <a:rPr lang="ru-RU" sz="4400" dirty="0" err="1"/>
              <a:t>ва</a:t>
            </a:r>
            <a:r>
              <a:rPr lang="ru-RU" sz="4400" dirty="0"/>
              <a:t> </a:t>
            </a:r>
            <a:r>
              <a:rPr lang="ru-RU" sz="4400" dirty="0" err="1"/>
              <a:t>коррупцион</a:t>
            </a:r>
            <a:r>
              <a:rPr lang="ru-RU" sz="4400" dirty="0"/>
              <a:t> </a:t>
            </a:r>
            <a:r>
              <a:rPr lang="ru-RU" sz="4400" dirty="0" err="1"/>
              <a:t>хулқ-атворни</a:t>
            </a:r>
            <a:r>
              <a:rPr lang="ru-RU" sz="4400" dirty="0"/>
              <a:t> </a:t>
            </a:r>
            <a:r>
              <a:rPr lang="ru-RU" sz="4400" dirty="0" err="1"/>
              <a:t>тушунтирувчи</a:t>
            </a:r>
            <a:r>
              <a:rPr lang="ru-RU" sz="4400" dirty="0"/>
              <a:t> </a:t>
            </a:r>
            <a:r>
              <a:rPr lang="ru-RU" sz="4400" dirty="0" err="1"/>
              <a:t>бошқа</a:t>
            </a:r>
            <a:r>
              <a:rPr lang="ru-RU" sz="4400" dirty="0"/>
              <a:t> </a:t>
            </a:r>
            <a:r>
              <a:rPr lang="ru-RU" sz="4400" dirty="0" err="1"/>
              <a:t>назариялар</a:t>
            </a:r>
            <a:endParaRPr lang="en-US" sz="44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EE0174C-B42B-4279-A654-0497B7B9D41F}"/>
              </a:ext>
            </a:extLst>
          </p:cNvPr>
          <p:cNvSpPr txBox="1">
            <a:spLocks/>
          </p:cNvSpPr>
          <p:nvPr/>
        </p:nvSpPr>
        <p:spPr>
          <a:xfrm>
            <a:off x="350378" y="5223794"/>
            <a:ext cx="2020192" cy="15216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9600" b="1" dirty="0">
                <a:solidFill>
                  <a:srgbClr val="1BD7D3"/>
                </a:solidFill>
                <a:latin typeface="Arial Black" panose="020B0A04020102020204" pitchFamily="34" charset="0"/>
              </a:rPr>
              <a:t>5.</a:t>
            </a:r>
            <a:endParaRPr lang="en-US" sz="9600" b="1" dirty="0">
              <a:solidFill>
                <a:srgbClr val="1BD7D3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51514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5801388-E484-4659-AEC7-E822157346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хатти-ҳаракатлари</a:t>
            </a:r>
            <a:r>
              <a:rPr lang="ru-RU" dirty="0"/>
              <a:t> </a:t>
            </a:r>
            <a:r>
              <a:rPr lang="ru-RU" dirty="0" err="1"/>
              <a:t>ҳақидаги</a:t>
            </a:r>
            <a:r>
              <a:rPr lang="ru-RU" dirty="0"/>
              <a:t> </a:t>
            </a:r>
            <a:r>
              <a:rPr lang="ru-RU" dirty="0" err="1"/>
              <a:t>назариялар</a:t>
            </a:r>
            <a:endParaRPr lang="en-US" dirty="0"/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DD204A01-6DC0-4F2B-B8C7-CD20C1A6E7A3}"/>
              </a:ext>
            </a:extLst>
          </p:cNvPr>
          <p:cNvSpPr txBox="1">
            <a:spLocks/>
          </p:cNvSpPr>
          <p:nvPr/>
        </p:nvSpPr>
        <p:spPr>
          <a:xfrm>
            <a:off x="842174" y="1836179"/>
            <a:ext cx="5188540" cy="2918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solidFill>
                  <a:srgbClr val="2414BC"/>
                </a:solidFill>
              </a:rPr>
              <a:t>Принципал-Агент </a:t>
            </a:r>
            <a:r>
              <a:rPr lang="ru-RU" sz="2000" dirty="0" err="1">
                <a:solidFill>
                  <a:srgbClr val="2414BC"/>
                </a:solidFill>
              </a:rPr>
              <a:t>иқтисодий</a:t>
            </a:r>
            <a:r>
              <a:rPr lang="ru-RU" sz="2000" dirty="0">
                <a:solidFill>
                  <a:srgbClr val="2414BC"/>
                </a:solidFill>
              </a:rPr>
              <a:t> модели</a:t>
            </a:r>
          </a:p>
        </p:txBody>
      </p:sp>
      <p:sp>
        <p:nvSpPr>
          <p:cNvPr id="5" name="Freeform 83">
            <a:extLst>
              <a:ext uri="{FF2B5EF4-FFF2-40B4-BE49-F238E27FC236}">
                <a16:creationId xmlns:a16="http://schemas.microsoft.com/office/drawing/2014/main" id="{21D14CCB-8572-439E-98FE-06F35D2875BA}"/>
              </a:ext>
            </a:extLst>
          </p:cNvPr>
          <p:cNvSpPr/>
          <p:nvPr/>
        </p:nvSpPr>
        <p:spPr>
          <a:xfrm>
            <a:off x="438150" y="1282701"/>
            <a:ext cx="1277439" cy="1702568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>
              <a:solidFill>
                <a:srgbClr val="1BD7D3"/>
              </a:solidFill>
              <a:latin typeface="Gotham Light" pitchFamily="50" charset="0"/>
            </a:endParaRPr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7A126BF8-2D1C-4BDF-AA87-9646A8887004}"/>
              </a:ext>
            </a:extLst>
          </p:cNvPr>
          <p:cNvSpPr txBox="1">
            <a:spLocks/>
          </p:cNvSpPr>
          <p:nvPr/>
        </p:nvSpPr>
        <p:spPr>
          <a:xfrm>
            <a:off x="6571462" y="1836179"/>
            <a:ext cx="5188540" cy="2918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solidFill>
                  <a:srgbClr val="2414BC"/>
                </a:solidFill>
              </a:rPr>
              <a:t>Коллектив </a:t>
            </a:r>
            <a:r>
              <a:rPr lang="ru-RU" sz="2000" dirty="0" err="1">
                <a:solidFill>
                  <a:srgbClr val="2414BC"/>
                </a:solidFill>
              </a:rPr>
              <a:t>ҳаракатлар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назарияси</a:t>
            </a:r>
            <a:r>
              <a:rPr lang="ru-RU" sz="2000" dirty="0">
                <a:solidFill>
                  <a:srgbClr val="2414BC"/>
                </a:solidFill>
              </a:rPr>
              <a:t> модели</a:t>
            </a:r>
          </a:p>
        </p:txBody>
      </p:sp>
      <p:sp>
        <p:nvSpPr>
          <p:cNvPr id="7" name="Freeform 83">
            <a:extLst>
              <a:ext uri="{FF2B5EF4-FFF2-40B4-BE49-F238E27FC236}">
                <a16:creationId xmlns:a16="http://schemas.microsoft.com/office/drawing/2014/main" id="{BA017ECD-831F-4327-9DBD-C0EE96171C75}"/>
              </a:ext>
            </a:extLst>
          </p:cNvPr>
          <p:cNvSpPr/>
          <p:nvPr/>
        </p:nvSpPr>
        <p:spPr>
          <a:xfrm>
            <a:off x="6167438" y="1282701"/>
            <a:ext cx="1277439" cy="1702568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>
              <a:solidFill>
                <a:srgbClr val="1BD7D3"/>
              </a:solidFill>
              <a:latin typeface="Gotham Light" pitchFamily="50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C9C030-B544-4D92-814C-D70CF3286265}"/>
              </a:ext>
            </a:extLst>
          </p:cNvPr>
          <p:cNvSpPr/>
          <p:nvPr/>
        </p:nvSpPr>
        <p:spPr>
          <a:xfrm>
            <a:off x="431999" y="3206483"/>
            <a:ext cx="5185367" cy="29546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шбу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р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до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си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д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дим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си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лари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ос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ципа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ъ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моатчил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омпан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ҳбарлар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моя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ра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.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оқ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л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лар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пинч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лар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ид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ад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тк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ерарх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лат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ш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ма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улар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длар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йдалани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мки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г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у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п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ълумотлар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га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шбу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вофиқ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оррупция ни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акат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тирувчи-бу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z-Cyrl-UZ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ид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ос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лар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каз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йдаланадиг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хборо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иметриясиди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701CE41-8FDD-4F1C-8267-CB9134BB0486}"/>
              </a:ext>
            </a:extLst>
          </p:cNvPr>
          <p:cNvSpPr/>
          <p:nvPr/>
        </p:nvSpPr>
        <p:spPr>
          <a:xfrm>
            <a:off x="6167438" y="3206483"/>
            <a:ext cx="5592563" cy="281615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шбу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ираси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нципал-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ли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носабатла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тирокчилар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ла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фзалликлари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ража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шириш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илишад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шбу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носабат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ираси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тил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кофот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ида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йи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йнаш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син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л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тиш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о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ад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у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шбу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ария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онч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он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жтимо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ъёрлар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дро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ш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б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миллар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ҳамияти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кидлайд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с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виш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гент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и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тил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кофот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гишл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г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мият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ирасидаг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рупция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тти-ҳаракатла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буллиг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иланад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ррупция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жтимо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ланс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ам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б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ибатлар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ма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оррупция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акатлари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нашади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ун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лар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лол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ш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ъ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рмайди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райвер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орма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фати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жтимо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ул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нишиди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663260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 6">
            <a:extLst>
              <a:ext uri="{FF2B5EF4-FFF2-40B4-BE49-F238E27FC236}">
                <a16:creationId xmlns:a16="http://schemas.microsoft.com/office/drawing/2014/main" id="{1542C525-EF8F-454A-A3BF-05F560702611}"/>
              </a:ext>
            </a:extLst>
          </p:cNvPr>
          <p:cNvSpPr>
            <a:spLocks noChangeAspect="1"/>
          </p:cNvSpPr>
          <p:nvPr/>
        </p:nvSpPr>
        <p:spPr bwMode="gray">
          <a:xfrm>
            <a:off x="7303170" y="2550720"/>
            <a:ext cx="4358081" cy="3364131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rgbClr val="49A9F6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6671B7-8944-464E-8C29-66E48CB38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Фирибгарлик</a:t>
            </a:r>
            <a:r>
              <a:rPr lang="ru-RU" dirty="0"/>
              <a:t> </a:t>
            </a:r>
            <a:r>
              <a:rPr lang="ru-RU" dirty="0" err="1"/>
              <a:t>учбурчаги</a:t>
            </a:r>
            <a:r>
              <a:rPr lang="ru-RU" dirty="0"/>
              <a:t> (1/2)</a:t>
            </a:r>
            <a:endParaRPr lang="en-US" dirty="0"/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BB8F9DF6-0365-4817-A153-CA9F3C610DAD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BCC9A2-6C57-4B44-B68F-A4EF0FBDBF1C}"/>
              </a:ext>
            </a:extLst>
          </p:cNvPr>
          <p:cNvSpPr/>
          <p:nvPr/>
        </p:nvSpPr>
        <p:spPr>
          <a:xfrm>
            <a:off x="1400139" y="1282700"/>
            <a:ext cx="924884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000" b="1" dirty="0" err="1">
                <a:solidFill>
                  <a:srgbClr val="49A9F6"/>
                </a:solidFill>
              </a:rPr>
              <a:t>Фирибгарлик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учбурчаг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фирибгарлик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тўғрисид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қаро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қабул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қилишда</a:t>
            </a:r>
            <a:r>
              <a:rPr lang="ru-RU" sz="2000" b="1" dirty="0">
                <a:solidFill>
                  <a:srgbClr val="49A9F6"/>
                </a:solidFill>
              </a:rPr>
              <a:t> рол </a:t>
            </a:r>
            <a:r>
              <a:rPr lang="ru-RU" sz="2000" b="1" dirty="0" err="1">
                <a:solidFill>
                  <a:srgbClr val="49A9F6"/>
                </a:solidFill>
              </a:rPr>
              <a:t>ўйнайдиган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учт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асосий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омилн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кўрсатиб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беради</a:t>
            </a:r>
            <a:r>
              <a:rPr lang="ru-RU" sz="2000" b="1" dirty="0">
                <a:solidFill>
                  <a:srgbClr val="49A9F6"/>
                </a:solidFill>
              </a:rPr>
              <a:t>: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5BEEF54-0898-4D55-A291-44EF85BC9C63}"/>
              </a:ext>
            </a:extLst>
          </p:cNvPr>
          <p:cNvGrpSpPr/>
          <p:nvPr/>
        </p:nvGrpSpPr>
        <p:grpSpPr>
          <a:xfrm>
            <a:off x="532000" y="1371585"/>
            <a:ext cx="504825" cy="508055"/>
            <a:chOff x="4505952" y="2035969"/>
            <a:chExt cx="504825" cy="508055"/>
          </a:xfrm>
          <a:solidFill>
            <a:schemeClr val="bg2">
              <a:lumMod val="25000"/>
            </a:schemeClr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490BE19A-9575-450B-940C-41C351E97866}"/>
                </a:ext>
              </a:extLst>
            </p:cNvPr>
            <p:cNvSpPr/>
            <p:nvPr/>
          </p:nvSpPr>
          <p:spPr>
            <a:xfrm>
              <a:off x="4505952" y="2296374"/>
              <a:ext cx="504825" cy="247650"/>
            </a:xfrm>
            <a:custGeom>
              <a:avLst/>
              <a:gdLst>
                <a:gd name="connsiteX0" fmla="*/ 500991 w 504825"/>
                <a:gd name="connsiteY0" fmla="*/ 112880 h 247650"/>
                <a:gd name="connsiteX1" fmla="*/ 434316 w 504825"/>
                <a:gd name="connsiteY1" fmla="*/ 11439 h 247650"/>
                <a:gd name="connsiteX2" fmla="*/ 422220 w 504825"/>
                <a:gd name="connsiteY2" fmla="*/ 8105 h 247650"/>
                <a:gd name="connsiteX3" fmla="*/ 254865 w 504825"/>
                <a:gd name="connsiteY3" fmla="*/ 88496 h 247650"/>
                <a:gd name="connsiteX4" fmla="*/ 87511 w 504825"/>
                <a:gd name="connsiteY4" fmla="*/ 8105 h 247650"/>
                <a:gd name="connsiteX5" fmla="*/ 75414 w 504825"/>
                <a:gd name="connsiteY5" fmla="*/ 11439 h 247650"/>
                <a:gd name="connsiteX6" fmla="*/ 8739 w 504825"/>
                <a:gd name="connsiteY6" fmla="*/ 112880 h 247650"/>
                <a:gd name="connsiteX7" fmla="*/ 7501 w 504825"/>
                <a:gd name="connsiteY7" fmla="*/ 120690 h 247650"/>
                <a:gd name="connsiteX8" fmla="*/ 12549 w 504825"/>
                <a:gd name="connsiteY8" fmla="*/ 126691 h 247650"/>
                <a:gd name="connsiteX9" fmla="*/ 250674 w 504825"/>
                <a:gd name="connsiteY9" fmla="*/ 241086 h 247650"/>
                <a:gd name="connsiteX10" fmla="*/ 254770 w 504825"/>
                <a:gd name="connsiteY10" fmla="*/ 242039 h 247650"/>
                <a:gd name="connsiteX11" fmla="*/ 258866 w 504825"/>
                <a:gd name="connsiteY11" fmla="*/ 241086 h 247650"/>
                <a:gd name="connsiteX12" fmla="*/ 496991 w 504825"/>
                <a:gd name="connsiteY12" fmla="*/ 126691 h 247650"/>
                <a:gd name="connsiteX13" fmla="*/ 502039 w 504825"/>
                <a:gd name="connsiteY13" fmla="*/ 120690 h 247650"/>
                <a:gd name="connsiteX14" fmla="*/ 500801 w 504825"/>
                <a:gd name="connsiteY14" fmla="*/ 112880 h 247650"/>
                <a:gd name="connsiteX15" fmla="*/ 86845 w 504825"/>
                <a:gd name="connsiteY15" fmla="*/ 28869 h 247650"/>
                <a:gd name="connsiteX16" fmla="*/ 245340 w 504825"/>
                <a:gd name="connsiteY16" fmla="*/ 104974 h 247650"/>
                <a:gd name="connsiteX17" fmla="*/ 245340 w 504825"/>
                <a:gd name="connsiteY17" fmla="*/ 217274 h 247650"/>
                <a:gd name="connsiteX18" fmla="*/ 30647 w 504825"/>
                <a:gd name="connsiteY18" fmla="*/ 114213 h 247650"/>
                <a:gd name="connsiteX19" fmla="*/ 86749 w 504825"/>
                <a:gd name="connsiteY19" fmla="*/ 28869 h 247650"/>
                <a:gd name="connsiteX20" fmla="*/ 264390 w 504825"/>
                <a:gd name="connsiteY20" fmla="*/ 217274 h 247650"/>
                <a:gd name="connsiteX21" fmla="*/ 264390 w 504825"/>
                <a:gd name="connsiteY21" fmla="*/ 104974 h 247650"/>
                <a:gd name="connsiteX22" fmla="*/ 422887 w 504825"/>
                <a:gd name="connsiteY22" fmla="*/ 28869 h 247650"/>
                <a:gd name="connsiteX23" fmla="*/ 478989 w 504825"/>
                <a:gd name="connsiteY23" fmla="*/ 114213 h 247650"/>
                <a:gd name="connsiteX24" fmla="*/ 264295 w 504825"/>
                <a:gd name="connsiteY24" fmla="*/ 217274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04825" h="247650">
                  <a:moveTo>
                    <a:pt x="500991" y="112880"/>
                  </a:moveTo>
                  <a:lnTo>
                    <a:pt x="434316" y="11439"/>
                  </a:lnTo>
                  <a:cubicBezTo>
                    <a:pt x="431745" y="7438"/>
                    <a:pt x="426506" y="6009"/>
                    <a:pt x="422220" y="8105"/>
                  </a:cubicBezTo>
                  <a:lnTo>
                    <a:pt x="254865" y="88496"/>
                  </a:lnTo>
                  <a:lnTo>
                    <a:pt x="87511" y="8105"/>
                  </a:lnTo>
                  <a:cubicBezTo>
                    <a:pt x="83225" y="6009"/>
                    <a:pt x="77986" y="7438"/>
                    <a:pt x="75414" y="11439"/>
                  </a:cubicBezTo>
                  <a:lnTo>
                    <a:pt x="8739" y="112880"/>
                  </a:lnTo>
                  <a:cubicBezTo>
                    <a:pt x="7215" y="115166"/>
                    <a:pt x="6739" y="118023"/>
                    <a:pt x="7501" y="120690"/>
                  </a:cubicBezTo>
                  <a:cubicBezTo>
                    <a:pt x="8263" y="123357"/>
                    <a:pt x="10073" y="125548"/>
                    <a:pt x="12549" y="126691"/>
                  </a:cubicBezTo>
                  <a:lnTo>
                    <a:pt x="250674" y="241086"/>
                  </a:lnTo>
                  <a:cubicBezTo>
                    <a:pt x="252008" y="241753"/>
                    <a:pt x="253341" y="242039"/>
                    <a:pt x="254770" y="242039"/>
                  </a:cubicBezTo>
                  <a:cubicBezTo>
                    <a:pt x="256199" y="242039"/>
                    <a:pt x="257628" y="241753"/>
                    <a:pt x="258866" y="241086"/>
                  </a:cubicBezTo>
                  <a:lnTo>
                    <a:pt x="496991" y="126691"/>
                  </a:lnTo>
                  <a:cubicBezTo>
                    <a:pt x="499468" y="125453"/>
                    <a:pt x="501277" y="123262"/>
                    <a:pt x="502039" y="120690"/>
                  </a:cubicBezTo>
                  <a:cubicBezTo>
                    <a:pt x="502801" y="118023"/>
                    <a:pt x="502325" y="115166"/>
                    <a:pt x="500801" y="112880"/>
                  </a:cubicBezTo>
                  <a:close/>
                  <a:moveTo>
                    <a:pt x="86845" y="28869"/>
                  </a:moveTo>
                  <a:lnTo>
                    <a:pt x="245340" y="104974"/>
                  </a:lnTo>
                  <a:lnTo>
                    <a:pt x="245340" y="217274"/>
                  </a:lnTo>
                  <a:lnTo>
                    <a:pt x="30647" y="114213"/>
                  </a:lnTo>
                  <a:lnTo>
                    <a:pt x="86749" y="28869"/>
                  </a:lnTo>
                  <a:close/>
                  <a:moveTo>
                    <a:pt x="264390" y="217274"/>
                  </a:moveTo>
                  <a:lnTo>
                    <a:pt x="264390" y="104974"/>
                  </a:lnTo>
                  <a:lnTo>
                    <a:pt x="422887" y="28869"/>
                  </a:lnTo>
                  <a:lnTo>
                    <a:pt x="478989" y="114213"/>
                  </a:lnTo>
                  <a:lnTo>
                    <a:pt x="264295" y="2172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CAFC215-5B45-4B67-AFAB-9D986BC2ED4D}"/>
                </a:ext>
              </a:extLst>
            </p:cNvPr>
            <p:cNvSpPr/>
            <p:nvPr/>
          </p:nvSpPr>
          <p:spPr>
            <a:xfrm>
              <a:off x="4572627" y="2195028"/>
              <a:ext cx="371475" cy="209550"/>
            </a:xfrm>
            <a:custGeom>
              <a:avLst/>
              <a:gdLst>
                <a:gd name="connsiteX0" fmla="*/ 367641 w 371475"/>
                <a:gd name="connsiteY0" fmla="*/ 112880 h 209550"/>
                <a:gd name="connsiteX1" fmla="*/ 300966 w 371475"/>
                <a:gd name="connsiteY1" fmla="*/ 11439 h 209550"/>
                <a:gd name="connsiteX2" fmla="*/ 288870 w 371475"/>
                <a:gd name="connsiteY2" fmla="*/ 8105 h 209550"/>
                <a:gd name="connsiteX3" fmla="*/ 188190 w 371475"/>
                <a:gd name="connsiteY3" fmla="*/ 56397 h 209550"/>
                <a:gd name="connsiteX4" fmla="*/ 87511 w 371475"/>
                <a:gd name="connsiteY4" fmla="*/ 8105 h 209550"/>
                <a:gd name="connsiteX5" fmla="*/ 75414 w 371475"/>
                <a:gd name="connsiteY5" fmla="*/ 11439 h 209550"/>
                <a:gd name="connsiteX6" fmla="*/ 8739 w 371475"/>
                <a:gd name="connsiteY6" fmla="*/ 112880 h 209550"/>
                <a:gd name="connsiteX7" fmla="*/ 7501 w 371475"/>
                <a:gd name="connsiteY7" fmla="*/ 120690 h 209550"/>
                <a:gd name="connsiteX8" fmla="*/ 12549 w 371475"/>
                <a:gd name="connsiteY8" fmla="*/ 126691 h 209550"/>
                <a:gd name="connsiteX9" fmla="*/ 183999 w 371475"/>
                <a:gd name="connsiteY9" fmla="*/ 208987 h 209550"/>
                <a:gd name="connsiteX10" fmla="*/ 188095 w 371475"/>
                <a:gd name="connsiteY10" fmla="*/ 209940 h 209550"/>
                <a:gd name="connsiteX11" fmla="*/ 192191 w 371475"/>
                <a:gd name="connsiteY11" fmla="*/ 208987 h 209550"/>
                <a:gd name="connsiteX12" fmla="*/ 363641 w 371475"/>
                <a:gd name="connsiteY12" fmla="*/ 126691 h 209550"/>
                <a:gd name="connsiteX13" fmla="*/ 368689 w 371475"/>
                <a:gd name="connsiteY13" fmla="*/ 120690 h 209550"/>
                <a:gd name="connsiteX14" fmla="*/ 367451 w 371475"/>
                <a:gd name="connsiteY14" fmla="*/ 112880 h 209550"/>
                <a:gd name="connsiteX15" fmla="*/ 86845 w 371475"/>
                <a:gd name="connsiteY15" fmla="*/ 28869 h 209550"/>
                <a:gd name="connsiteX16" fmla="*/ 178665 w 371475"/>
                <a:gd name="connsiteY16" fmla="*/ 72970 h 209550"/>
                <a:gd name="connsiteX17" fmla="*/ 178665 w 371475"/>
                <a:gd name="connsiteY17" fmla="*/ 185270 h 209550"/>
                <a:gd name="connsiteX18" fmla="*/ 30647 w 371475"/>
                <a:gd name="connsiteY18" fmla="*/ 114213 h 209550"/>
                <a:gd name="connsiteX19" fmla="*/ 86749 w 371475"/>
                <a:gd name="connsiteY19" fmla="*/ 28869 h 209550"/>
                <a:gd name="connsiteX20" fmla="*/ 197715 w 371475"/>
                <a:gd name="connsiteY20" fmla="*/ 185270 h 209550"/>
                <a:gd name="connsiteX21" fmla="*/ 197715 w 371475"/>
                <a:gd name="connsiteY21" fmla="*/ 72970 h 209550"/>
                <a:gd name="connsiteX22" fmla="*/ 289537 w 371475"/>
                <a:gd name="connsiteY22" fmla="*/ 28869 h 209550"/>
                <a:gd name="connsiteX23" fmla="*/ 345639 w 371475"/>
                <a:gd name="connsiteY23" fmla="*/ 114213 h 209550"/>
                <a:gd name="connsiteX24" fmla="*/ 197620 w 371475"/>
                <a:gd name="connsiteY24" fmla="*/ 18527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71475" h="209550">
                  <a:moveTo>
                    <a:pt x="367641" y="112880"/>
                  </a:moveTo>
                  <a:lnTo>
                    <a:pt x="300966" y="11439"/>
                  </a:lnTo>
                  <a:cubicBezTo>
                    <a:pt x="298395" y="7438"/>
                    <a:pt x="293156" y="6009"/>
                    <a:pt x="288870" y="8105"/>
                  </a:cubicBezTo>
                  <a:lnTo>
                    <a:pt x="188190" y="56397"/>
                  </a:lnTo>
                  <a:lnTo>
                    <a:pt x="87511" y="8105"/>
                  </a:lnTo>
                  <a:cubicBezTo>
                    <a:pt x="83225" y="6009"/>
                    <a:pt x="77986" y="7438"/>
                    <a:pt x="75414" y="11439"/>
                  </a:cubicBezTo>
                  <a:lnTo>
                    <a:pt x="8739" y="112880"/>
                  </a:lnTo>
                  <a:cubicBezTo>
                    <a:pt x="7215" y="115166"/>
                    <a:pt x="6739" y="118023"/>
                    <a:pt x="7501" y="120690"/>
                  </a:cubicBezTo>
                  <a:cubicBezTo>
                    <a:pt x="8263" y="123357"/>
                    <a:pt x="10073" y="125548"/>
                    <a:pt x="12549" y="126691"/>
                  </a:cubicBezTo>
                  <a:lnTo>
                    <a:pt x="183999" y="208987"/>
                  </a:lnTo>
                  <a:cubicBezTo>
                    <a:pt x="185333" y="209654"/>
                    <a:pt x="186666" y="209940"/>
                    <a:pt x="188095" y="209940"/>
                  </a:cubicBezTo>
                  <a:cubicBezTo>
                    <a:pt x="189524" y="209940"/>
                    <a:pt x="190953" y="209654"/>
                    <a:pt x="192191" y="208987"/>
                  </a:cubicBezTo>
                  <a:lnTo>
                    <a:pt x="363641" y="126691"/>
                  </a:lnTo>
                  <a:cubicBezTo>
                    <a:pt x="366118" y="125548"/>
                    <a:pt x="367927" y="123262"/>
                    <a:pt x="368689" y="120690"/>
                  </a:cubicBezTo>
                  <a:cubicBezTo>
                    <a:pt x="369451" y="118023"/>
                    <a:pt x="368975" y="115166"/>
                    <a:pt x="367451" y="112880"/>
                  </a:cubicBezTo>
                  <a:close/>
                  <a:moveTo>
                    <a:pt x="86845" y="28869"/>
                  </a:moveTo>
                  <a:lnTo>
                    <a:pt x="178665" y="72970"/>
                  </a:lnTo>
                  <a:lnTo>
                    <a:pt x="178665" y="185270"/>
                  </a:lnTo>
                  <a:lnTo>
                    <a:pt x="30647" y="114213"/>
                  </a:lnTo>
                  <a:lnTo>
                    <a:pt x="86749" y="28869"/>
                  </a:lnTo>
                  <a:close/>
                  <a:moveTo>
                    <a:pt x="197715" y="185270"/>
                  </a:moveTo>
                  <a:lnTo>
                    <a:pt x="197715" y="72970"/>
                  </a:lnTo>
                  <a:lnTo>
                    <a:pt x="289537" y="28869"/>
                  </a:lnTo>
                  <a:lnTo>
                    <a:pt x="345639" y="114213"/>
                  </a:lnTo>
                  <a:lnTo>
                    <a:pt x="197620" y="1852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291732E-B009-47E1-9B28-00C61DA15A2F}"/>
                </a:ext>
              </a:extLst>
            </p:cNvPr>
            <p:cNvSpPr/>
            <p:nvPr/>
          </p:nvSpPr>
          <p:spPr>
            <a:xfrm>
              <a:off x="4561936" y="2345333"/>
              <a:ext cx="390525" cy="133350"/>
            </a:xfrm>
            <a:custGeom>
              <a:avLst/>
              <a:gdLst>
                <a:gd name="connsiteX0" fmla="*/ 130112 w 390525"/>
                <a:gd name="connsiteY0" fmla="*/ 97735 h 133350"/>
                <a:gd name="connsiteX1" fmla="*/ 117443 w 390525"/>
                <a:gd name="connsiteY1" fmla="*/ 102116 h 133350"/>
                <a:gd name="connsiteX2" fmla="*/ 116491 w 390525"/>
                <a:gd name="connsiteY2" fmla="*/ 106307 h 133350"/>
                <a:gd name="connsiteX3" fmla="*/ 121920 w 390525"/>
                <a:gd name="connsiteY3" fmla="*/ 114880 h 133350"/>
                <a:gd name="connsiteX4" fmla="*/ 126016 w 390525"/>
                <a:gd name="connsiteY4" fmla="*/ 115832 h 133350"/>
                <a:gd name="connsiteX5" fmla="*/ 134588 w 390525"/>
                <a:gd name="connsiteY5" fmla="*/ 110403 h 133350"/>
                <a:gd name="connsiteX6" fmla="*/ 135541 w 390525"/>
                <a:gd name="connsiteY6" fmla="*/ 106307 h 133350"/>
                <a:gd name="connsiteX7" fmla="*/ 130112 w 390525"/>
                <a:gd name="connsiteY7" fmla="*/ 97735 h 133350"/>
                <a:gd name="connsiteX8" fmla="*/ 166592 w 390525"/>
                <a:gd name="connsiteY8" fmla="*/ 115166 h 133350"/>
                <a:gd name="connsiteX9" fmla="*/ 153924 w 390525"/>
                <a:gd name="connsiteY9" fmla="*/ 119642 h 133350"/>
                <a:gd name="connsiteX10" fmla="*/ 152972 w 390525"/>
                <a:gd name="connsiteY10" fmla="*/ 123833 h 133350"/>
                <a:gd name="connsiteX11" fmla="*/ 158401 w 390525"/>
                <a:gd name="connsiteY11" fmla="*/ 132406 h 133350"/>
                <a:gd name="connsiteX12" fmla="*/ 162497 w 390525"/>
                <a:gd name="connsiteY12" fmla="*/ 133358 h 133350"/>
                <a:gd name="connsiteX13" fmla="*/ 171069 w 390525"/>
                <a:gd name="connsiteY13" fmla="*/ 127929 h 133350"/>
                <a:gd name="connsiteX14" fmla="*/ 172022 w 390525"/>
                <a:gd name="connsiteY14" fmla="*/ 123833 h 133350"/>
                <a:gd name="connsiteX15" fmla="*/ 166592 w 390525"/>
                <a:gd name="connsiteY15" fmla="*/ 115166 h 133350"/>
                <a:gd name="connsiteX16" fmla="*/ 267748 w 390525"/>
                <a:gd name="connsiteY16" fmla="*/ 97640 h 133350"/>
                <a:gd name="connsiteX17" fmla="*/ 262414 w 390525"/>
                <a:gd name="connsiteY17" fmla="*/ 106307 h 133350"/>
                <a:gd name="connsiteX18" fmla="*/ 263271 w 390525"/>
                <a:gd name="connsiteY18" fmla="*/ 110403 h 133350"/>
                <a:gd name="connsiteX19" fmla="*/ 271939 w 390525"/>
                <a:gd name="connsiteY19" fmla="*/ 115832 h 133350"/>
                <a:gd name="connsiteX20" fmla="*/ 276035 w 390525"/>
                <a:gd name="connsiteY20" fmla="*/ 114880 h 133350"/>
                <a:gd name="connsiteX21" fmla="*/ 281464 w 390525"/>
                <a:gd name="connsiteY21" fmla="*/ 106307 h 133350"/>
                <a:gd name="connsiteX22" fmla="*/ 280511 w 390525"/>
                <a:gd name="connsiteY22" fmla="*/ 102116 h 133350"/>
                <a:gd name="connsiteX23" fmla="*/ 267748 w 390525"/>
                <a:gd name="connsiteY23" fmla="*/ 97640 h 133350"/>
                <a:gd name="connsiteX24" fmla="*/ 231362 w 390525"/>
                <a:gd name="connsiteY24" fmla="*/ 115166 h 133350"/>
                <a:gd name="connsiteX25" fmla="*/ 225933 w 390525"/>
                <a:gd name="connsiteY25" fmla="*/ 123738 h 133350"/>
                <a:gd name="connsiteX26" fmla="*/ 226886 w 390525"/>
                <a:gd name="connsiteY26" fmla="*/ 127929 h 133350"/>
                <a:gd name="connsiteX27" fmla="*/ 235458 w 390525"/>
                <a:gd name="connsiteY27" fmla="*/ 133263 h 133350"/>
                <a:gd name="connsiteX28" fmla="*/ 239554 w 390525"/>
                <a:gd name="connsiteY28" fmla="*/ 132406 h 133350"/>
                <a:gd name="connsiteX29" fmla="*/ 244983 w 390525"/>
                <a:gd name="connsiteY29" fmla="*/ 123738 h 133350"/>
                <a:gd name="connsiteX30" fmla="*/ 244031 w 390525"/>
                <a:gd name="connsiteY30" fmla="*/ 119642 h 133350"/>
                <a:gd name="connsiteX31" fmla="*/ 231362 w 390525"/>
                <a:gd name="connsiteY31" fmla="*/ 115166 h 133350"/>
                <a:gd name="connsiteX32" fmla="*/ 57245 w 390525"/>
                <a:gd name="connsiteY32" fmla="*/ 62683 h 133350"/>
                <a:gd name="connsiteX33" fmla="*/ 44482 w 390525"/>
                <a:gd name="connsiteY33" fmla="*/ 67160 h 133350"/>
                <a:gd name="connsiteX34" fmla="*/ 43625 w 390525"/>
                <a:gd name="connsiteY34" fmla="*/ 71255 h 133350"/>
                <a:gd name="connsiteX35" fmla="*/ 48959 w 390525"/>
                <a:gd name="connsiteY35" fmla="*/ 79828 h 133350"/>
                <a:gd name="connsiteX36" fmla="*/ 53054 w 390525"/>
                <a:gd name="connsiteY36" fmla="*/ 80780 h 133350"/>
                <a:gd name="connsiteX37" fmla="*/ 61722 w 390525"/>
                <a:gd name="connsiteY37" fmla="*/ 75446 h 133350"/>
                <a:gd name="connsiteX38" fmla="*/ 62675 w 390525"/>
                <a:gd name="connsiteY38" fmla="*/ 71255 h 133350"/>
                <a:gd name="connsiteX39" fmla="*/ 57245 w 390525"/>
                <a:gd name="connsiteY39" fmla="*/ 62683 h 133350"/>
                <a:gd name="connsiteX40" fmla="*/ 93726 w 390525"/>
                <a:gd name="connsiteY40" fmla="*/ 80209 h 133350"/>
                <a:gd name="connsiteX41" fmla="*/ 80963 w 390525"/>
                <a:gd name="connsiteY41" fmla="*/ 84686 h 133350"/>
                <a:gd name="connsiteX42" fmla="*/ 80010 w 390525"/>
                <a:gd name="connsiteY42" fmla="*/ 88781 h 133350"/>
                <a:gd name="connsiteX43" fmla="*/ 85439 w 390525"/>
                <a:gd name="connsiteY43" fmla="*/ 97354 h 133350"/>
                <a:gd name="connsiteX44" fmla="*/ 89535 w 390525"/>
                <a:gd name="connsiteY44" fmla="*/ 98306 h 133350"/>
                <a:gd name="connsiteX45" fmla="*/ 98203 w 390525"/>
                <a:gd name="connsiteY45" fmla="*/ 92877 h 133350"/>
                <a:gd name="connsiteX46" fmla="*/ 99060 w 390525"/>
                <a:gd name="connsiteY46" fmla="*/ 88781 h 133350"/>
                <a:gd name="connsiteX47" fmla="*/ 93726 w 390525"/>
                <a:gd name="connsiteY47" fmla="*/ 80209 h 133350"/>
                <a:gd name="connsiteX48" fmla="*/ 14764 w 390525"/>
                <a:gd name="connsiteY48" fmla="*/ 44395 h 133350"/>
                <a:gd name="connsiteX49" fmla="*/ 12954 w 390525"/>
                <a:gd name="connsiteY49" fmla="*/ 44966 h 133350"/>
                <a:gd name="connsiteX50" fmla="*/ 11335 w 390525"/>
                <a:gd name="connsiteY50" fmla="*/ 45824 h 133350"/>
                <a:gd name="connsiteX51" fmla="*/ 9906 w 390525"/>
                <a:gd name="connsiteY51" fmla="*/ 47062 h 133350"/>
                <a:gd name="connsiteX52" fmla="*/ 7811 w 390525"/>
                <a:gd name="connsiteY52" fmla="*/ 50110 h 133350"/>
                <a:gd name="connsiteX53" fmla="*/ 7144 w 390525"/>
                <a:gd name="connsiteY53" fmla="*/ 53729 h 133350"/>
                <a:gd name="connsiteX54" fmla="*/ 7811 w 390525"/>
                <a:gd name="connsiteY54" fmla="*/ 57444 h 133350"/>
                <a:gd name="connsiteX55" fmla="*/ 9906 w 390525"/>
                <a:gd name="connsiteY55" fmla="*/ 60492 h 133350"/>
                <a:gd name="connsiteX56" fmla="*/ 16669 w 390525"/>
                <a:gd name="connsiteY56" fmla="*/ 63254 h 133350"/>
                <a:gd name="connsiteX57" fmla="*/ 23336 w 390525"/>
                <a:gd name="connsiteY57" fmla="*/ 60492 h 133350"/>
                <a:gd name="connsiteX58" fmla="*/ 26194 w 390525"/>
                <a:gd name="connsiteY58" fmla="*/ 53729 h 133350"/>
                <a:gd name="connsiteX59" fmla="*/ 23336 w 390525"/>
                <a:gd name="connsiteY59" fmla="*/ 47062 h 133350"/>
                <a:gd name="connsiteX60" fmla="*/ 14764 w 390525"/>
                <a:gd name="connsiteY60" fmla="*/ 44395 h 133350"/>
                <a:gd name="connsiteX61" fmla="*/ 340709 w 390525"/>
                <a:gd name="connsiteY61" fmla="*/ 62683 h 133350"/>
                <a:gd name="connsiteX62" fmla="*/ 335280 w 390525"/>
                <a:gd name="connsiteY62" fmla="*/ 71255 h 133350"/>
                <a:gd name="connsiteX63" fmla="*/ 336233 w 390525"/>
                <a:gd name="connsiteY63" fmla="*/ 75351 h 133350"/>
                <a:gd name="connsiteX64" fmla="*/ 344900 w 390525"/>
                <a:gd name="connsiteY64" fmla="*/ 80780 h 133350"/>
                <a:gd name="connsiteX65" fmla="*/ 348996 w 390525"/>
                <a:gd name="connsiteY65" fmla="*/ 79828 h 133350"/>
                <a:gd name="connsiteX66" fmla="*/ 354330 w 390525"/>
                <a:gd name="connsiteY66" fmla="*/ 71255 h 133350"/>
                <a:gd name="connsiteX67" fmla="*/ 353473 w 390525"/>
                <a:gd name="connsiteY67" fmla="*/ 67160 h 133350"/>
                <a:gd name="connsiteX68" fmla="*/ 340709 w 390525"/>
                <a:gd name="connsiteY68" fmla="*/ 62683 h 133350"/>
                <a:gd name="connsiteX69" fmla="*/ 304229 w 390525"/>
                <a:gd name="connsiteY69" fmla="*/ 80209 h 133350"/>
                <a:gd name="connsiteX70" fmla="*/ 298800 w 390525"/>
                <a:gd name="connsiteY70" fmla="*/ 88781 h 133350"/>
                <a:gd name="connsiteX71" fmla="*/ 299752 w 390525"/>
                <a:gd name="connsiteY71" fmla="*/ 92877 h 133350"/>
                <a:gd name="connsiteX72" fmla="*/ 308420 w 390525"/>
                <a:gd name="connsiteY72" fmla="*/ 98306 h 133350"/>
                <a:gd name="connsiteX73" fmla="*/ 312516 w 390525"/>
                <a:gd name="connsiteY73" fmla="*/ 97354 h 133350"/>
                <a:gd name="connsiteX74" fmla="*/ 317850 w 390525"/>
                <a:gd name="connsiteY74" fmla="*/ 88781 h 133350"/>
                <a:gd name="connsiteX75" fmla="*/ 316992 w 390525"/>
                <a:gd name="connsiteY75" fmla="*/ 84686 h 133350"/>
                <a:gd name="connsiteX76" fmla="*/ 304229 w 390525"/>
                <a:gd name="connsiteY76" fmla="*/ 80209 h 133350"/>
                <a:gd name="connsiteX77" fmla="*/ 390811 w 390525"/>
                <a:gd name="connsiteY77" fmla="*/ 53539 h 133350"/>
                <a:gd name="connsiteX78" fmla="*/ 390525 w 390525"/>
                <a:gd name="connsiteY78" fmla="*/ 52205 h 133350"/>
                <a:gd name="connsiteX79" fmla="*/ 389954 w 390525"/>
                <a:gd name="connsiteY79" fmla="*/ 49824 h 133350"/>
                <a:gd name="connsiteX80" fmla="*/ 389954 w 390525"/>
                <a:gd name="connsiteY80" fmla="*/ 49634 h 133350"/>
                <a:gd name="connsiteX81" fmla="*/ 389001 w 390525"/>
                <a:gd name="connsiteY81" fmla="*/ 48395 h 133350"/>
                <a:gd name="connsiteX82" fmla="*/ 388144 w 390525"/>
                <a:gd name="connsiteY82" fmla="*/ 47062 h 133350"/>
                <a:gd name="connsiteX83" fmla="*/ 387953 w 390525"/>
                <a:gd name="connsiteY83" fmla="*/ 46967 h 133350"/>
                <a:gd name="connsiteX84" fmla="*/ 377857 w 390525"/>
                <a:gd name="connsiteY84" fmla="*/ 44966 h 133350"/>
                <a:gd name="connsiteX85" fmla="*/ 377666 w 390525"/>
                <a:gd name="connsiteY85" fmla="*/ 44966 h 133350"/>
                <a:gd name="connsiteX86" fmla="*/ 377190 w 390525"/>
                <a:gd name="connsiteY86" fmla="*/ 45157 h 133350"/>
                <a:gd name="connsiteX87" fmla="*/ 375571 w 390525"/>
                <a:gd name="connsiteY87" fmla="*/ 46395 h 133350"/>
                <a:gd name="connsiteX88" fmla="*/ 374523 w 390525"/>
                <a:gd name="connsiteY88" fmla="*/ 47062 h 133350"/>
                <a:gd name="connsiteX89" fmla="*/ 374333 w 390525"/>
                <a:gd name="connsiteY89" fmla="*/ 47252 h 133350"/>
                <a:gd name="connsiteX90" fmla="*/ 373380 w 390525"/>
                <a:gd name="connsiteY90" fmla="*/ 48776 h 133350"/>
                <a:gd name="connsiteX91" fmla="*/ 372428 w 390525"/>
                <a:gd name="connsiteY91" fmla="*/ 50396 h 133350"/>
                <a:gd name="connsiteX92" fmla="*/ 372047 w 390525"/>
                <a:gd name="connsiteY92" fmla="*/ 52110 h 133350"/>
                <a:gd name="connsiteX93" fmla="*/ 371666 w 390525"/>
                <a:gd name="connsiteY93" fmla="*/ 53729 h 133350"/>
                <a:gd name="connsiteX94" fmla="*/ 371666 w 390525"/>
                <a:gd name="connsiteY94" fmla="*/ 54015 h 133350"/>
                <a:gd name="connsiteX95" fmla="*/ 372047 w 390525"/>
                <a:gd name="connsiteY95" fmla="*/ 55730 h 133350"/>
                <a:gd name="connsiteX96" fmla="*/ 372523 w 390525"/>
                <a:gd name="connsiteY96" fmla="*/ 57539 h 133350"/>
                <a:gd name="connsiteX97" fmla="*/ 372523 w 390525"/>
                <a:gd name="connsiteY97" fmla="*/ 57825 h 133350"/>
                <a:gd name="connsiteX98" fmla="*/ 374142 w 390525"/>
                <a:gd name="connsiteY98" fmla="*/ 60206 h 133350"/>
                <a:gd name="connsiteX99" fmla="*/ 374333 w 390525"/>
                <a:gd name="connsiteY99" fmla="*/ 60397 h 133350"/>
                <a:gd name="connsiteX100" fmla="*/ 375000 w 390525"/>
                <a:gd name="connsiteY100" fmla="*/ 60873 h 133350"/>
                <a:gd name="connsiteX101" fmla="*/ 376809 w 390525"/>
                <a:gd name="connsiteY101" fmla="*/ 62111 h 133350"/>
                <a:gd name="connsiteX102" fmla="*/ 377476 w 390525"/>
                <a:gd name="connsiteY102" fmla="*/ 62492 h 133350"/>
                <a:gd name="connsiteX103" fmla="*/ 378047 w 390525"/>
                <a:gd name="connsiteY103" fmla="*/ 62588 h 133350"/>
                <a:gd name="connsiteX104" fmla="*/ 381095 w 390525"/>
                <a:gd name="connsiteY104" fmla="*/ 63159 h 133350"/>
                <a:gd name="connsiteX105" fmla="*/ 384715 w 390525"/>
                <a:gd name="connsiteY105" fmla="*/ 62492 h 133350"/>
                <a:gd name="connsiteX106" fmla="*/ 384905 w 390525"/>
                <a:gd name="connsiteY106" fmla="*/ 62397 h 133350"/>
                <a:gd name="connsiteX107" fmla="*/ 385382 w 390525"/>
                <a:gd name="connsiteY107" fmla="*/ 62397 h 133350"/>
                <a:gd name="connsiteX108" fmla="*/ 387287 w 390525"/>
                <a:gd name="connsiteY108" fmla="*/ 60968 h 133350"/>
                <a:gd name="connsiteX109" fmla="*/ 387953 w 390525"/>
                <a:gd name="connsiteY109" fmla="*/ 60492 h 133350"/>
                <a:gd name="connsiteX110" fmla="*/ 388049 w 390525"/>
                <a:gd name="connsiteY110" fmla="*/ 60302 h 133350"/>
                <a:gd name="connsiteX111" fmla="*/ 389287 w 390525"/>
                <a:gd name="connsiteY111" fmla="*/ 58397 h 133350"/>
                <a:gd name="connsiteX112" fmla="*/ 390049 w 390525"/>
                <a:gd name="connsiteY112" fmla="*/ 57158 h 133350"/>
                <a:gd name="connsiteX113" fmla="*/ 390430 w 390525"/>
                <a:gd name="connsiteY113" fmla="*/ 55253 h 133350"/>
                <a:gd name="connsiteX114" fmla="*/ 390716 w 390525"/>
                <a:gd name="connsiteY114" fmla="*/ 53729 h 133350"/>
                <a:gd name="connsiteX115" fmla="*/ 390716 w 390525"/>
                <a:gd name="connsiteY115" fmla="*/ 53539 h 133350"/>
                <a:gd name="connsiteX116" fmla="*/ 89154 w 390525"/>
                <a:gd name="connsiteY116" fmla="*/ 39728 h 133350"/>
                <a:gd name="connsiteX117" fmla="*/ 90107 w 390525"/>
                <a:gd name="connsiteY117" fmla="*/ 35632 h 133350"/>
                <a:gd name="connsiteX118" fmla="*/ 84677 w 390525"/>
                <a:gd name="connsiteY118" fmla="*/ 26964 h 133350"/>
                <a:gd name="connsiteX119" fmla="*/ 71914 w 390525"/>
                <a:gd name="connsiteY119" fmla="*/ 31441 h 133350"/>
                <a:gd name="connsiteX120" fmla="*/ 70961 w 390525"/>
                <a:gd name="connsiteY120" fmla="*/ 35632 h 133350"/>
                <a:gd name="connsiteX121" fmla="*/ 76391 w 390525"/>
                <a:gd name="connsiteY121" fmla="*/ 44204 h 133350"/>
                <a:gd name="connsiteX122" fmla="*/ 80486 w 390525"/>
                <a:gd name="connsiteY122" fmla="*/ 45157 h 133350"/>
                <a:gd name="connsiteX123" fmla="*/ 89154 w 390525"/>
                <a:gd name="connsiteY123" fmla="*/ 39728 h 133350"/>
                <a:gd name="connsiteX124" fmla="*/ 362141 w 390525"/>
                <a:gd name="connsiteY124" fmla="*/ 8771 h 133350"/>
                <a:gd name="connsiteX125" fmla="*/ 360521 w 390525"/>
                <a:gd name="connsiteY125" fmla="*/ 7819 h 133350"/>
                <a:gd name="connsiteX126" fmla="*/ 358712 w 390525"/>
                <a:gd name="connsiteY126" fmla="*/ 7343 h 133350"/>
                <a:gd name="connsiteX127" fmla="*/ 350139 w 390525"/>
                <a:gd name="connsiteY127" fmla="*/ 9914 h 133350"/>
                <a:gd name="connsiteX128" fmla="*/ 347377 w 390525"/>
                <a:gd name="connsiteY128" fmla="*/ 16677 h 133350"/>
                <a:gd name="connsiteX129" fmla="*/ 348139 w 390525"/>
                <a:gd name="connsiteY129" fmla="*/ 20297 h 133350"/>
                <a:gd name="connsiteX130" fmla="*/ 350139 w 390525"/>
                <a:gd name="connsiteY130" fmla="*/ 23440 h 133350"/>
                <a:gd name="connsiteX131" fmla="*/ 356902 w 390525"/>
                <a:gd name="connsiteY131" fmla="*/ 26202 h 133350"/>
                <a:gd name="connsiteX132" fmla="*/ 360521 w 390525"/>
                <a:gd name="connsiteY132" fmla="*/ 25440 h 133350"/>
                <a:gd name="connsiteX133" fmla="*/ 363569 w 390525"/>
                <a:gd name="connsiteY133" fmla="*/ 23440 h 133350"/>
                <a:gd name="connsiteX134" fmla="*/ 365665 w 390525"/>
                <a:gd name="connsiteY134" fmla="*/ 20297 h 133350"/>
                <a:gd name="connsiteX135" fmla="*/ 366427 w 390525"/>
                <a:gd name="connsiteY135" fmla="*/ 16677 h 133350"/>
                <a:gd name="connsiteX136" fmla="*/ 363569 w 390525"/>
                <a:gd name="connsiteY136" fmla="*/ 9914 h 133350"/>
                <a:gd name="connsiteX137" fmla="*/ 362141 w 390525"/>
                <a:gd name="connsiteY137" fmla="*/ 8771 h 133350"/>
                <a:gd name="connsiteX138" fmla="*/ 44672 w 390525"/>
                <a:gd name="connsiteY138" fmla="*/ 25440 h 133350"/>
                <a:gd name="connsiteX139" fmla="*/ 44958 w 390525"/>
                <a:gd name="connsiteY139" fmla="*/ 25250 h 133350"/>
                <a:gd name="connsiteX140" fmla="*/ 47625 w 390525"/>
                <a:gd name="connsiteY140" fmla="*/ 23535 h 133350"/>
                <a:gd name="connsiteX141" fmla="*/ 47911 w 390525"/>
                <a:gd name="connsiteY141" fmla="*/ 23345 h 133350"/>
                <a:gd name="connsiteX142" fmla="*/ 47911 w 390525"/>
                <a:gd name="connsiteY142" fmla="*/ 23345 h 133350"/>
                <a:gd name="connsiteX143" fmla="*/ 49625 w 390525"/>
                <a:gd name="connsiteY143" fmla="*/ 20773 h 133350"/>
                <a:gd name="connsiteX144" fmla="*/ 49625 w 390525"/>
                <a:gd name="connsiteY144" fmla="*/ 20487 h 133350"/>
                <a:gd name="connsiteX145" fmla="*/ 49721 w 390525"/>
                <a:gd name="connsiteY145" fmla="*/ 20297 h 133350"/>
                <a:gd name="connsiteX146" fmla="*/ 50102 w 390525"/>
                <a:gd name="connsiteY146" fmla="*/ 18677 h 133350"/>
                <a:gd name="connsiteX147" fmla="*/ 50483 w 390525"/>
                <a:gd name="connsiteY147" fmla="*/ 16963 h 133350"/>
                <a:gd name="connsiteX148" fmla="*/ 50483 w 390525"/>
                <a:gd name="connsiteY148" fmla="*/ 16772 h 133350"/>
                <a:gd name="connsiteX149" fmla="*/ 50292 w 390525"/>
                <a:gd name="connsiteY149" fmla="*/ 14867 h 133350"/>
                <a:gd name="connsiteX150" fmla="*/ 50006 w 390525"/>
                <a:gd name="connsiteY150" fmla="*/ 14010 h 133350"/>
                <a:gd name="connsiteX151" fmla="*/ 49816 w 390525"/>
                <a:gd name="connsiteY151" fmla="*/ 13343 h 133350"/>
                <a:gd name="connsiteX152" fmla="*/ 49816 w 390525"/>
                <a:gd name="connsiteY152" fmla="*/ 13343 h 133350"/>
                <a:gd name="connsiteX153" fmla="*/ 48959 w 390525"/>
                <a:gd name="connsiteY153" fmla="*/ 11534 h 133350"/>
                <a:gd name="connsiteX154" fmla="*/ 48197 w 390525"/>
                <a:gd name="connsiteY154" fmla="*/ 10581 h 133350"/>
                <a:gd name="connsiteX155" fmla="*/ 48101 w 390525"/>
                <a:gd name="connsiteY155" fmla="*/ 10581 h 133350"/>
                <a:gd name="connsiteX156" fmla="*/ 47816 w 390525"/>
                <a:gd name="connsiteY156" fmla="*/ 10105 h 133350"/>
                <a:gd name="connsiteX157" fmla="*/ 46196 w 390525"/>
                <a:gd name="connsiteY157" fmla="*/ 9057 h 133350"/>
                <a:gd name="connsiteX158" fmla="*/ 45149 w 390525"/>
                <a:gd name="connsiteY158" fmla="*/ 8295 h 133350"/>
                <a:gd name="connsiteX159" fmla="*/ 44863 w 390525"/>
                <a:gd name="connsiteY159" fmla="*/ 8295 h 133350"/>
                <a:gd name="connsiteX160" fmla="*/ 43815 w 390525"/>
                <a:gd name="connsiteY160" fmla="*/ 8009 h 133350"/>
                <a:gd name="connsiteX161" fmla="*/ 37529 w 390525"/>
                <a:gd name="connsiteY161" fmla="*/ 8105 h 133350"/>
                <a:gd name="connsiteX162" fmla="*/ 36671 w 390525"/>
                <a:gd name="connsiteY162" fmla="*/ 8581 h 133350"/>
                <a:gd name="connsiteX163" fmla="*/ 34671 w 390525"/>
                <a:gd name="connsiteY163" fmla="*/ 9914 h 133350"/>
                <a:gd name="connsiteX164" fmla="*/ 34385 w 390525"/>
                <a:gd name="connsiteY164" fmla="*/ 10105 h 133350"/>
                <a:gd name="connsiteX165" fmla="*/ 33528 w 390525"/>
                <a:gd name="connsiteY165" fmla="*/ 11534 h 133350"/>
                <a:gd name="connsiteX166" fmla="*/ 32576 w 390525"/>
                <a:gd name="connsiteY166" fmla="*/ 12772 h 133350"/>
                <a:gd name="connsiteX167" fmla="*/ 32576 w 390525"/>
                <a:gd name="connsiteY167" fmla="*/ 13058 h 133350"/>
                <a:gd name="connsiteX168" fmla="*/ 32099 w 390525"/>
                <a:gd name="connsiteY168" fmla="*/ 14772 h 133350"/>
                <a:gd name="connsiteX169" fmla="*/ 31718 w 390525"/>
                <a:gd name="connsiteY169" fmla="*/ 16677 h 133350"/>
                <a:gd name="connsiteX170" fmla="*/ 31718 w 390525"/>
                <a:gd name="connsiteY170" fmla="*/ 16963 h 133350"/>
                <a:gd name="connsiteX171" fmla="*/ 32004 w 390525"/>
                <a:gd name="connsiteY171" fmla="*/ 18392 h 133350"/>
                <a:gd name="connsiteX172" fmla="*/ 32385 w 390525"/>
                <a:gd name="connsiteY172" fmla="*/ 20392 h 133350"/>
                <a:gd name="connsiteX173" fmla="*/ 32385 w 390525"/>
                <a:gd name="connsiteY173" fmla="*/ 20582 h 133350"/>
                <a:gd name="connsiteX174" fmla="*/ 33147 w 390525"/>
                <a:gd name="connsiteY174" fmla="*/ 21725 h 133350"/>
                <a:gd name="connsiteX175" fmla="*/ 34290 w 390525"/>
                <a:gd name="connsiteY175" fmla="*/ 23440 h 133350"/>
                <a:gd name="connsiteX176" fmla="*/ 34385 w 390525"/>
                <a:gd name="connsiteY176" fmla="*/ 23630 h 133350"/>
                <a:gd name="connsiteX177" fmla="*/ 35909 w 390525"/>
                <a:gd name="connsiteY177" fmla="*/ 24678 h 133350"/>
                <a:gd name="connsiteX178" fmla="*/ 37052 w 390525"/>
                <a:gd name="connsiteY178" fmla="*/ 25535 h 133350"/>
                <a:gd name="connsiteX179" fmla="*/ 37338 w 390525"/>
                <a:gd name="connsiteY179" fmla="*/ 25631 h 133350"/>
                <a:gd name="connsiteX180" fmla="*/ 37814 w 390525"/>
                <a:gd name="connsiteY180" fmla="*/ 25821 h 133350"/>
                <a:gd name="connsiteX181" fmla="*/ 41148 w 390525"/>
                <a:gd name="connsiteY181" fmla="*/ 26488 h 133350"/>
                <a:gd name="connsiteX182" fmla="*/ 44577 w 390525"/>
                <a:gd name="connsiteY182" fmla="*/ 25821 h 133350"/>
                <a:gd name="connsiteX183" fmla="*/ 44768 w 390525"/>
                <a:gd name="connsiteY183" fmla="*/ 25821 h 133350"/>
                <a:gd name="connsiteX184" fmla="*/ 273749 w 390525"/>
                <a:gd name="connsiteY184" fmla="*/ 46014 h 133350"/>
                <a:gd name="connsiteX185" fmla="*/ 268415 w 390525"/>
                <a:gd name="connsiteY185" fmla="*/ 54587 h 133350"/>
                <a:gd name="connsiteX186" fmla="*/ 269367 w 390525"/>
                <a:gd name="connsiteY186" fmla="*/ 58682 h 133350"/>
                <a:gd name="connsiteX187" fmla="*/ 277940 w 390525"/>
                <a:gd name="connsiteY187" fmla="*/ 64112 h 133350"/>
                <a:gd name="connsiteX188" fmla="*/ 282035 w 390525"/>
                <a:gd name="connsiteY188" fmla="*/ 63159 h 133350"/>
                <a:gd name="connsiteX189" fmla="*/ 287465 w 390525"/>
                <a:gd name="connsiteY189" fmla="*/ 54587 h 133350"/>
                <a:gd name="connsiteX190" fmla="*/ 286512 w 390525"/>
                <a:gd name="connsiteY190" fmla="*/ 50396 h 133350"/>
                <a:gd name="connsiteX191" fmla="*/ 273749 w 390525"/>
                <a:gd name="connsiteY191" fmla="*/ 46014 h 133350"/>
                <a:gd name="connsiteX192" fmla="*/ 128588 w 390525"/>
                <a:gd name="connsiteY192" fmla="*/ 58682 h 133350"/>
                <a:gd name="connsiteX193" fmla="*/ 129540 w 390525"/>
                <a:gd name="connsiteY193" fmla="*/ 54587 h 133350"/>
                <a:gd name="connsiteX194" fmla="*/ 124111 w 390525"/>
                <a:gd name="connsiteY194" fmla="*/ 46014 h 133350"/>
                <a:gd name="connsiteX195" fmla="*/ 111443 w 390525"/>
                <a:gd name="connsiteY195" fmla="*/ 50396 h 133350"/>
                <a:gd name="connsiteX196" fmla="*/ 110490 w 390525"/>
                <a:gd name="connsiteY196" fmla="*/ 54587 h 133350"/>
                <a:gd name="connsiteX197" fmla="*/ 115919 w 390525"/>
                <a:gd name="connsiteY197" fmla="*/ 63159 h 133350"/>
                <a:gd name="connsiteX198" fmla="*/ 120015 w 390525"/>
                <a:gd name="connsiteY198" fmla="*/ 64112 h 133350"/>
                <a:gd name="connsiteX199" fmla="*/ 128588 w 390525"/>
                <a:gd name="connsiteY199" fmla="*/ 58682 h 133350"/>
                <a:gd name="connsiteX200" fmla="*/ 234315 w 390525"/>
                <a:gd name="connsiteY200" fmla="*/ 64874 h 133350"/>
                <a:gd name="connsiteX201" fmla="*/ 228886 w 390525"/>
                <a:gd name="connsiteY201" fmla="*/ 73541 h 133350"/>
                <a:gd name="connsiteX202" fmla="*/ 229838 w 390525"/>
                <a:gd name="connsiteY202" fmla="*/ 77637 h 133350"/>
                <a:gd name="connsiteX203" fmla="*/ 238506 w 390525"/>
                <a:gd name="connsiteY203" fmla="*/ 83066 h 133350"/>
                <a:gd name="connsiteX204" fmla="*/ 242602 w 390525"/>
                <a:gd name="connsiteY204" fmla="*/ 82114 h 133350"/>
                <a:gd name="connsiteX205" fmla="*/ 248031 w 390525"/>
                <a:gd name="connsiteY205" fmla="*/ 73541 h 133350"/>
                <a:gd name="connsiteX206" fmla="*/ 247079 w 390525"/>
                <a:gd name="connsiteY206" fmla="*/ 69350 h 133350"/>
                <a:gd name="connsiteX207" fmla="*/ 234315 w 390525"/>
                <a:gd name="connsiteY207" fmla="*/ 64874 h 133350"/>
                <a:gd name="connsiteX208" fmla="*/ 155353 w 390525"/>
                <a:gd name="connsiteY208" fmla="*/ 82114 h 133350"/>
                <a:gd name="connsiteX209" fmla="*/ 159449 w 390525"/>
                <a:gd name="connsiteY209" fmla="*/ 83066 h 133350"/>
                <a:gd name="connsiteX210" fmla="*/ 168116 w 390525"/>
                <a:gd name="connsiteY210" fmla="*/ 77637 h 133350"/>
                <a:gd name="connsiteX211" fmla="*/ 168974 w 390525"/>
                <a:gd name="connsiteY211" fmla="*/ 73541 h 133350"/>
                <a:gd name="connsiteX212" fmla="*/ 163640 w 390525"/>
                <a:gd name="connsiteY212" fmla="*/ 64874 h 133350"/>
                <a:gd name="connsiteX213" fmla="*/ 150876 w 390525"/>
                <a:gd name="connsiteY213" fmla="*/ 69350 h 133350"/>
                <a:gd name="connsiteX214" fmla="*/ 149924 w 390525"/>
                <a:gd name="connsiteY214" fmla="*/ 73541 h 133350"/>
                <a:gd name="connsiteX215" fmla="*/ 155353 w 390525"/>
                <a:gd name="connsiteY215" fmla="*/ 82114 h 133350"/>
                <a:gd name="connsiteX216" fmla="*/ 313277 w 390525"/>
                <a:gd name="connsiteY216" fmla="*/ 27059 h 133350"/>
                <a:gd name="connsiteX217" fmla="*/ 307848 w 390525"/>
                <a:gd name="connsiteY217" fmla="*/ 35632 h 133350"/>
                <a:gd name="connsiteX218" fmla="*/ 308801 w 390525"/>
                <a:gd name="connsiteY218" fmla="*/ 39728 h 133350"/>
                <a:gd name="connsiteX219" fmla="*/ 317468 w 390525"/>
                <a:gd name="connsiteY219" fmla="*/ 45157 h 133350"/>
                <a:gd name="connsiteX220" fmla="*/ 321564 w 390525"/>
                <a:gd name="connsiteY220" fmla="*/ 44204 h 133350"/>
                <a:gd name="connsiteX221" fmla="*/ 326898 w 390525"/>
                <a:gd name="connsiteY221" fmla="*/ 35632 h 133350"/>
                <a:gd name="connsiteX222" fmla="*/ 326041 w 390525"/>
                <a:gd name="connsiteY222" fmla="*/ 31441 h 133350"/>
                <a:gd name="connsiteX223" fmla="*/ 313277 w 390525"/>
                <a:gd name="connsiteY223" fmla="*/ 27059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390525" h="133350">
                  <a:moveTo>
                    <a:pt x="130112" y="97735"/>
                  </a:moveTo>
                  <a:cubicBezTo>
                    <a:pt x="125444" y="95449"/>
                    <a:pt x="119729" y="97449"/>
                    <a:pt x="117443" y="102116"/>
                  </a:cubicBezTo>
                  <a:cubicBezTo>
                    <a:pt x="116777" y="103450"/>
                    <a:pt x="116491" y="104879"/>
                    <a:pt x="116491" y="106307"/>
                  </a:cubicBezTo>
                  <a:cubicBezTo>
                    <a:pt x="116491" y="109832"/>
                    <a:pt x="118491" y="113261"/>
                    <a:pt x="121920" y="114880"/>
                  </a:cubicBezTo>
                  <a:cubicBezTo>
                    <a:pt x="123254" y="115451"/>
                    <a:pt x="124683" y="115832"/>
                    <a:pt x="126016" y="115832"/>
                  </a:cubicBezTo>
                  <a:cubicBezTo>
                    <a:pt x="129540" y="115832"/>
                    <a:pt x="132969" y="113832"/>
                    <a:pt x="134588" y="110403"/>
                  </a:cubicBezTo>
                  <a:cubicBezTo>
                    <a:pt x="135255" y="109070"/>
                    <a:pt x="135541" y="107641"/>
                    <a:pt x="135541" y="106307"/>
                  </a:cubicBezTo>
                  <a:cubicBezTo>
                    <a:pt x="135541" y="102783"/>
                    <a:pt x="133541" y="99354"/>
                    <a:pt x="130112" y="97735"/>
                  </a:cubicBezTo>
                  <a:close/>
                  <a:moveTo>
                    <a:pt x="166592" y="115166"/>
                  </a:moveTo>
                  <a:cubicBezTo>
                    <a:pt x="161925" y="112880"/>
                    <a:pt x="156210" y="114880"/>
                    <a:pt x="153924" y="119642"/>
                  </a:cubicBezTo>
                  <a:cubicBezTo>
                    <a:pt x="153258" y="120976"/>
                    <a:pt x="152972" y="122405"/>
                    <a:pt x="152972" y="123833"/>
                  </a:cubicBezTo>
                  <a:cubicBezTo>
                    <a:pt x="152972" y="127358"/>
                    <a:pt x="154972" y="130787"/>
                    <a:pt x="158401" y="132406"/>
                  </a:cubicBezTo>
                  <a:cubicBezTo>
                    <a:pt x="159734" y="132977"/>
                    <a:pt x="161068" y="133358"/>
                    <a:pt x="162497" y="133358"/>
                  </a:cubicBezTo>
                  <a:cubicBezTo>
                    <a:pt x="166021" y="133358"/>
                    <a:pt x="169450" y="131358"/>
                    <a:pt x="171069" y="127929"/>
                  </a:cubicBezTo>
                  <a:cubicBezTo>
                    <a:pt x="171736" y="126596"/>
                    <a:pt x="172022" y="125167"/>
                    <a:pt x="172022" y="123833"/>
                  </a:cubicBezTo>
                  <a:cubicBezTo>
                    <a:pt x="172022" y="120214"/>
                    <a:pt x="170021" y="116785"/>
                    <a:pt x="166592" y="115166"/>
                  </a:cubicBezTo>
                  <a:close/>
                  <a:moveTo>
                    <a:pt x="267748" y="97640"/>
                  </a:moveTo>
                  <a:cubicBezTo>
                    <a:pt x="264414" y="99354"/>
                    <a:pt x="262414" y="102688"/>
                    <a:pt x="262414" y="106307"/>
                  </a:cubicBezTo>
                  <a:cubicBezTo>
                    <a:pt x="262414" y="107641"/>
                    <a:pt x="262700" y="109070"/>
                    <a:pt x="263271" y="110403"/>
                  </a:cubicBezTo>
                  <a:cubicBezTo>
                    <a:pt x="264986" y="113832"/>
                    <a:pt x="268415" y="115832"/>
                    <a:pt x="271939" y="115832"/>
                  </a:cubicBezTo>
                  <a:cubicBezTo>
                    <a:pt x="273272" y="115832"/>
                    <a:pt x="274701" y="115451"/>
                    <a:pt x="276035" y="114880"/>
                  </a:cubicBezTo>
                  <a:cubicBezTo>
                    <a:pt x="279464" y="113261"/>
                    <a:pt x="281464" y="109832"/>
                    <a:pt x="281464" y="106307"/>
                  </a:cubicBezTo>
                  <a:cubicBezTo>
                    <a:pt x="281464" y="104879"/>
                    <a:pt x="281178" y="103450"/>
                    <a:pt x="280511" y="102116"/>
                  </a:cubicBezTo>
                  <a:cubicBezTo>
                    <a:pt x="278225" y="97449"/>
                    <a:pt x="272510" y="95449"/>
                    <a:pt x="267748" y="97640"/>
                  </a:cubicBezTo>
                  <a:close/>
                  <a:moveTo>
                    <a:pt x="231362" y="115166"/>
                  </a:moveTo>
                  <a:cubicBezTo>
                    <a:pt x="227933" y="116785"/>
                    <a:pt x="225933" y="120214"/>
                    <a:pt x="225933" y="123738"/>
                  </a:cubicBezTo>
                  <a:cubicBezTo>
                    <a:pt x="225933" y="125167"/>
                    <a:pt x="226219" y="126596"/>
                    <a:pt x="226886" y="127929"/>
                  </a:cubicBezTo>
                  <a:cubicBezTo>
                    <a:pt x="228505" y="131358"/>
                    <a:pt x="231934" y="133263"/>
                    <a:pt x="235458" y="133263"/>
                  </a:cubicBezTo>
                  <a:cubicBezTo>
                    <a:pt x="236887" y="133263"/>
                    <a:pt x="238220" y="132977"/>
                    <a:pt x="239554" y="132406"/>
                  </a:cubicBezTo>
                  <a:cubicBezTo>
                    <a:pt x="242983" y="130691"/>
                    <a:pt x="244983" y="127358"/>
                    <a:pt x="244983" y="123738"/>
                  </a:cubicBezTo>
                  <a:cubicBezTo>
                    <a:pt x="244983" y="122405"/>
                    <a:pt x="244697" y="120976"/>
                    <a:pt x="244031" y="119642"/>
                  </a:cubicBezTo>
                  <a:cubicBezTo>
                    <a:pt x="241745" y="114880"/>
                    <a:pt x="236030" y="112880"/>
                    <a:pt x="231362" y="115166"/>
                  </a:cubicBezTo>
                  <a:close/>
                  <a:moveTo>
                    <a:pt x="57245" y="62683"/>
                  </a:moveTo>
                  <a:cubicBezTo>
                    <a:pt x="52483" y="60397"/>
                    <a:pt x="46768" y="62397"/>
                    <a:pt x="44482" y="67160"/>
                  </a:cubicBezTo>
                  <a:cubicBezTo>
                    <a:pt x="43910" y="68493"/>
                    <a:pt x="43625" y="69922"/>
                    <a:pt x="43625" y="71255"/>
                  </a:cubicBezTo>
                  <a:cubicBezTo>
                    <a:pt x="43625" y="74780"/>
                    <a:pt x="45625" y="78209"/>
                    <a:pt x="48959" y="79828"/>
                  </a:cubicBezTo>
                  <a:cubicBezTo>
                    <a:pt x="50292" y="80495"/>
                    <a:pt x="51721" y="80780"/>
                    <a:pt x="53054" y="80780"/>
                  </a:cubicBezTo>
                  <a:cubicBezTo>
                    <a:pt x="56674" y="80780"/>
                    <a:pt x="60008" y="78780"/>
                    <a:pt x="61722" y="75446"/>
                  </a:cubicBezTo>
                  <a:cubicBezTo>
                    <a:pt x="62294" y="74018"/>
                    <a:pt x="62675" y="72684"/>
                    <a:pt x="62675" y="71255"/>
                  </a:cubicBezTo>
                  <a:cubicBezTo>
                    <a:pt x="62675" y="67731"/>
                    <a:pt x="60674" y="64302"/>
                    <a:pt x="57245" y="62683"/>
                  </a:cubicBezTo>
                  <a:close/>
                  <a:moveTo>
                    <a:pt x="93726" y="80209"/>
                  </a:moveTo>
                  <a:cubicBezTo>
                    <a:pt x="88964" y="77923"/>
                    <a:pt x="83249" y="79923"/>
                    <a:pt x="80963" y="84686"/>
                  </a:cubicBezTo>
                  <a:cubicBezTo>
                    <a:pt x="80391" y="86019"/>
                    <a:pt x="80010" y="87353"/>
                    <a:pt x="80010" y="88781"/>
                  </a:cubicBezTo>
                  <a:cubicBezTo>
                    <a:pt x="80010" y="92306"/>
                    <a:pt x="82010" y="95735"/>
                    <a:pt x="85439" y="97354"/>
                  </a:cubicBezTo>
                  <a:cubicBezTo>
                    <a:pt x="86773" y="98021"/>
                    <a:pt x="88202" y="98306"/>
                    <a:pt x="89535" y="98306"/>
                  </a:cubicBezTo>
                  <a:cubicBezTo>
                    <a:pt x="93155" y="98306"/>
                    <a:pt x="96488" y="96306"/>
                    <a:pt x="98203" y="92877"/>
                  </a:cubicBezTo>
                  <a:cubicBezTo>
                    <a:pt x="98774" y="91544"/>
                    <a:pt x="99060" y="90115"/>
                    <a:pt x="99060" y="88781"/>
                  </a:cubicBezTo>
                  <a:cubicBezTo>
                    <a:pt x="99060" y="85257"/>
                    <a:pt x="97155" y="81828"/>
                    <a:pt x="93726" y="80209"/>
                  </a:cubicBezTo>
                  <a:close/>
                  <a:moveTo>
                    <a:pt x="14764" y="44395"/>
                  </a:moveTo>
                  <a:cubicBezTo>
                    <a:pt x="14192" y="44585"/>
                    <a:pt x="13526" y="44776"/>
                    <a:pt x="12954" y="44966"/>
                  </a:cubicBezTo>
                  <a:cubicBezTo>
                    <a:pt x="12383" y="45252"/>
                    <a:pt x="11906" y="45538"/>
                    <a:pt x="11335" y="45824"/>
                  </a:cubicBezTo>
                  <a:cubicBezTo>
                    <a:pt x="10859" y="46205"/>
                    <a:pt x="10383" y="46586"/>
                    <a:pt x="9906" y="47062"/>
                  </a:cubicBezTo>
                  <a:cubicBezTo>
                    <a:pt x="9049" y="47919"/>
                    <a:pt x="8287" y="48967"/>
                    <a:pt x="7811" y="50110"/>
                  </a:cubicBezTo>
                  <a:cubicBezTo>
                    <a:pt x="7334" y="51253"/>
                    <a:pt x="7144" y="52491"/>
                    <a:pt x="7144" y="53729"/>
                  </a:cubicBezTo>
                  <a:cubicBezTo>
                    <a:pt x="7144" y="55063"/>
                    <a:pt x="7334" y="56206"/>
                    <a:pt x="7811" y="57444"/>
                  </a:cubicBezTo>
                  <a:cubicBezTo>
                    <a:pt x="8287" y="58587"/>
                    <a:pt x="9049" y="59635"/>
                    <a:pt x="9906" y="60492"/>
                  </a:cubicBezTo>
                  <a:cubicBezTo>
                    <a:pt x="11716" y="62302"/>
                    <a:pt x="14097" y="63254"/>
                    <a:pt x="16669" y="63254"/>
                  </a:cubicBezTo>
                  <a:cubicBezTo>
                    <a:pt x="19241" y="63254"/>
                    <a:pt x="21622" y="62302"/>
                    <a:pt x="23336" y="60492"/>
                  </a:cubicBezTo>
                  <a:cubicBezTo>
                    <a:pt x="25146" y="58682"/>
                    <a:pt x="26194" y="56301"/>
                    <a:pt x="26194" y="53729"/>
                  </a:cubicBezTo>
                  <a:cubicBezTo>
                    <a:pt x="26194" y="51158"/>
                    <a:pt x="25146" y="48776"/>
                    <a:pt x="23336" y="47062"/>
                  </a:cubicBezTo>
                  <a:cubicBezTo>
                    <a:pt x="21146" y="44776"/>
                    <a:pt x="17907" y="43823"/>
                    <a:pt x="14764" y="44395"/>
                  </a:cubicBezTo>
                  <a:close/>
                  <a:moveTo>
                    <a:pt x="340709" y="62683"/>
                  </a:moveTo>
                  <a:cubicBezTo>
                    <a:pt x="337280" y="64302"/>
                    <a:pt x="335280" y="67731"/>
                    <a:pt x="335280" y="71255"/>
                  </a:cubicBezTo>
                  <a:cubicBezTo>
                    <a:pt x="335280" y="72684"/>
                    <a:pt x="335661" y="74018"/>
                    <a:pt x="336233" y="75351"/>
                  </a:cubicBezTo>
                  <a:cubicBezTo>
                    <a:pt x="337852" y="78780"/>
                    <a:pt x="341281" y="80780"/>
                    <a:pt x="344900" y="80780"/>
                  </a:cubicBezTo>
                  <a:cubicBezTo>
                    <a:pt x="346234" y="80780"/>
                    <a:pt x="347663" y="80495"/>
                    <a:pt x="348996" y="79828"/>
                  </a:cubicBezTo>
                  <a:cubicBezTo>
                    <a:pt x="352330" y="78209"/>
                    <a:pt x="354330" y="74780"/>
                    <a:pt x="354330" y="71255"/>
                  </a:cubicBezTo>
                  <a:cubicBezTo>
                    <a:pt x="354330" y="69922"/>
                    <a:pt x="354044" y="68493"/>
                    <a:pt x="353473" y="67160"/>
                  </a:cubicBezTo>
                  <a:cubicBezTo>
                    <a:pt x="351187" y="62397"/>
                    <a:pt x="345472" y="60397"/>
                    <a:pt x="340709" y="62683"/>
                  </a:cubicBezTo>
                  <a:close/>
                  <a:moveTo>
                    <a:pt x="304229" y="80209"/>
                  </a:moveTo>
                  <a:cubicBezTo>
                    <a:pt x="300800" y="81828"/>
                    <a:pt x="298895" y="85257"/>
                    <a:pt x="298800" y="88781"/>
                  </a:cubicBezTo>
                  <a:cubicBezTo>
                    <a:pt x="298800" y="90115"/>
                    <a:pt x="299180" y="91544"/>
                    <a:pt x="299752" y="92877"/>
                  </a:cubicBezTo>
                  <a:cubicBezTo>
                    <a:pt x="301466" y="96306"/>
                    <a:pt x="304800" y="98306"/>
                    <a:pt x="308420" y="98306"/>
                  </a:cubicBezTo>
                  <a:cubicBezTo>
                    <a:pt x="309753" y="98306"/>
                    <a:pt x="311182" y="98021"/>
                    <a:pt x="312516" y="97354"/>
                  </a:cubicBezTo>
                  <a:cubicBezTo>
                    <a:pt x="315944" y="95735"/>
                    <a:pt x="317850" y="92306"/>
                    <a:pt x="317850" y="88781"/>
                  </a:cubicBezTo>
                  <a:cubicBezTo>
                    <a:pt x="317850" y="87353"/>
                    <a:pt x="317564" y="86019"/>
                    <a:pt x="316992" y="84686"/>
                  </a:cubicBezTo>
                  <a:cubicBezTo>
                    <a:pt x="314706" y="79923"/>
                    <a:pt x="308991" y="77923"/>
                    <a:pt x="304229" y="80209"/>
                  </a:cubicBezTo>
                  <a:close/>
                  <a:moveTo>
                    <a:pt x="390811" y="53539"/>
                  </a:moveTo>
                  <a:cubicBezTo>
                    <a:pt x="390811" y="53539"/>
                    <a:pt x="390620" y="52682"/>
                    <a:pt x="390525" y="52205"/>
                  </a:cubicBezTo>
                  <a:cubicBezTo>
                    <a:pt x="390430" y="51348"/>
                    <a:pt x="390239" y="50586"/>
                    <a:pt x="389954" y="49824"/>
                  </a:cubicBezTo>
                  <a:cubicBezTo>
                    <a:pt x="389954" y="49824"/>
                    <a:pt x="389954" y="49729"/>
                    <a:pt x="389954" y="49634"/>
                  </a:cubicBezTo>
                  <a:cubicBezTo>
                    <a:pt x="389763" y="49157"/>
                    <a:pt x="389287" y="48872"/>
                    <a:pt x="389001" y="48395"/>
                  </a:cubicBezTo>
                  <a:cubicBezTo>
                    <a:pt x="388716" y="47919"/>
                    <a:pt x="388525" y="47443"/>
                    <a:pt x="388144" y="47062"/>
                  </a:cubicBezTo>
                  <a:cubicBezTo>
                    <a:pt x="388144" y="47062"/>
                    <a:pt x="388049" y="47062"/>
                    <a:pt x="387953" y="46967"/>
                  </a:cubicBezTo>
                  <a:cubicBezTo>
                    <a:pt x="385382" y="44395"/>
                    <a:pt x="381381" y="43538"/>
                    <a:pt x="377857" y="44966"/>
                  </a:cubicBezTo>
                  <a:lnTo>
                    <a:pt x="377666" y="44966"/>
                  </a:lnTo>
                  <a:cubicBezTo>
                    <a:pt x="377666" y="44966"/>
                    <a:pt x="377381" y="44966"/>
                    <a:pt x="377190" y="45157"/>
                  </a:cubicBezTo>
                  <a:cubicBezTo>
                    <a:pt x="376524" y="45443"/>
                    <a:pt x="376047" y="46014"/>
                    <a:pt x="375571" y="46395"/>
                  </a:cubicBezTo>
                  <a:cubicBezTo>
                    <a:pt x="375285" y="46681"/>
                    <a:pt x="374809" y="46776"/>
                    <a:pt x="374523" y="47062"/>
                  </a:cubicBezTo>
                  <a:cubicBezTo>
                    <a:pt x="374523" y="47062"/>
                    <a:pt x="374523" y="47252"/>
                    <a:pt x="374333" y="47252"/>
                  </a:cubicBezTo>
                  <a:cubicBezTo>
                    <a:pt x="373952" y="47729"/>
                    <a:pt x="373666" y="48205"/>
                    <a:pt x="373380" y="48776"/>
                  </a:cubicBezTo>
                  <a:cubicBezTo>
                    <a:pt x="372999" y="49348"/>
                    <a:pt x="372713" y="49824"/>
                    <a:pt x="372428" y="50396"/>
                  </a:cubicBezTo>
                  <a:cubicBezTo>
                    <a:pt x="372237" y="50967"/>
                    <a:pt x="372142" y="51539"/>
                    <a:pt x="372047" y="52110"/>
                  </a:cubicBezTo>
                  <a:cubicBezTo>
                    <a:pt x="371951" y="52682"/>
                    <a:pt x="371666" y="53158"/>
                    <a:pt x="371666" y="53729"/>
                  </a:cubicBezTo>
                  <a:cubicBezTo>
                    <a:pt x="371666" y="53825"/>
                    <a:pt x="371666" y="53920"/>
                    <a:pt x="371666" y="54015"/>
                  </a:cubicBezTo>
                  <a:cubicBezTo>
                    <a:pt x="371666" y="54587"/>
                    <a:pt x="371856" y="55158"/>
                    <a:pt x="372047" y="55730"/>
                  </a:cubicBezTo>
                  <a:cubicBezTo>
                    <a:pt x="372142" y="56396"/>
                    <a:pt x="372237" y="56968"/>
                    <a:pt x="372523" y="57539"/>
                  </a:cubicBezTo>
                  <a:cubicBezTo>
                    <a:pt x="372523" y="57635"/>
                    <a:pt x="372523" y="57730"/>
                    <a:pt x="372523" y="57825"/>
                  </a:cubicBezTo>
                  <a:cubicBezTo>
                    <a:pt x="372999" y="58682"/>
                    <a:pt x="373571" y="59444"/>
                    <a:pt x="374142" y="60206"/>
                  </a:cubicBezTo>
                  <a:cubicBezTo>
                    <a:pt x="374142" y="60206"/>
                    <a:pt x="374142" y="60397"/>
                    <a:pt x="374333" y="60397"/>
                  </a:cubicBezTo>
                  <a:cubicBezTo>
                    <a:pt x="374523" y="60587"/>
                    <a:pt x="374809" y="60683"/>
                    <a:pt x="375000" y="60873"/>
                  </a:cubicBezTo>
                  <a:cubicBezTo>
                    <a:pt x="375571" y="61349"/>
                    <a:pt x="376142" y="61730"/>
                    <a:pt x="376809" y="62111"/>
                  </a:cubicBezTo>
                  <a:cubicBezTo>
                    <a:pt x="377000" y="62207"/>
                    <a:pt x="377190" y="62397"/>
                    <a:pt x="377476" y="62492"/>
                  </a:cubicBezTo>
                  <a:cubicBezTo>
                    <a:pt x="377666" y="62492"/>
                    <a:pt x="377857" y="62492"/>
                    <a:pt x="378047" y="62588"/>
                  </a:cubicBezTo>
                  <a:cubicBezTo>
                    <a:pt x="379000" y="62969"/>
                    <a:pt x="380048" y="63159"/>
                    <a:pt x="381095" y="63159"/>
                  </a:cubicBezTo>
                  <a:cubicBezTo>
                    <a:pt x="382334" y="63159"/>
                    <a:pt x="383572" y="62969"/>
                    <a:pt x="384715" y="62492"/>
                  </a:cubicBezTo>
                  <a:cubicBezTo>
                    <a:pt x="384715" y="62492"/>
                    <a:pt x="384715" y="62492"/>
                    <a:pt x="384905" y="62397"/>
                  </a:cubicBezTo>
                  <a:cubicBezTo>
                    <a:pt x="385001" y="62397"/>
                    <a:pt x="385191" y="62397"/>
                    <a:pt x="385382" y="62397"/>
                  </a:cubicBezTo>
                  <a:cubicBezTo>
                    <a:pt x="386144" y="62016"/>
                    <a:pt x="386620" y="61445"/>
                    <a:pt x="387287" y="60968"/>
                  </a:cubicBezTo>
                  <a:cubicBezTo>
                    <a:pt x="387477" y="60778"/>
                    <a:pt x="387763" y="60683"/>
                    <a:pt x="387953" y="60492"/>
                  </a:cubicBezTo>
                  <a:cubicBezTo>
                    <a:pt x="387953" y="60492"/>
                    <a:pt x="387953" y="60397"/>
                    <a:pt x="388049" y="60302"/>
                  </a:cubicBezTo>
                  <a:cubicBezTo>
                    <a:pt x="388620" y="59730"/>
                    <a:pt x="388906" y="59063"/>
                    <a:pt x="389287" y="58397"/>
                  </a:cubicBezTo>
                  <a:cubicBezTo>
                    <a:pt x="389573" y="57920"/>
                    <a:pt x="389858" y="57539"/>
                    <a:pt x="390049" y="57158"/>
                  </a:cubicBezTo>
                  <a:cubicBezTo>
                    <a:pt x="390239" y="56587"/>
                    <a:pt x="390335" y="55920"/>
                    <a:pt x="390430" y="55253"/>
                  </a:cubicBezTo>
                  <a:cubicBezTo>
                    <a:pt x="390430" y="54777"/>
                    <a:pt x="390716" y="54301"/>
                    <a:pt x="390716" y="53729"/>
                  </a:cubicBezTo>
                  <a:cubicBezTo>
                    <a:pt x="390716" y="53729"/>
                    <a:pt x="390716" y="53634"/>
                    <a:pt x="390716" y="53539"/>
                  </a:cubicBezTo>
                  <a:close/>
                  <a:moveTo>
                    <a:pt x="89154" y="39728"/>
                  </a:moveTo>
                  <a:cubicBezTo>
                    <a:pt x="89726" y="38394"/>
                    <a:pt x="90107" y="36965"/>
                    <a:pt x="90107" y="35632"/>
                  </a:cubicBezTo>
                  <a:cubicBezTo>
                    <a:pt x="90107" y="32108"/>
                    <a:pt x="88106" y="28679"/>
                    <a:pt x="84677" y="26964"/>
                  </a:cubicBezTo>
                  <a:cubicBezTo>
                    <a:pt x="79915" y="24773"/>
                    <a:pt x="74200" y="26774"/>
                    <a:pt x="71914" y="31441"/>
                  </a:cubicBezTo>
                  <a:cubicBezTo>
                    <a:pt x="71342" y="32774"/>
                    <a:pt x="70961" y="34203"/>
                    <a:pt x="70961" y="35632"/>
                  </a:cubicBezTo>
                  <a:cubicBezTo>
                    <a:pt x="70961" y="39156"/>
                    <a:pt x="72962" y="42585"/>
                    <a:pt x="76391" y="44204"/>
                  </a:cubicBezTo>
                  <a:cubicBezTo>
                    <a:pt x="77724" y="44871"/>
                    <a:pt x="79153" y="45157"/>
                    <a:pt x="80486" y="45157"/>
                  </a:cubicBezTo>
                  <a:cubicBezTo>
                    <a:pt x="84106" y="45157"/>
                    <a:pt x="87440" y="43157"/>
                    <a:pt x="89154" y="39728"/>
                  </a:cubicBezTo>
                  <a:close/>
                  <a:moveTo>
                    <a:pt x="362141" y="8771"/>
                  </a:moveTo>
                  <a:cubicBezTo>
                    <a:pt x="362141" y="8771"/>
                    <a:pt x="361093" y="8105"/>
                    <a:pt x="360521" y="7819"/>
                  </a:cubicBezTo>
                  <a:cubicBezTo>
                    <a:pt x="359950" y="7628"/>
                    <a:pt x="359378" y="7438"/>
                    <a:pt x="358712" y="7343"/>
                  </a:cubicBezTo>
                  <a:cubicBezTo>
                    <a:pt x="355664" y="6676"/>
                    <a:pt x="352330" y="7724"/>
                    <a:pt x="350139" y="9914"/>
                  </a:cubicBezTo>
                  <a:cubicBezTo>
                    <a:pt x="348425" y="11724"/>
                    <a:pt x="347377" y="14105"/>
                    <a:pt x="347377" y="16677"/>
                  </a:cubicBezTo>
                  <a:cubicBezTo>
                    <a:pt x="347377" y="17915"/>
                    <a:pt x="347567" y="19154"/>
                    <a:pt x="348139" y="20297"/>
                  </a:cubicBezTo>
                  <a:cubicBezTo>
                    <a:pt x="348615" y="21440"/>
                    <a:pt x="349282" y="22487"/>
                    <a:pt x="350139" y="23440"/>
                  </a:cubicBezTo>
                  <a:cubicBezTo>
                    <a:pt x="351949" y="25154"/>
                    <a:pt x="354330" y="26202"/>
                    <a:pt x="356902" y="26202"/>
                  </a:cubicBezTo>
                  <a:cubicBezTo>
                    <a:pt x="358140" y="26202"/>
                    <a:pt x="359378" y="25916"/>
                    <a:pt x="360521" y="25440"/>
                  </a:cubicBezTo>
                  <a:cubicBezTo>
                    <a:pt x="361664" y="24964"/>
                    <a:pt x="362712" y="24297"/>
                    <a:pt x="363569" y="23440"/>
                  </a:cubicBezTo>
                  <a:cubicBezTo>
                    <a:pt x="364522" y="22487"/>
                    <a:pt x="365189" y="21440"/>
                    <a:pt x="365665" y="20297"/>
                  </a:cubicBezTo>
                  <a:cubicBezTo>
                    <a:pt x="366141" y="19154"/>
                    <a:pt x="366427" y="17915"/>
                    <a:pt x="366427" y="16677"/>
                  </a:cubicBezTo>
                  <a:cubicBezTo>
                    <a:pt x="366427" y="14201"/>
                    <a:pt x="365379" y="11724"/>
                    <a:pt x="363569" y="9914"/>
                  </a:cubicBezTo>
                  <a:cubicBezTo>
                    <a:pt x="363188" y="9533"/>
                    <a:pt x="362712" y="9057"/>
                    <a:pt x="362141" y="8771"/>
                  </a:cubicBezTo>
                  <a:close/>
                  <a:moveTo>
                    <a:pt x="44672" y="25440"/>
                  </a:moveTo>
                  <a:cubicBezTo>
                    <a:pt x="44672" y="25440"/>
                    <a:pt x="44863" y="25345"/>
                    <a:pt x="44958" y="25250"/>
                  </a:cubicBezTo>
                  <a:cubicBezTo>
                    <a:pt x="45911" y="24773"/>
                    <a:pt x="46863" y="24202"/>
                    <a:pt x="47625" y="23535"/>
                  </a:cubicBezTo>
                  <a:cubicBezTo>
                    <a:pt x="47625" y="23535"/>
                    <a:pt x="47816" y="23535"/>
                    <a:pt x="47911" y="23345"/>
                  </a:cubicBezTo>
                  <a:lnTo>
                    <a:pt x="47911" y="23345"/>
                  </a:lnTo>
                  <a:cubicBezTo>
                    <a:pt x="48578" y="22487"/>
                    <a:pt x="49244" y="21725"/>
                    <a:pt x="49625" y="20773"/>
                  </a:cubicBezTo>
                  <a:cubicBezTo>
                    <a:pt x="49625" y="20678"/>
                    <a:pt x="49625" y="20582"/>
                    <a:pt x="49625" y="20487"/>
                  </a:cubicBezTo>
                  <a:cubicBezTo>
                    <a:pt x="49625" y="20487"/>
                    <a:pt x="49625" y="20392"/>
                    <a:pt x="49721" y="20297"/>
                  </a:cubicBezTo>
                  <a:cubicBezTo>
                    <a:pt x="49911" y="19820"/>
                    <a:pt x="49911" y="19154"/>
                    <a:pt x="50102" y="18677"/>
                  </a:cubicBezTo>
                  <a:cubicBezTo>
                    <a:pt x="50197" y="18106"/>
                    <a:pt x="50483" y="17534"/>
                    <a:pt x="50483" y="16963"/>
                  </a:cubicBezTo>
                  <a:cubicBezTo>
                    <a:pt x="50483" y="16963"/>
                    <a:pt x="50483" y="16772"/>
                    <a:pt x="50483" y="16772"/>
                  </a:cubicBezTo>
                  <a:cubicBezTo>
                    <a:pt x="50483" y="16106"/>
                    <a:pt x="50483" y="15534"/>
                    <a:pt x="50292" y="14867"/>
                  </a:cubicBezTo>
                  <a:cubicBezTo>
                    <a:pt x="50292" y="14582"/>
                    <a:pt x="50102" y="14296"/>
                    <a:pt x="50006" y="14010"/>
                  </a:cubicBezTo>
                  <a:cubicBezTo>
                    <a:pt x="50006" y="13820"/>
                    <a:pt x="49911" y="13534"/>
                    <a:pt x="49816" y="13343"/>
                  </a:cubicBezTo>
                  <a:lnTo>
                    <a:pt x="49816" y="13343"/>
                  </a:lnTo>
                  <a:cubicBezTo>
                    <a:pt x="49625" y="12677"/>
                    <a:pt x="49340" y="12105"/>
                    <a:pt x="48959" y="11534"/>
                  </a:cubicBezTo>
                  <a:lnTo>
                    <a:pt x="48197" y="10581"/>
                  </a:lnTo>
                  <a:lnTo>
                    <a:pt x="48101" y="10581"/>
                  </a:lnTo>
                  <a:lnTo>
                    <a:pt x="47816" y="10105"/>
                  </a:lnTo>
                  <a:cubicBezTo>
                    <a:pt x="47816" y="10105"/>
                    <a:pt x="46768" y="9438"/>
                    <a:pt x="46196" y="9057"/>
                  </a:cubicBezTo>
                  <a:cubicBezTo>
                    <a:pt x="45816" y="8867"/>
                    <a:pt x="45625" y="8486"/>
                    <a:pt x="45149" y="8295"/>
                  </a:cubicBezTo>
                  <a:cubicBezTo>
                    <a:pt x="45149" y="8295"/>
                    <a:pt x="44958" y="8295"/>
                    <a:pt x="44863" y="8295"/>
                  </a:cubicBezTo>
                  <a:cubicBezTo>
                    <a:pt x="44482" y="8200"/>
                    <a:pt x="44196" y="8105"/>
                    <a:pt x="43815" y="8009"/>
                  </a:cubicBezTo>
                  <a:cubicBezTo>
                    <a:pt x="41624" y="7343"/>
                    <a:pt x="39434" y="7343"/>
                    <a:pt x="37529" y="8105"/>
                  </a:cubicBezTo>
                  <a:cubicBezTo>
                    <a:pt x="37243" y="8200"/>
                    <a:pt x="36957" y="8486"/>
                    <a:pt x="36671" y="8581"/>
                  </a:cubicBezTo>
                  <a:cubicBezTo>
                    <a:pt x="35909" y="8962"/>
                    <a:pt x="35243" y="9343"/>
                    <a:pt x="34671" y="9914"/>
                  </a:cubicBezTo>
                  <a:cubicBezTo>
                    <a:pt x="34671" y="9914"/>
                    <a:pt x="34481" y="10010"/>
                    <a:pt x="34385" y="10105"/>
                  </a:cubicBezTo>
                  <a:cubicBezTo>
                    <a:pt x="34004" y="10486"/>
                    <a:pt x="33814" y="11057"/>
                    <a:pt x="33528" y="11534"/>
                  </a:cubicBezTo>
                  <a:cubicBezTo>
                    <a:pt x="33242" y="11915"/>
                    <a:pt x="32861" y="12296"/>
                    <a:pt x="32576" y="12772"/>
                  </a:cubicBezTo>
                  <a:cubicBezTo>
                    <a:pt x="32576" y="12867"/>
                    <a:pt x="32576" y="12962"/>
                    <a:pt x="32576" y="13058"/>
                  </a:cubicBezTo>
                  <a:cubicBezTo>
                    <a:pt x="32385" y="13629"/>
                    <a:pt x="32290" y="14201"/>
                    <a:pt x="32099" y="14772"/>
                  </a:cubicBezTo>
                  <a:cubicBezTo>
                    <a:pt x="31909" y="15439"/>
                    <a:pt x="31718" y="16010"/>
                    <a:pt x="31718" y="16677"/>
                  </a:cubicBezTo>
                  <a:cubicBezTo>
                    <a:pt x="31718" y="16677"/>
                    <a:pt x="31718" y="16868"/>
                    <a:pt x="31718" y="16963"/>
                  </a:cubicBezTo>
                  <a:cubicBezTo>
                    <a:pt x="31718" y="17439"/>
                    <a:pt x="31909" y="17915"/>
                    <a:pt x="32004" y="18392"/>
                  </a:cubicBezTo>
                  <a:cubicBezTo>
                    <a:pt x="32099" y="19058"/>
                    <a:pt x="32195" y="19725"/>
                    <a:pt x="32385" y="20392"/>
                  </a:cubicBezTo>
                  <a:cubicBezTo>
                    <a:pt x="32385" y="20392"/>
                    <a:pt x="32385" y="20487"/>
                    <a:pt x="32385" y="20582"/>
                  </a:cubicBezTo>
                  <a:cubicBezTo>
                    <a:pt x="32576" y="20963"/>
                    <a:pt x="32861" y="21344"/>
                    <a:pt x="33147" y="21725"/>
                  </a:cubicBezTo>
                  <a:cubicBezTo>
                    <a:pt x="33528" y="22297"/>
                    <a:pt x="33814" y="22964"/>
                    <a:pt x="34290" y="23440"/>
                  </a:cubicBezTo>
                  <a:cubicBezTo>
                    <a:pt x="34290" y="23440"/>
                    <a:pt x="34290" y="23630"/>
                    <a:pt x="34385" y="23630"/>
                  </a:cubicBezTo>
                  <a:cubicBezTo>
                    <a:pt x="34862" y="24107"/>
                    <a:pt x="35338" y="24297"/>
                    <a:pt x="35909" y="24678"/>
                  </a:cubicBezTo>
                  <a:cubicBezTo>
                    <a:pt x="36291" y="24964"/>
                    <a:pt x="36671" y="25345"/>
                    <a:pt x="37052" y="25535"/>
                  </a:cubicBezTo>
                  <a:cubicBezTo>
                    <a:pt x="37052" y="25535"/>
                    <a:pt x="37243" y="25535"/>
                    <a:pt x="37338" y="25631"/>
                  </a:cubicBezTo>
                  <a:cubicBezTo>
                    <a:pt x="37529" y="25631"/>
                    <a:pt x="37624" y="25726"/>
                    <a:pt x="37814" y="25821"/>
                  </a:cubicBezTo>
                  <a:cubicBezTo>
                    <a:pt x="38862" y="26297"/>
                    <a:pt x="40005" y="26488"/>
                    <a:pt x="41148" y="26488"/>
                  </a:cubicBezTo>
                  <a:cubicBezTo>
                    <a:pt x="42291" y="26488"/>
                    <a:pt x="43434" y="26202"/>
                    <a:pt x="44577" y="25821"/>
                  </a:cubicBezTo>
                  <a:cubicBezTo>
                    <a:pt x="44577" y="25821"/>
                    <a:pt x="44768" y="25821"/>
                    <a:pt x="44768" y="25821"/>
                  </a:cubicBezTo>
                  <a:close/>
                  <a:moveTo>
                    <a:pt x="273749" y="46014"/>
                  </a:moveTo>
                  <a:cubicBezTo>
                    <a:pt x="270415" y="47633"/>
                    <a:pt x="268415" y="50967"/>
                    <a:pt x="268415" y="54587"/>
                  </a:cubicBezTo>
                  <a:cubicBezTo>
                    <a:pt x="268415" y="55920"/>
                    <a:pt x="268700" y="57349"/>
                    <a:pt x="269367" y="58682"/>
                  </a:cubicBezTo>
                  <a:cubicBezTo>
                    <a:pt x="270986" y="62111"/>
                    <a:pt x="274416" y="64112"/>
                    <a:pt x="277940" y="64112"/>
                  </a:cubicBezTo>
                  <a:cubicBezTo>
                    <a:pt x="279368" y="64112"/>
                    <a:pt x="280702" y="63826"/>
                    <a:pt x="282035" y="63159"/>
                  </a:cubicBezTo>
                  <a:cubicBezTo>
                    <a:pt x="285464" y="61540"/>
                    <a:pt x="287465" y="58111"/>
                    <a:pt x="287465" y="54587"/>
                  </a:cubicBezTo>
                  <a:cubicBezTo>
                    <a:pt x="287465" y="53158"/>
                    <a:pt x="287179" y="51729"/>
                    <a:pt x="286512" y="50396"/>
                  </a:cubicBezTo>
                  <a:cubicBezTo>
                    <a:pt x="284226" y="45728"/>
                    <a:pt x="278511" y="43728"/>
                    <a:pt x="273749" y="46014"/>
                  </a:cubicBezTo>
                  <a:close/>
                  <a:moveTo>
                    <a:pt x="128588" y="58682"/>
                  </a:moveTo>
                  <a:cubicBezTo>
                    <a:pt x="129254" y="57349"/>
                    <a:pt x="129540" y="55920"/>
                    <a:pt x="129540" y="54587"/>
                  </a:cubicBezTo>
                  <a:cubicBezTo>
                    <a:pt x="129540" y="50967"/>
                    <a:pt x="127540" y="47633"/>
                    <a:pt x="124111" y="46014"/>
                  </a:cubicBezTo>
                  <a:cubicBezTo>
                    <a:pt x="119349" y="43728"/>
                    <a:pt x="113729" y="45728"/>
                    <a:pt x="111443" y="50396"/>
                  </a:cubicBezTo>
                  <a:cubicBezTo>
                    <a:pt x="110776" y="51729"/>
                    <a:pt x="110490" y="53158"/>
                    <a:pt x="110490" y="54587"/>
                  </a:cubicBezTo>
                  <a:cubicBezTo>
                    <a:pt x="110490" y="58111"/>
                    <a:pt x="112491" y="61540"/>
                    <a:pt x="115919" y="63159"/>
                  </a:cubicBezTo>
                  <a:cubicBezTo>
                    <a:pt x="117253" y="63826"/>
                    <a:pt x="118586" y="64112"/>
                    <a:pt x="120015" y="64112"/>
                  </a:cubicBezTo>
                  <a:cubicBezTo>
                    <a:pt x="123539" y="64112"/>
                    <a:pt x="126968" y="62111"/>
                    <a:pt x="128588" y="58682"/>
                  </a:cubicBezTo>
                  <a:close/>
                  <a:moveTo>
                    <a:pt x="234315" y="64874"/>
                  </a:moveTo>
                  <a:cubicBezTo>
                    <a:pt x="230886" y="66588"/>
                    <a:pt x="228981" y="69922"/>
                    <a:pt x="228886" y="73541"/>
                  </a:cubicBezTo>
                  <a:cubicBezTo>
                    <a:pt x="228886" y="74875"/>
                    <a:pt x="229267" y="76304"/>
                    <a:pt x="229838" y="77637"/>
                  </a:cubicBezTo>
                  <a:cubicBezTo>
                    <a:pt x="231458" y="81066"/>
                    <a:pt x="234887" y="83066"/>
                    <a:pt x="238506" y="83066"/>
                  </a:cubicBezTo>
                  <a:cubicBezTo>
                    <a:pt x="239840" y="83066"/>
                    <a:pt x="241268" y="82781"/>
                    <a:pt x="242602" y="82114"/>
                  </a:cubicBezTo>
                  <a:cubicBezTo>
                    <a:pt x="245936" y="80495"/>
                    <a:pt x="247936" y="77066"/>
                    <a:pt x="248031" y="73541"/>
                  </a:cubicBezTo>
                  <a:cubicBezTo>
                    <a:pt x="248031" y="72113"/>
                    <a:pt x="247650" y="70684"/>
                    <a:pt x="247079" y="69350"/>
                  </a:cubicBezTo>
                  <a:cubicBezTo>
                    <a:pt x="244793" y="64683"/>
                    <a:pt x="239078" y="62683"/>
                    <a:pt x="234315" y="64874"/>
                  </a:cubicBezTo>
                  <a:close/>
                  <a:moveTo>
                    <a:pt x="155353" y="82114"/>
                  </a:moveTo>
                  <a:cubicBezTo>
                    <a:pt x="156686" y="82781"/>
                    <a:pt x="158115" y="83066"/>
                    <a:pt x="159449" y="83066"/>
                  </a:cubicBezTo>
                  <a:cubicBezTo>
                    <a:pt x="163068" y="83066"/>
                    <a:pt x="166402" y="81066"/>
                    <a:pt x="168116" y="77637"/>
                  </a:cubicBezTo>
                  <a:cubicBezTo>
                    <a:pt x="168688" y="76304"/>
                    <a:pt x="168974" y="74875"/>
                    <a:pt x="168974" y="73541"/>
                  </a:cubicBezTo>
                  <a:cubicBezTo>
                    <a:pt x="168974" y="69922"/>
                    <a:pt x="166974" y="66588"/>
                    <a:pt x="163640" y="64874"/>
                  </a:cubicBezTo>
                  <a:cubicBezTo>
                    <a:pt x="158877" y="62683"/>
                    <a:pt x="153162" y="64683"/>
                    <a:pt x="150876" y="69350"/>
                  </a:cubicBezTo>
                  <a:cubicBezTo>
                    <a:pt x="150305" y="70684"/>
                    <a:pt x="149924" y="72113"/>
                    <a:pt x="149924" y="73541"/>
                  </a:cubicBezTo>
                  <a:cubicBezTo>
                    <a:pt x="149924" y="77066"/>
                    <a:pt x="151924" y="80495"/>
                    <a:pt x="155353" y="82114"/>
                  </a:cubicBezTo>
                  <a:close/>
                  <a:moveTo>
                    <a:pt x="313277" y="27059"/>
                  </a:moveTo>
                  <a:cubicBezTo>
                    <a:pt x="309849" y="28679"/>
                    <a:pt x="307848" y="32012"/>
                    <a:pt x="307848" y="35632"/>
                  </a:cubicBezTo>
                  <a:cubicBezTo>
                    <a:pt x="307848" y="36965"/>
                    <a:pt x="308134" y="38394"/>
                    <a:pt x="308801" y="39728"/>
                  </a:cubicBezTo>
                  <a:cubicBezTo>
                    <a:pt x="310420" y="43157"/>
                    <a:pt x="313849" y="45157"/>
                    <a:pt x="317468" y="45157"/>
                  </a:cubicBezTo>
                  <a:cubicBezTo>
                    <a:pt x="318802" y="45157"/>
                    <a:pt x="320231" y="44871"/>
                    <a:pt x="321564" y="44204"/>
                  </a:cubicBezTo>
                  <a:cubicBezTo>
                    <a:pt x="324898" y="42585"/>
                    <a:pt x="326898" y="39156"/>
                    <a:pt x="326898" y="35632"/>
                  </a:cubicBezTo>
                  <a:cubicBezTo>
                    <a:pt x="326898" y="34203"/>
                    <a:pt x="326612" y="32774"/>
                    <a:pt x="326041" y="31441"/>
                  </a:cubicBezTo>
                  <a:cubicBezTo>
                    <a:pt x="323755" y="26774"/>
                    <a:pt x="318040" y="24773"/>
                    <a:pt x="313277" y="270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6A27E024-2513-4C9C-AE7E-DCC2411D189D}"/>
                </a:ext>
              </a:extLst>
            </p:cNvPr>
            <p:cNvSpPr/>
            <p:nvPr/>
          </p:nvSpPr>
          <p:spPr>
            <a:xfrm>
              <a:off x="4639398" y="2035969"/>
              <a:ext cx="238125" cy="238125"/>
            </a:xfrm>
            <a:custGeom>
              <a:avLst/>
              <a:gdLst>
                <a:gd name="connsiteX0" fmla="*/ 234196 w 238125"/>
                <a:gd name="connsiteY0" fmla="*/ 170497 h 238125"/>
                <a:gd name="connsiteX1" fmla="*/ 129421 w 238125"/>
                <a:gd name="connsiteY1" fmla="*/ 11144 h 238125"/>
                <a:gd name="connsiteX2" fmla="*/ 113514 w 238125"/>
                <a:gd name="connsiteY2" fmla="*/ 11144 h 238125"/>
                <a:gd name="connsiteX3" fmla="*/ 8739 w 238125"/>
                <a:gd name="connsiteY3" fmla="*/ 170497 h 238125"/>
                <a:gd name="connsiteX4" fmla="*/ 7501 w 238125"/>
                <a:gd name="connsiteY4" fmla="*/ 178308 h 238125"/>
                <a:gd name="connsiteX5" fmla="*/ 12549 w 238125"/>
                <a:gd name="connsiteY5" fmla="*/ 184309 h 238125"/>
                <a:gd name="connsiteX6" fmla="*/ 117324 w 238125"/>
                <a:gd name="connsiteY6" fmla="*/ 234601 h 238125"/>
                <a:gd name="connsiteX7" fmla="*/ 121420 w 238125"/>
                <a:gd name="connsiteY7" fmla="*/ 235553 h 238125"/>
                <a:gd name="connsiteX8" fmla="*/ 125516 w 238125"/>
                <a:gd name="connsiteY8" fmla="*/ 234601 h 238125"/>
                <a:gd name="connsiteX9" fmla="*/ 230291 w 238125"/>
                <a:gd name="connsiteY9" fmla="*/ 184309 h 238125"/>
                <a:gd name="connsiteX10" fmla="*/ 235339 w 238125"/>
                <a:gd name="connsiteY10" fmla="*/ 178308 h 238125"/>
                <a:gd name="connsiteX11" fmla="*/ 234101 w 238125"/>
                <a:gd name="connsiteY11" fmla="*/ 170497 h 238125"/>
                <a:gd name="connsiteX12" fmla="*/ 111990 w 238125"/>
                <a:gd name="connsiteY12" fmla="*/ 48196 h 238125"/>
                <a:gd name="connsiteX13" fmla="*/ 111990 w 238125"/>
                <a:gd name="connsiteY13" fmla="*/ 210884 h 238125"/>
                <a:gd name="connsiteX14" fmla="*/ 30647 w 238125"/>
                <a:gd name="connsiteY14" fmla="*/ 171831 h 238125"/>
                <a:gd name="connsiteX15" fmla="*/ 111990 w 238125"/>
                <a:gd name="connsiteY15" fmla="*/ 48196 h 238125"/>
                <a:gd name="connsiteX16" fmla="*/ 131040 w 238125"/>
                <a:gd name="connsiteY16" fmla="*/ 210884 h 238125"/>
                <a:gd name="connsiteX17" fmla="*/ 131040 w 238125"/>
                <a:gd name="connsiteY17" fmla="*/ 48196 h 238125"/>
                <a:gd name="connsiteX18" fmla="*/ 212384 w 238125"/>
                <a:gd name="connsiteY18" fmla="*/ 171831 h 238125"/>
                <a:gd name="connsiteX19" fmla="*/ 131040 w 238125"/>
                <a:gd name="connsiteY19" fmla="*/ 210884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8125" h="238125">
                  <a:moveTo>
                    <a:pt x="234196" y="170497"/>
                  </a:moveTo>
                  <a:lnTo>
                    <a:pt x="129421" y="11144"/>
                  </a:lnTo>
                  <a:cubicBezTo>
                    <a:pt x="125897" y="5810"/>
                    <a:pt x="117039" y="5810"/>
                    <a:pt x="113514" y="11144"/>
                  </a:cubicBezTo>
                  <a:lnTo>
                    <a:pt x="8739" y="170497"/>
                  </a:lnTo>
                  <a:cubicBezTo>
                    <a:pt x="7215" y="172784"/>
                    <a:pt x="6739" y="175641"/>
                    <a:pt x="7501" y="178308"/>
                  </a:cubicBezTo>
                  <a:cubicBezTo>
                    <a:pt x="8263" y="180975"/>
                    <a:pt x="10073" y="183166"/>
                    <a:pt x="12549" y="184309"/>
                  </a:cubicBezTo>
                  <a:lnTo>
                    <a:pt x="117324" y="234601"/>
                  </a:lnTo>
                  <a:cubicBezTo>
                    <a:pt x="118658" y="235267"/>
                    <a:pt x="119991" y="235553"/>
                    <a:pt x="121420" y="235553"/>
                  </a:cubicBezTo>
                  <a:cubicBezTo>
                    <a:pt x="122849" y="235553"/>
                    <a:pt x="124278" y="235267"/>
                    <a:pt x="125516" y="234601"/>
                  </a:cubicBezTo>
                  <a:lnTo>
                    <a:pt x="230291" y="184309"/>
                  </a:lnTo>
                  <a:cubicBezTo>
                    <a:pt x="232767" y="183071"/>
                    <a:pt x="234577" y="180880"/>
                    <a:pt x="235339" y="178308"/>
                  </a:cubicBezTo>
                  <a:cubicBezTo>
                    <a:pt x="236101" y="175641"/>
                    <a:pt x="235625" y="172784"/>
                    <a:pt x="234101" y="170497"/>
                  </a:cubicBezTo>
                  <a:close/>
                  <a:moveTo>
                    <a:pt x="111990" y="48196"/>
                  </a:moveTo>
                  <a:lnTo>
                    <a:pt x="111990" y="210884"/>
                  </a:lnTo>
                  <a:lnTo>
                    <a:pt x="30647" y="171831"/>
                  </a:lnTo>
                  <a:lnTo>
                    <a:pt x="111990" y="48196"/>
                  </a:lnTo>
                  <a:close/>
                  <a:moveTo>
                    <a:pt x="131040" y="210884"/>
                  </a:moveTo>
                  <a:lnTo>
                    <a:pt x="131040" y="48196"/>
                  </a:lnTo>
                  <a:lnTo>
                    <a:pt x="212384" y="171831"/>
                  </a:lnTo>
                  <a:lnTo>
                    <a:pt x="131040" y="21088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67B2A1DA-120B-46F4-8B4A-C829F3B3831E}"/>
              </a:ext>
            </a:extLst>
          </p:cNvPr>
          <p:cNvSpPr txBox="1"/>
          <p:nvPr/>
        </p:nvSpPr>
        <p:spPr>
          <a:xfrm>
            <a:off x="8132445" y="3769507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000" dirty="0"/>
          </a:p>
        </p:txBody>
      </p:sp>
      <p:sp>
        <p:nvSpPr>
          <p:cNvPr id="11" name="Freeform 6">
            <a:extLst>
              <a:ext uri="{FF2B5EF4-FFF2-40B4-BE49-F238E27FC236}">
                <a16:creationId xmlns:a16="http://schemas.microsoft.com/office/drawing/2014/main" id="{D5D68BC0-7813-4AB3-8D25-F2A6CD856F06}"/>
              </a:ext>
            </a:extLst>
          </p:cNvPr>
          <p:cNvSpPr>
            <a:spLocks noChangeAspect="1"/>
          </p:cNvSpPr>
          <p:nvPr/>
        </p:nvSpPr>
        <p:spPr bwMode="gray">
          <a:xfrm>
            <a:off x="8543299" y="2808071"/>
            <a:ext cx="1877825" cy="1449550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rgbClr val="1BD7D3"/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C5144F36-E731-427D-BF2D-5115AB38553F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8532474" y="4309247"/>
            <a:ext cx="1899477" cy="1466262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C165EF98-B186-443A-93E6-8341FA3C64F6}"/>
              </a:ext>
            </a:extLst>
          </p:cNvPr>
          <p:cNvSpPr>
            <a:spLocks noChangeAspect="1"/>
          </p:cNvSpPr>
          <p:nvPr/>
        </p:nvSpPr>
        <p:spPr bwMode="gray">
          <a:xfrm>
            <a:off x="9533464" y="4309247"/>
            <a:ext cx="1899477" cy="1466262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rgbClr val="1BD7D3"/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0D1ECC98-9522-4448-8161-79A5A7A91362}"/>
              </a:ext>
            </a:extLst>
          </p:cNvPr>
          <p:cNvSpPr>
            <a:spLocks noChangeAspect="1"/>
          </p:cNvSpPr>
          <p:nvPr/>
        </p:nvSpPr>
        <p:spPr bwMode="gray">
          <a:xfrm>
            <a:off x="7538596" y="4309247"/>
            <a:ext cx="1899477" cy="1466262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rgbClr val="1BD7D3"/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5" name="Text Box 8">
            <a:extLst>
              <a:ext uri="{FF2B5EF4-FFF2-40B4-BE49-F238E27FC236}">
                <a16:creationId xmlns:a16="http://schemas.microsoft.com/office/drawing/2014/main" id="{35F84947-2248-4CC7-8203-DAC5B056BEE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532478" y="3597806"/>
            <a:ext cx="1930185" cy="50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488" tIns="67488" rIns="53991" bIns="67488">
            <a:spAutoFit/>
          </a:bodyPr>
          <a:lstStyle/>
          <a:p>
            <a:pPr algn="ctr" defTabSz="601281"/>
            <a:r>
              <a:rPr lang="ru-RU" sz="1200" b="1" dirty="0">
                <a:solidFill>
                  <a:prstClr val="white"/>
                </a:solidFill>
                <a:cs typeface="Arial" charset="0"/>
              </a:rPr>
              <a:t>Мотив/ </a:t>
            </a:r>
          </a:p>
          <a:p>
            <a:pPr algn="ctr" defTabSz="601281">
              <a:spcAft>
                <a:spcPts val="225"/>
              </a:spcAft>
            </a:pPr>
            <a:r>
              <a:rPr lang="ru-RU" sz="1200" b="1" dirty="0" err="1">
                <a:solidFill>
                  <a:prstClr val="white"/>
                </a:solidFill>
                <a:cs typeface="Arial" charset="0"/>
              </a:rPr>
              <a:t>Босим</a:t>
            </a: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16" name="Text Box 16">
            <a:extLst>
              <a:ext uri="{FF2B5EF4-FFF2-40B4-BE49-F238E27FC236}">
                <a16:creationId xmlns:a16="http://schemas.microsoft.com/office/drawing/2014/main" id="{7ECC5EBC-35C9-49D0-83F2-AA47D62CDD4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693971" y="5251865"/>
            <a:ext cx="1460759" cy="320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488" tIns="67488" rIns="53991" bIns="67488">
            <a:spAutoFit/>
          </a:bodyPr>
          <a:lstStyle/>
          <a:p>
            <a:pPr algn="ctr" defTabSz="601281">
              <a:spcBef>
                <a:spcPct val="20000"/>
              </a:spcBef>
              <a:spcAft>
                <a:spcPts val="450"/>
              </a:spcAft>
            </a:pPr>
            <a:r>
              <a:rPr lang="ru-RU" sz="1200" b="1" dirty="0" err="1">
                <a:solidFill>
                  <a:prstClr val="white"/>
                </a:solidFill>
                <a:cs typeface="Arial" charset="0"/>
              </a:rPr>
              <a:t>Асос</a:t>
            </a:r>
            <a:endParaRPr lang="ru-RU" sz="1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17" name="Text Box 10">
            <a:extLst>
              <a:ext uri="{FF2B5EF4-FFF2-40B4-BE49-F238E27FC236}">
                <a16:creationId xmlns:a16="http://schemas.microsoft.com/office/drawing/2014/main" id="{112A0585-20F9-454B-9664-F40AA98397C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904722" y="5251865"/>
            <a:ext cx="1322453" cy="320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488" tIns="67488" rIns="53991" bIns="67488">
            <a:spAutoFit/>
          </a:bodyPr>
          <a:lstStyle/>
          <a:p>
            <a:pPr algn="ctr" defTabSz="601281">
              <a:spcBef>
                <a:spcPct val="20000"/>
              </a:spcBef>
              <a:spcAft>
                <a:spcPts val="450"/>
              </a:spcAft>
            </a:pPr>
            <a:r>
              <a:rPr lang="ru-RU" sz="1200" b="1" dirty="0" err="1">
                <a:solidFill>
                  <a:prstClr val="white"/>
                </a:solidFill>
                <a:cs typeface="Arial" charset="0"/>
              </a:rPr>
              <a:t>Имконият</a:t>
            </a:r>
            <a:endParaRPr lang="ru-RU" sz="1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7636C43F-825C-4628-A496-40571623B678}"/>
              </a:ext>
            </a:extLst>
          </p:cNvPr>
          <p:cNvSpPr/>
          <p:nvPr/>
        </p:nvSpPr>
        <p:spPr>
          <a:xfrm>
            <a:off x="8413484" y="4232786"/>
            <a:ext cx="2160570" cy="91582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875" tIns="43875" rIns="43875" bIns="43875" rtlCol="0" anchor="ctr"/>
          <a:lstStyle/>
          <a:p>
            <a:pPr algn="ctr" defTabSz="601281"/>
            <a:r>
              <a:rPr lang="ru-RU" sz="1050" b="1" dirty="0" err="1">
                <a:solidFill>
                  <a:schemeClr val="bg1"/>
                </a:solidFill>
                <a:cs typeface="Arial" charset="0"/>
              </a:rPr>
              <a:t>Фирибгарликнинг</a:t>
            </a:r>
            <a:r>
              <a:rPr lang="ru-RU" sz="1050" b="1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ru-RU" sz="1050" b="1" dirty="0" err="1">
                <a:solidFill>
                  <a:schemeClr val="bg1"/>
                </a:solidFill>
                <a:cs typeface="Arial" charset="0"/>
              </a:rPr>
              <a:t>одатий</a:t>
            </a:r>
            <a:r>
              <a:rPr lang="ru-RU" sz="1050" b="1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ru-RU" sz="1050" b="1" dirty="0" err="1">
                <a:solidFill>
                  <a:schemeClr val="bg1"/>
                </a:solidFill>
                <a:cs typeface="Arial" charset="0"/>
              </a:rPr>
              <a:t>учбурчаги</a:t>
            </a:r>
            <a:endParaRPr lang="ru-RU" sz="1050" b="1" dirty="0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36120B9-884C-4352-AD36-6BB3B74699C6}"/>
              </a:ext>
            </a:extLst>
          </p:cNvPr>
          <p:cNvSpPr/>
          <p:nvPr/>
        </p:nvSpPr>
        <p:spPr>
          <a:xfrm>
            <a:off x="431999" y="2182674"/>
            <a:ext cx="6460318" cy="351822"/>
          </a:xfrm>
          <a:prstGeom prst="roundRect">
            <a:avLst>
              <a:gd name="adj" fmla="val 50000"/>
            </a:avLst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/>
              <a:t>Эҳтиёж</a:t>
            </a:r>
            <a:r>
              <a:rPr lang="ru-RU" sz="1600" b="1" dirty="0"/>
              <a:t> (</a:t>
            </a:r>
            <a:r>
              <a:rPr lang="ru-RU" sz="1600" b="1" dirty="0" err="1"/>
              <a:t>Босим</a:t>
            </a:r>
            <a:r>
              <a:rPr lang="ru-RU" sz="1600" b="1" dirty="0"/>
              <a:t>)</a:t>
            </a:r>
            <a:r>
              <a:rPr lang="en-US" sz="1600" b="1" dirty="0"/>
              <a:t>: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6207F3A-A2EB-4D94-BAB3-4D19933346D4}"/>
              </a:ext>
            </a:extLst>
          </p:cNvPr>
          <p:cNvSpPr/>
          <p:nvPr/>
        </p:nvSpPr>
        <p:spPr>
          <a:xfrm>
            <a:off x="448412" y="2688723"/>
            <a:ext cx="6443905" cy="748656"/>
          </a:xfrm>
          <a:prstGeom prst="rect">
            <a:avLst/>
          </a:prstGeom>
        </p:spPr>
        <p:txBody>
          <a:bodyPr wrap="square" lIns="0" tIns="0" rIns="0" bIns="0" numCol="2" spcCol="182880">
            <a:noAutofit/>
          </a:bodyPr>
          <a:lstStyle/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му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ражаси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хши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аги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и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аст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ҳо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ассурот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ир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аги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ия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стақилликк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илиш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ия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чорли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з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ёт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лат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индошл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саллиг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5BE6C7A-0335-476B-A457-FEF61BEF9176}"/>
              </a:ext>
            </a:extLst>
          </p:cNvPr>
          <p:cNvSpPr/>
          <p:nvPr/>
        </p:nvSpPr>
        <p:spPr>
          <a:xfrm>
            <a:off x="448412" y="3667100"/>
            <a:ext cx="6460318" cy="351822"/>
          </a:xfrm>
          <a:prstGeom prst="roundRect">
            <a:avLst>
              <a:gd name="adj" fmla="val 50000"/>
            </a:avLst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/>
              <a:t>Имконият</a:t>
            </a:r>
            <a:r>
              <a:rPr lang="ru-RU" sz="1600" b="1" dirty="0"/>
              <a:t>: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C525AB7-D7EE-4D4D-A4E8-CA0BF8F50076}"/>
              </a:ext>
            </a:extLst>
          </p:cNvPr>
          <p:cNvSpPr/>
          <p:nvPr/>
        </p:nvSpPr>
        <p:spPr>
          <a:xfrm>
            <a:off x="448265" y="4189210"/>
            <a:ext cx="6443905" cy="1123247"/>
          </a:xfrm>
          <a:prstGeom prst="rect">
            <a:avLst/>
          </a:prstGeom>
        </p:spPr>
        <p:txBody>
          <a:bodyPr wrap="square" lIns="0" tIns="0" rIns="0" bIns="0" numCol="2" spcCol="182880">
            <a:noAutofit/>
          </a:bodyPr>
          <a:lstStyle/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рибгарлик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ал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шир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никм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италар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ш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д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йматликлар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ар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гас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ончл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носабатлар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фарқли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рибгарлик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арасиз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моя</a:t>
            </a:r>
            <a:endParaRPr lang="ru-RU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0D649AC-7889-48AC-BC78-04CDB6629C7B}"/>
              </a:ext>
            </a:extLst>
          </p:cNvPr>
          <p:cNvSpPr/>
          <p:nvPr/>
        </p:nvSpPr>
        <p:spPr>
          <a:xfrm>
            <a:off x="440353" y="5288146"/>
            <a:ext cx="6460318" cy="351822"/>
          </a:xfrm>
          <a:prstGeom prst="roundRect">
            <a:avLst>
              <a:gd name="adj" fmla="val 50000"/>
            </a:avLst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/>
              <a:t>Бахона</a:t>
            </a:r>
            <a:r>
              <a:rPr lang="ru-RU" sz="1600" b="1" dirty="0"/>
              <a:t> (</a:t>
            </a:r>
            <a:r>
              <a:rPr lang="ru-RU" sz="1600" b="1" dirty="0" err="1"/>
              <a:t>Қилмишни</a:t>
            </a:r>
            <a:r>
              <a:rPr lang="ru-RU" sz="1600" b="1" dirty="0"/>
              <a:t> рационализация </a:t>
            </a:r>
            <a:r>
              <a:rPr lang="ru-RU" sz="1600" b="1" dirty="0" err="1"/>
              <a:t>қилиш</a:t>
            </a:r>
            <a:r>
              <a:rPr lang="ru-RU" sz="1600" b="1" dirty="0"/>
              <a:t>):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EE2AD06-C5BF-485F-BB1F-F23707DAC0BE}"/>
              </a:ext>
            </a:extLst>
          </p:cNvPr>
          <p:cNvSpPr/>
          <p:nvPr/>
        </p:nvSpPr>
        <p:spPr>
          <a:xfrm>
            <a:off x="456766" y="5794195"/>
            <a:ext cx="6443905" cy="771425"/>
          </a:xfrm>
          <a:prstGeom prst="rect">
            <a:avLst/>
          </a:prstGeom>
        </p:spPr>
        <p:txBody>
          <a:bodyPr wrap="square" lIns="0" tIns="0" rIns="0" bIns="0" numCol="2" spcCol="182880">
            <a:noAutofit/>
          </a:bodyPr>
          <a:lstStyle/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Компания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о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ад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дрламайд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чик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еч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м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ар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майд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еч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им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змайд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Мен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и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ммасин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плаб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ам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рниг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ўя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ам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F7DA23C-4513-42B1-A0B3-78D6D39253D5}"/>
              </a:ext>
            </a:extLst>
          </p:cNvPr>
          <p:cNvGrpSpPr/>
          <p:nvPr/>
        </p:nvGrpSpPr>
        <p:grpSpPr>
          <a:xfrm>
            <a:off x="9260406" y="3109473"/>
            <a:ext cx="466725" cy="504825"/>
            <a:chOff x="2924969" y="3636169"/>
            <a:chExt cx="466725" cy="504825"/>
          </a:xfrm>
          <a:solidFill>
            <a:schemeClr val="bg1"/>
          </a:solidFill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A27C0EC-F2BC-48B8-BBC4-A086419C5E3D}"/>
                </a:ext>
              </a:extLst>
            </p:cNvPr>
            <p:cNvSpPr/>
            <p:nvPr/>
          </p:nvSpPr>
          <p:spPr>
            <a:xfrm>
              <a:off x="2924969" y="3636169"/>
              <a:ext cx="247650" cy="504825"/>
            </a:xfrm>
            <a:custGeom>
              <a:avLst/>
              <a:gdLst>
                <a:gd name="connsiteX0" fmla="*/ 178594 w 247650"/>
                <a:gd name="connsiteY0" fmla="*/ 7144 h 504825"/>
                <a:gd name="connsiteX1" fmla="*/ 132016 w 247650"/>
                <a:gd name="connsiteY1" fmla="*/ 26194 h 504825"/>
                <a:gd name="connsiteX2" fmla="*/ 65627 w 247650"/>
                <a:gd name="connsiteY2" fmla="*/ 79724 h 504825"/>
                <a:gd name="connsiteX3" fmla="*/ 26194 w 247650"/>
                <a:gd name="connsiteY3" fmla="*/ 140494 h 504825"/>
                <a:gd name="connsiteX4" fmla="*/ 31147 w 247650"/>
                <a:gd name="connsiteY4" fmla="*/ 165545 h 504825"/>
                <a:gd name="connsiteX5" fmla="*/ 7144 w 247650"/>
                <a:gd name="connsiteY5" fmla="*/ 216694 h 504825"/>
                <a:gd name="connsiteX6" fmla="*/ 19145 w 247650"/>
                <a:gd name="connsiteY6" fmla="*/ 254794 h 504825"/>
                <a:gd name="connsiteX7" fmla="*/ 7144 w 247650"/>
                <a:gd name="connsiteY7" fmla="*/ 292894 h 504825"/>
                <a:gd name="connsiteX8" fmla="*/ 28575 w 247650"/>
                <a:gd name="connsiteY8" fmla="*/ 341852 h 504825"/>
                <a:gd name="connsiteX9" fmla="*/ 26194 w 247650"/>
                <a:gd name="connsiteY9" fmla="*/ 359569 h 504825"/>
                <a:gd name="connsiteX10" fmla="*/ 64389 w 247650"/>
                <a:gd name="connsiteY10" fmla="*/ 419767 h 504825"/>
                <a:gd name="connsiteX11" fmla="*/ 130969 w 247650"/>
                <a:gd name="connsiteY11" fmla="*/ 483394 h 504825"/>
                <a:gd name="connsiteX12" fmla="*/ 132016 w 247650"/>
                <a:gd name="connsiteY12" fmla="*/ 483394 h 504825"/>
                <a:gd name="connsiteX13" fmla="*/ 178594 w 247650"/>
                <a:gd name="connsiteY13" fmla="*/ 502444 h 504825"/>
                <a:gd name="connsiteX14" fmla="*/ 245269 w 247650"/>
                <a:gd name="connsiteY14" fmla="*/ 435769 h 504825"/>
                <a:gd name="connsiteX15" fmla="*/ 245269 w 247650"/>
                <a:gd name="connsiteY15" fmla="*/ 73819 h 504825"/>
                <a:gd name="connsiteX16" fmla="*/ 178594 w 247650"/>
                <a:gd name="connsiteY16" fmla="*/ 7144 h 504825"/>
                <a:gd name="connsiteX17" fmla="*/ 226219 w 247650"/>
                <a:gd name="connsiteY17" fmla="*/ 207169 h 504825"/>
                <a:gd name="connsiteX18" fmla="*/ 178594 w 247650"/>
                <a:gd name="connsiteY18" fmla="*/ 254794 h 504825"/>
                <a:gd name="connsiteX19" fmla="*/ 169069 w 247650"/>
                <a:gd name="connsiteY19" fmla="*/ 264319 h 504825"/>
                <a:gd name="connsiteX20" fmla="*/ 178594 w 247650"/>
                <a:gd name="connsiteY20" fmla="*/ 273844 h 504825"/>
                <a:gd name="connsiteX21" fmla="*/ 226219 w 247650"/>
                <a:gd name="connsiteY21" fmla="*/ 253746 h 504825"/>
                <a:gd name="connsiteX22" fmla="*/ 226219 w 247650"/>
                <a:gd name="connsiteY22" fmla="*/ 435769 h 504825"/>
                <a:gd name="connsiteX23" fmla="*/ 178594 w 247650"/>
                <a:gd name="connsiteY23" fmla="*/ 483394 h 504825"/>
                <a:gd name="connsiteX24" fmla="*/ 142970 w 247650"/>
                <a:gd name="connsiteY24" fmla="*/ 467296 h 504825"/>
                <a:gd name="connsiteX25" fmla="*/ 142685 w 247650"/>
                <a:gd name="connsiteY25" fmla="*/ 467011 h 504825"/>
                <a:gd name="connsiteX26" fmla="*/ 142589 w 247650"/>
                <a:gd name="connsiteY26" fmla="*/ 466820 h 504825"/>
                <a:gd name="connsiteX27" fmla="*/ 130873 w 247650"/>
                <a:gd name="connsiteY27" fmla="*/ 436436 h 504825"/>
                <a:gd name="connsiteX28" fmla="*/ 122206 w 247650"/>
                <a:gd name="connsiteY28" fmla="*/ 426148 h 504825"/>
                <a:gd name="connsiteX29" fmla="*/ 111919 w 247650"/>
                <a:gd name="connsiteY29" fmla="*/ 434816 h 504825"/>
                <a:gd name="connsiteX30" fmla="*/ 116396 w 247650"/>
                <a:gd name="connsiteY30" fmla="*/ 461867 h 504825"/>
                <a:gd name="connsiteX31" fmla="*/ 83248 w 247650"/>
                <a:gd name="connsiteY31" fmla="*/ 416719 h 504825"/>
                <a:gd name="connsiteX32" fmla="*/ 83248 w 247650"/>
                <a:gd name="connsiteY32" fmla="*/ 415004 h 504825"/>
                <a:gd name="connsiteX33" fmla="*/ 83248 w 247650"/>
                <a:gd name="connsiteY33" fmla="*/ 414052 h 504825"/>
                <a:gd name="connsiteX34" fmla="*/ 76962 w 247650"/>
                <a:gd name="connsiteY34" fmla="*/ 404527 h 504825"/>
                <a:gd name="connsiteX35" fmla="*/ 45053 w 247650"/>
                <a:gd name="connsiteY35" fmla="*/ 359664 h 504825"/>
                <a:gd name="connsiteX36" fmla="*/ 48387 w 247650"/>
                <a:gd name="connsiteY36" fmla="*/ 342233 h 504825"/>
                <a:gd name="connsiteX37" fmla="*/ 45244 w 247650"/>
                <a:gd name="connsiteY37" fmla="*/ 331089 h 504825"/>
                <a:gd name="connsiteX38" fmla="*/ 26003 w 247650"/>
                <a:gd name="connsiteY38" fmla="*/ 292989 h 504825"/>
                <a:gd name="connsiteX39" fmla="*/ 38195 w 247650"/>
                <a:gd name="connsiteY39" fmla="*/ 261271 h 504825"/>
                <a:gd name="connsiteX40" fmla="*/ 38195 w 247650"/>
                <a:gd name="connsiteY40" fmla="*/ 248507 h 504825"/>
                <a:gd name="connsiteX41" fmla="*/ 26003 w 247650"/>
                <a:gd name="connsiteY41" fmla="*/ 216789 h 504825"/>
                <a:gd name="connsiteX42" fmla="*/ 48006 w 247650"/>
                <a:gd name="connsiteY42" fmla="*/ 176689 h 504825"/>
                <a:gd name="connsiteX43" fmla="*/ 51149 w 247650"/>
                <a:gd name="connsiteY43" fmla="*/ 164021 h 504825"/>
                <a:gd name="connsiteX44" fmla="*/ 44958 w 247650"/>
                <a:gd name="connsiteY44" fmla="*/ 140684 h 504825"/>
                <a:gd name="connsiteX45" fmla="*/ 77057 w 247650"/>
                <a:gd name="connsiteY45" fmla="*/ 95726 h 504825"/>
                <a:gd name="connsiteX46" fmla="*/ 83439 w 247650"/>
                <a:gd name="connsiteY46" fmla="*/ 87725 h 504825"/>
                <a:gd name="connsiteX47" fmla="*/ 130778 w 247650"/>
                <a:gd name="connsiteY47" fmla="*/ 45434 h 504825"/>
                <a:gd name="connsiteX48" fmla="*/ 134874 w 247650"/>
                <a:gd name="connsiteY48" fmla="*/ 45625 h 504825"/>
                <a:gd name="connsiteX49" fmla="*/ 142780 w 247650"/>
                <a:gd name="connsiteY49" fmla="*/ 42481 h 504825"/>
                <a:gd name="connsiteX50" fmla="*/ 178403 w 247650"/>
                <a:gd name="connsiteY50" fmla="*/ 26384 h 504825"/>
                <a:gd name="connsiteX51" fmla="*/ 226028 w 247650"/>
                <a:gd name="connsiteY51" fmla="*/ 74009 h 504825"/>
                <a:gd name="connsiteX52" fmla="*/ 226028 w 247650"/>
                <a:gd name="connsiteY52" fmla="*/ 207359 h 504825"/>
                <a:gd name="connsiteX53" fmla="*/ 197644 w 247650"/>
                <a:gd name="connsiteY53" fmla="*/ 64294 h 504825"/>
                <a:gd name="connsiteX54" fmla="*/ 132874 w 247650"/>
                <a:gd name="connsiteY54" fmla="*/ 115348 h 504825"/>
                <a:gd name="connsiteX55" fmla="*/ 111919 w 247650"/>
                <a:gd name="connsiteY55" fmla="*/ 111919 h 504825"/>
                <a:gd name="connsiteX56" fmla="*/ 102394 w 247650"/>
                <a:gd name="connsiteY56" fmla="*/ 121444 h 504825"/>
                <a:gd name="connsiteX57" fmla="*/ 111919 w 247650"/>
                <a:gd name="connsiteY57" fmla="*/ 130969 h 504825"/>
                <a:gd name="connsiteX58" fmla="*/ 159544 w 247650"/>
                <a:gd name="connsiteY58" fmla="*/ 178594 h 504825"/>
                <a:gd name="connsiteX59" fmla="*/ 169069 w 247650"/>
                <a:gd name="connsiteY59" fmla="*/ 188119 h 504825"/>
                <a:gd name="connsiteX60" fmla="*/ 178594 w 247650"/>
                <a:gd name="connsiteY60" fmla="*/ 178594 h 504825"/>
                <a:gd name="connsiteX61" fmla="*/ 150781 w 247650"/>
                <a:gd name="connsiteY61" fmla="*/ 124492 h 504825"/>
                <a:gd name="connsiteX62" fmla="*/ 197644 w 247650"/>
                <a:gd name="connsiteY62" fmla="*/ 83344 h 504825"/>
                <a:gd name="connsiteX63" fmla="*/ 207169 w 247650"/>
                <a:gd name="connsiteY63" fmla="*/ 73819 h 504825"/>
                <a:gd name="connsiteX64" fmla="*/ 197644 w 247650"/>
                <a:gd name="connsiteY64" fmla="*/ 64294 h 504825"/>
                <a:gd name="connsiteX65" fmla="*/ 90583 w 247650"/>
                <a:gd name="connsiteY65" fmla="*/ 249936 h 504825"/>
                <a:gd name="connsiteX66" fmla="*/ 97346 w 247650"/>
                <a:gd name="connsiteY66" fmla="*/ 247174 h 504825"/>
                <a:gd name="connsiteX67" fmla="*/ 97346 w 247650"/>
                <a:gd name="connsiteY67" fmla="*/ 233744 h 504825"/>
                <a:gd name="connsiteX68" fmla="*/ 83439 w 247650"/>
                <a:gd name="connsiteY68" fmla="*/ 200025 h 504825"/>
                <a:gd name="connsiteX69" fmla="*/ 97346 w 247650"/>
                <a:gd name="connsiteY69" fmla="*/ 166306 h 504825"/>
                <a:gd name="connsiteX70" fmla="*/ 97346 w 247650"/>
                <a:gd name="connsiteY70" fmla="*/ 152876 h 504825"/>
                <a:gd name="connsiteX71" fmla="*/ 83915 w 247650"/>
                <a:gd name="connsiteY71" fmla="*/ 152876 h 504825"/>
                <a:gd name="connsiteX72" fmla="*/ 64389 w 247650"/>
                <a:gd name="connsiteY72" fmla="*/ 200025 h 504825"/>
                <a:gd name="connsiteX73" fmla="*/ 83915 w 247650"/>
                <a:gd name="connsiteY73" fmla="*/ 247174 h 504825"/>
                <a:gd name="connsiteX74" fmla="*/ 90678 w 247650"/>
                <a:gd name="connsiteY74" fmla="*/ 249936 h 504825"/>
                <a:gd name="connsiteX75" fmla="*/ 121444 w 247650"/>
                <a:gd name="connsiteY75" fmla="*/ 369094 h 504825"/>
                <a:gd name="connsiteX76" fmla="*/ 111919 w 247650"/>
                <a:gd name="connsiteY76" fmla="*/ 378619 h 504825"/>
                <a:gd name="connsiteX77" fmla="*/ 121444 w 247650"/>
                <a:gd name="connsiteY77" fmla="*/ 388144 h 504825"/>
                <a:gd name="connsiteX78" fmla="*/ 169069 w 247650"/>
                <a:gd name="connsiteY78" fmla="*/ 435769 h 504825"/>
                <a:gd name="connsiteX79" fmla="*/ 178594 w 247650"/>
                <a:gd name="connsiteY79" fmla="*/ 445294 h 504825"/>
                <a:gd name="connsiteX80" fmla="*/ 188119 w 247650"/>
                <a:gd name="connsiteY80" fmla="*/ 435769 h 504825"/>
                <a:gd name="connsiteX81" fmla="*/ 121444 w 247650"/>
                <a:gd name="connsiteY81" fmla="*/ 369094 h 504825"/>
                <a:gd name="connsiteX82" fmla="*/ 130969 w 247650"/>
                <a:gd name="connsiteY82" fmla="*/ 264319 h 504825"/>
                <a:gd name="connsiteX83" fmla="*/ 144875 w 247650"/>
                <a:gd name="connsiteY83" fmla="*/ 234696 h 504825"/>
                <a:gd name="connsiteX84" fmla="*/ 149066 w 247650"/>
                <a:gd name="connsiteY84" fmla="*/ 221932 h 504825"/>
                <a:gd name="connsiteX85" fmla="*/ 136303 w 247650"/>
                <a:gd name="connsiteY85" fmla="*/ 217646 h 504825"/>
                <a:gd name="connsiteX86" fmla="*/ 112014 w 247650"/>
                <a:gd name="connsiteY86" fmla="*/ 264223 h 504825"/>
                <a:gd name="connsiteX87" fmla="*/ 120205 w 247650"/>
                <a:gd name="connsiteY87" fmla="*/ 296132 h 504825"/>
                <a:gd name="connsiteX88" fmla="*/ 73914 w 247650"/>
                <a:gd name="connsiteY88" fmla="*/ 359473 h 504825"/>
                <a:gd name="connsiteX89" fmla="*/ 83439 w 247650"/>
                <a:gd name="connsiteY89" fmla="*/ 368998 h 504825"/>
                <a:gd name="connsiteX90" fmla="*/ 92964 w 247650"/>
                <a:gd name="connsiteY90" fmla="*/ 359473 h 504825"/>
                <a:gd name="connsiteX91" fmla="*/ 133064 w 247650"/>
                <a:gd name="connsiteY91" fmla="*/ 312706 h 504825"/>
                <a:gd name="connsiteX92" fmla="*/ 178689 w 247650"/>
                <a:gd name="connsiteY92" fmla="*/ 330898 h 504825"/>
                <a:gd name="connsiteX93" fmla="*/ 188214 w 247650"/>
                <a:gd name="connsiteY93" fmla="*/ 321373 h 504825"/>
                <a:gd name="connsiteX94" fmla="*/ 178689 w 247650"/>
                <a:gd name="connsiteY94" fmla="*/ 311848 h 504825"/>
                <a:gd name="connsiteX95" fmla="*/ 131064 w 247650"/>
                <a:gd name="connsiteY95" fmla="*/ 264223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247650" h="504825">
                  <a:moveTo>
                    <a:pt x="178594" y="7144"/>
                  </a:moveTo>
                  <a:cubicBezTo>
                    <a:pt x="161163" y="7144"/>
                    <a:pt x="144399" y="14002"/>
                    <a:pt x="132016" y="26194"/>
                  </a:cubicBezTo>
                  <a:cubicBezTo>
                    <a:pt x="99822" y="25622"/>
                    <a:pt x="71819" y="48482"/>
                    <a:pt x="65627" y="79724"/>
                  </a:cubicBezTo>
                  <a:cubicBezTo>
                    <a:pt x="41815" y="90392"/>
                    <a:pt x="26194" y="114110"/>
                    <a:pt x="26194" y="140494"/>
                  </a:cubicBezTo>
                  <a:cubicBezTo>
                    <a:pt x="26194" y="149066"/>
                    <a:pt x="27908" y="157639"/>
                    <a:pt x="31147" y="165545"/>
                  </a:cubicBezTo>
                  <a:cubicBezTo>
                    <a:pt x="16002" y="178118"/>
                    <a:pt x="7144" y="196691"/>
                    <a:pt x="7144" y="216694"/>
                  </a:cubicBezTo>
                  <a:cubicBezTo>
                    <a:pt x="7144" y="230410"/>
                    <a:pt x="11335" y="243649"/>
                    <a:pt x="19145" y="254794"/>
                  </a:cubicBezTo>
                  <a:cubicBezTo>
                    <a:pt x="11335" y="265938"/>
                    <a:pt x="7144" y="279178"/>
                    <a:pt x="7144" y="292894"/>
                  </a:cubicBezTo>
                  <a:cubicBezTo>
                    <a:pt x="7144" y="311753"/>
                    <a:pt x="14859" y="329279"/>
                    <a:pt x="28575" y="341852"/>
                  </a:cubicBezTo>
                  <a:cubicBezTo>
                    <a:pt x="26956" y="347663"/>
                    <a:pt x="26194" y="353568"/>
                    <a:pt x="26194" y="359569"/>
                  </a:cubicBezTo>
                  <a:cubicBezTo>
                    <a:pt x="26194" y="385477"/>
                    <a:pt x="41243" y="408813"/>
                    <a:pt x="64389" y="419767"/>
                  </a:cubicBezTo>
                  <a:cubicBezTo>
                    <a:pt x="66008" y="455105"/>
                    <a:pt x="95250" y="483394"/>
                    <a:pt x="130969" y="483394"/>
                  </a:cubicBezTo>
                  <a:cubicBezTo>
                    <a:pt x="131350" y="483394"/>
                    <a:pt x="131636" y="483394"/>
                    <a:pt x="132016" y="483394"/>
                  </a:cubicBezTo>
                  <a:cubicBezTo>
                    <a:pt x="144399" y="495586"/>
                    <a:pt x="161163" y="502444"/>
                    <a:pt x="178594" y="502444"/>
                  </a:cubicBezTo>
                  <a:cubicBezTo>
                    <a:pt x="215360" y="502444"/>
                    <a:pt x="245269" y="472535"/>
                    <a:pt x="245269" y="435769"/>
                  </a:cubicBezTo>
                  <a:lnTo>
                    <a:pt x="245269" y="73819"/>
                  </a:lnTo>
                  <a:cubicBezTo>
                    <a:pt x="245269" y="37052"/>
                    <a:pt x="215360" y="7144"/>
                    <a:pt x="178594" y="7144"/>
                  </a:cubicBezTo>
                  <a:close/>
                  <a:moveTo>
                    <a:pt x="226219" y="207169"/>
                  </a:moveTo>
                  <a:cubicBezTo>
                    <a:pt x="226219" y="233458"/>
                    <a:pt x="204883" y="254794"/>
                    <a:pt x="178594" y="254794"/>
                  </a:cubicBezTo>
                  <a:cubicBezTo>
                    <a:pt x="173355" y="254794"/>
                    <a:pt x="169069" y="259080"/>
                    <a:pt x="169069" y="264319"/>
                  </a:cubicBezTo>
                  <a:cubicBezTo>
                    <a:pt x="169069" y="269557"/>
                    <a:pt x="173355" y="273844"/>
                    <a:pt x="178594" y="273844"/>
                  </a:cubicBezTo>
                  <a:cubicBezTo>
                    <a:pt x="197263" y="273844"/>
                    <a:pt x="214122" y="266129"/>
                    <a:pt x="226219" y="253746"/>
                  </a:cubicBezTo>
                  <a:lnTo>
                    <a:pt x="226219" y="435769"/>
                  </a:lnTo>
                  <a:cubicBezTo>
                    <a:pt x="226219" y="462058"/>
                    <a:pt x="204883" y="483394"/>
                    <a:pt x="178594" y="483394"/>
                  </a:cubicBezTo>
                  <a:cubicBezTo>
                    <a:pt x="165068" y="483394"/>
                    <a:pt x="152019" y="477488"/>
                    <a:pt x="142970" y="467296"/>
                  </a:cubicBezTo>
                  <a:cubicBezTo>
                    <a:pt x="142970" y="467201"/>
                    <a:pt x="142780" y="467106"/>
                    <a:pt x="142685" y="467011"/>
                  </a:cubicBezTo>
                  <a:cubicBezTo>
                    <a:pt x="142685" y="467011"/>
                    <a:pt x="142685" y="466915"/>
                    <a:pt x="142589" y="466820"/>
                  </a:cubicBezTo>
                  <a:cubicBezTo>
                    <a:pt x="134017" y="458248"/>
                    <a:pt x="129921" y="447675"/>
                    <a:pt x="130873" y="436436"/>
                  </a:cubicBezTo>
                  <a:cubicBezTo>
                    <a:pt x="131350" y="431197"/>
                    <a:pt x="127445" y="426530"/>
                    <a:pt x="122206" y="426148"/>
                  </a:cubicBezTo>
                  <a:cubicBezTo>
                    <a:pt x="116777" y="425577"/>
                    <a:pt x="112300" y="429578"/>
                    <a:pt x="111919" y="434816"/>
                  </a:cubicBezTo>
                  <a:cubicBezTo>
                    <a:pt x="111157" y="444246"/>
                    <a:pt x="112776" y="453390"/>
                    <a:pt x="116396" y="461867"/>
                  </a:cubicBezTo>
                  <a:cubicBezTo>
                    <a:pt x="97250" y="455676"/>
                    <a:pt x="83248" y="437864"/>
                    <a:pt x="83248" y="416719"/>
                  </a:cubicBezTo>
                  <a:cubicBezTo>
                    <a:pt x="83248" y="416147"/>
                    <a:pt x="83248" y="415576"/>
                    <a:pt x="83248" y="415004"/>
                  </a:cubicBezTo>
                  <a:lnTo>
                    <a:pt x="83248" y="414052"/>
                  </a:lnTo>
                  <a:cubicBezTo>
                    <a:pt x="83534" y="409765"/>
                    <a:pt x="80963" y="405860"/>
                    <a:pt x="76962" y="404527"/>
                  </a:cubicBezTo>
                  <a:cubicBezTo>
                    <a:pt x="57912" y="397859"/>
                    <a:pt x="45053" y="379762"/>
                    <a:pt x="45053" y="359664"/>
                  </a:cubicBezTo>
                  <a:cubicBezTo>
                    <a:pt x="45053" y="353759"/>
                    <a:pt x="46196" y="347853"/>
                    <a:pt x="48387" y="342233"/>
                  </a:cubicBezTo>
                  <a:cubicBezTo>
                    <a:pt x="49911" y="338233"/>
                    <a:pt x="48673" y="333661"/>
                    <a:pt x="45244" y="331089"/>
                  </a:cubicBezTo>
                  <a:cubicBezTo>
                    <a:pt x="33052" y="321945"/>
                    <a:pt x="26003" y="308038"/>
                    <a:pt x="26003" y="292989"/>
                  </a:cubicBezTo>
                  <a:cubicBezTo>
                    <a:pt x="26003" y="281273"/>
                    <a:pt x="30385" y="270034"/>
                    <a:pt x="38195" y="261271"/>
                  </a:cubicBezTo>
                  <a:cubicBezTo>
                    <a:pt x="41434" y="257651"/>
                    <a:pt x="41434" y="252127"/>
                    <a:pt x="38195" y="248507"/>
                  </a:cubicBezTo>
                  <a:cubicBezTo>
                    <a:pt x="30289" y="239744"/>
                    <a:pt x="26003" y="228505"/>
                    <a:pt x="26003" y="216789"/>
                  </a:cubicBezTo>
                  <a:cubicBezTo>
                    <a:pt x="26003" y="200501"/>
                    <a:pt x="34290" y="185452"/>
                    <a:pt x="48006" y="176689"/>
                  </a:cubicBezTo>
                  <a:cubicBezTo>
                    <a:pt x="52292" y="173927"/>
                    <a:pt x="53626" y="168402"/>
                    <a:pt x="51149" y="164021"/>
                  </a:cubicBezTo>
                  <a:cubicBezTo>
                    <a:pt x="47149" y="156877"/>
                    <a:pt x="44958" y="148780"/>
                    <a:pt x="44958" y="140684"/>
                  </a:cubicBezTo>
                  <a:cubicBezTo>
                    <a:pt x="44958" y="120396"/>
                    <a:pt x="57817" y="102394"/>
                    <a:pt x="77057" y="95726"/>
                  </a:cubicBezTo>
                  <a:cubicBezTo>
                    <a:pt x="80581" y="94488"/>
                    <a:pt x="82963" y="91440"/>
                    <a:pt x="83439" y="87725"/>
                  </a:cubicBezTo>
                  <a:cubicBezTo>
                    <a:pt x="86106" y="63627"/>
                    <a:pt x="106394" y="45434"/>
                    <a:pt x="130778" y="45434"/>
                  </a:cubicBezTo>
                  <a:cubicBezTo>
                    <a:pt x="132112" y="45434"/>
                    <a:pt x="133540" y="45529"/>
                    <a:pt x="134874" y="45625"/>
                  </a:cubicBezTo>
                  <a:cubicBezTo>
                    <a:pt x="137922" y="45911"/>
                    <a:pt x="140779" y="44672"/>
                    <a:pt x="142780" y="42481"/>
                  </a:cubicBezTo>
                  <a:cubicBezTo>
                    <a:pt x="151829" y="32290"/>
                    <a:pt x="164782" y="26384"/>
                    <a:pt x="178403" y="26384"/>
                  </a:cubicBezTo>
                  <a:cubicBezTo>
                    <a:pt x="204692" y="26384"/>
                    <a:pt x="226028" y="47720"/>
                    <a:pt x="226028" y="74009"/>
                  </a:cubicBezTo>
                  <a:lnTo>
                    <a:pt x="226028" y="207359"/>
                  </a:lnTo>
                  <a:close/>
                  <a:moveTo>
                    <a:pt x="197644" y="64294"/>
                  </a:moveTo>
                  <a:cubicBezTo>
                    <a:pt x="166116" y="64294"/>
                    <a:pt x="139827" y="85820"/>
                    <a:pt x="132874" y="115348"/>
                  </a:cubicBezTo>
                  <a:cubicBezTo>
                    <a:pt x="126302" y="113157"/>
                    <a:pt x="119253" y="111919"/>
                    <a:pt x="111919" y="111919"/>
                  </a:cubicBezTo>
                  <a:cubicBezTo>
                    <a:pt x="106680" y="111919"/>
                    <a:pt x="102394" y="116205"/>
                    <a:pt x="102394" y="121444"/>
                  </a:cubicBezTo>
                  <a:cubicBezTo>
                    <a:pt x="102394" y="126682"/>
                    <a:pt x="106680" y="130969"/>
                    <a:pt x="111919" y="130969"/>
                  </a:cubicBezTo>
                  <a:cubicBezTo>
                    <a:pt x="138208" y="130969"/>
                    <a:pt x="159544" y="152305"/>
                    <a:pt x="159544" y="178594"/>
                  </a:cubicBezTo>
                  <a:cubicBezTo>
                    <a:pt x="159544" y="183832"/>
                    <a:pt x="163830" y="188119"/>
                    <a:pt x="169069" y="188119"/>
                  </a:cubicBezTo>
                  <a:cubicBezTo>
                    <a:pt x="174307" y="188119"/>
                    <a:pt x="178594" y="183832"/>
                    <a:pt x="178594" y="178594"/>
                  </a:cubicBezTo>
                  <a:cubicBezTo>
                    <a:pt x="178594" y="156305"/>
                    <a:pt x="167545" y="136588"/>
                    <a:pt x="150781" y="124492"/>
                  </a:cubicBezTo>
                  <a:cubicBezTo>
                    <a:pt x="153924" y="101060"/>
                    <a:pt x="173546" y="83344"/>
                    <a:pt x="197644" y="83344"/>
                  </a:cubicBezTo>
                  <a:cubicBezTo>
                    <a:pt x="202882" y="83344"/>
                    <a:pt x="207169" y="79057"/>
                    <a:pt x="207169" y="73819"/>
                  </a:cubicBezTo>
                  <a:cubicBezTo>
                    <a:pt x="207169" y="68580"/>
                    <a:pt x="202882" y="64294"/>
                    <a:pt x="197644" y="64294"/>
                  </a:cubicBezTo>
                  <a:close/>
                  <a:moveTo>
                    <a:pt x="90583" y="249936"/>
                  </a:moveTo>
                  <a:cubicBezTo>
                    <a:pt x="93059" y="249936"/>
                    <a:pt x="95440" y="248984"/>
                    <a:pt x="97346" y="247174"/>
                  </a:cubicBezTo>
                  <a:cubicBezTo>
                    <a:pt x="101060" y="243459"/>
                    <a:pt x="101060" y="237458"/>
                    <a:pt x="97346" y="233744"/>
                  </a:cubicBezTo>
                  <a:cubicBezTo>
                    <a:pt x="88392" y="224790"/>
                    <a:pt x="83439" y="212788"/>
                    <a:pt x="83439" y="200025"/>
                  </a:cubicBezTo>
                  <a:cubicBezTo>
                    <a:pt x="83439" y="187262"/>
                    <a:pt x="88392" y="175355"/>
                    <a:pt x="97346" y="166306"/>
                  </a:cubicBezTo>
                  <a:cubicBezTo>
                    <a:pt x="101060" y="162592"/>
                    <a:pt x="101060" y="156591"/>
                    <a:pt x="97346" y="152876"/>
                  </a:cubicBezTo>
                  <a:cubicBezTo>
                    <a:pt x="93631" y="149162"/>
                    <a:pt x="87630" y="149162"/>
                    <a:pt x="83915" y="152876"/>
                  </a:cubicBezTo>
                  <a:cubicBezTo>
                    <a:pt x="71342" y="165449"/>
                    <a:pt x="64389" y="182213"/>
                    <a:pt x="64389" y="200025"/>
                  </a:cubicBezTo>
                  <a:cubicBezTo>
                    <a:pt x="64389" y="217837"/>
                    <a:pt x="71342" y="234601"/>
                    <a:pt x="83915" y="247174"/>
                  </a:cubicBezTo>
                  <a:cubicBezTo>
                    <a:pt x="85820" y="249079"/>
                    <a:pt x="88202" y="249936"/>
                    <a:pt x="90678" y="249936"/>
                  </a:cubicBezTo>
                  <a:close/>
                  <a:moveTo>
                    <a:pt x="121444" y="369094"/>
                  </a:moveTo>
                  <a:cubicBezTo>
                    <a:pt x="116205" y="369094"/>
                    <a:pt x="111919" y="373380"/>
                    <a:pt x="111919" y="378619"/>
                  </a:cubicBezTo>
                  <a:cubicBezTo>
                    <a:pt x="111919" y="383857"/>
                    <a:pt x="116205" y="388144"/>
                    <a:pt x="121444" y="388144"/>
                  </a:cubicBezTo>
                  <a:cubicBezTo>
                    <a:pt x="147733" y="388144"/>
                    <a:pt x="169069" y="409480"/>
                    <a:pt x="169069" y="435769"/>
                  </a:cubicBezTo>
                  <a:cubicBezTo>
                    <a:pt x="169069" y="441007"/>
                    <a:pt x="173355" y="445294"/>
                    <a:pt x="178594" y="445294"/>
                  </a:cubicBezTo>
                  <a:cubicBezTo>
                    <a:pt x="183832" y="445294"/>
                    <a:pt x="188119" y="441007"/>
                    <a:pt x="188119" y="435769"/>
                  </a:cubicBezTo>
                  <a:cubicBezTo>
                    <a:pt x="188119" y="399002"/>
                    <a:pt x="158210" y="369094"/>
                    <a:pt x="121444" y="369094"/>
                  </a:cubicBezTo>
                  <a:close/>
                  <a:moveTo>
                    <a:pt x="130969" y="264319"/>
                  </a:moveTo>
                  <a:cubicBezTo>
                    <a:pt x="130969" y="242602"/>
                    <a:pt x="144113" y="235077"/>
                    <a:pt x="144875" y="234696"/>
                  </a:cubicBezTo>
                  <a:cubicBezTo>
                    <a:pt x="149543" y="232315"/>
                    <a:pt x="151352" y="226600"/>
                    <a:pt x="149066" y="221932"/>
                  </a:cubicBezTo>
                  <a:cubicBezTo>
                    <a:pt x="146685" y="217265"/>
                    <a:pt x="140970" y="215360"/>
                    <a:pt x="136303" y="217646"/>
                  </a:cubicBezTo>
                  <a:cubicBezTo>
                    <a:pt x="135350" y="218122"/>
                    <a:pt x="112014" y="230219"/>
                    <a:pt x="112014" y="264223"/>
                  </a:cubicBezTo>
                  <a:cubicBezTo>
                    <a:pt x="112014" y="275749"/>
                    <a:pt x="114967" y="286703"/>
                    <a:pt x="120205" y="296132"/>
                  </a:cubicBezTo>
                  <a:cubicBezTo>
                    <a:pt x="93345" y="304800"/>
                    <a:pt x="73914" y="330137"/>
                    <a:pt x="73914" y="359473"/>
                  </a:cubicBezTo>
                  <a:cubicBezTo>
                    <a:pt x="73914" y="364712"/>
                    <a:pt x="78200" y="368998"/>
                    <a:pt x="83439" y="368998"/>
                  </a:cubicBezTo>
                  <a:cubicBezTo>
                    <a:pt x="88678" y="368998"/>
                    <a:pt x="92964" y="364712"/>
                    <a:pt x="92964" y="359473"/>
                  </a:cubicBezTo>
                  <a:cubicBezTo>
                    <a:pt x="92964" y="336042"/>
                    <a:pt x="110299" y="316421"/>
                    <a:pt x="133064" y="312706"/>
                  </a:cubicBezTo>
                  <a:cubicBezTo>
                    <a:pt x="144971" y="323945"/>
                    <a:pt x="161068" y="330898"/>
                    <a:pt x="178689" y="330898"/>
                  </a:cubicBezTo>
                  <a:cubicBezTo>
                    <a:pt x="183928" y="330898"/>
                    <a:pt x="188214" y="326612"/>
                    <a:pt x="188214" y="321373"/>
                  </a:cubicBezTo>
                  <a:cubicBezTo>
                    <a:pt x="188214" y="316135"/>
                    <a:pt x="183928" y="311848"/>
                    <a:pt x="178689" y="311848"/>
                  </a:cubicBezTo>
                  <a:cubicBezTo>
                    <a:pt x="152400" y="311848"/>
                    <a:pt x="131064" y="290513"/>
                    <a:pt x="131064" y="2642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F381B30-A09E-4939-942A-1D3AEBA9ED04}"/>
                </a:ext>
              </a:extLst>
            </p:cNvPr>
            <p:cNvSpPr/>
            <p:nvPr/>
          </p:nvSpPr>
          <p:spPr>
            <a:xfrm>
              <a:off x="3144044" y="3636169"/>
              <a:ext cx="247650" cy="504825"/>
            </a:xfrm>
            <a:custGeom>
              <a:avLst/>
              <a:gdLst>
                <a:gd name="connsiteX0" fmla="*/ 233267 w 247650"/>
                <a:gd name="connsiteY0" fmla="*/ 254794 h 504825"/>
                <a:gd name="connsiteX1" fmla="*/ 245269 w 247650"/>
                <a:gd name="connsiteY1" fmla="*/ 216694 h 504825"/>
                <a:gd name="connsiteX2" fmla="*/ 221266 w 247650"/>
                <a:gd name="connsiteY2" fmla="*/ 165545 h 504825"/>
                <a:gd name="connsiteX3" fmla="*/ 226219 w 247650"/>
                <a:gd name="connsiteY3" fmla="*/ 140494 h 504825"/>
                <a:gd name="connsiteX4" fmla="*/ 186785 w 247650"/>
                <a:gd name="connsiteY4" fmla="*/ 79724 h 504825"/>
                <a:gd name="connsiteX5" fmla="*/ 120396 w 247650"/>
                <a:gd name="connsiteY5" fmla="*/ 26194 h 504825"/>
                <a:gd name="connsiteX6" fmla="*/ 73819 w 247650"/>
                <a:gd name="connsiteY6" fmla="*/ 7144 h 504825"/>
                <a:gd name="connsiteX7" fmla="*/ 7144 w 247650"/>
                <a:gd name="connsiteY7" fmla="*/ 73819 h 504825"/>
                <a:gd name="connsiteX8" fmla="*/ 7144 w 247650"/>
                <a:gd name="connsiteY8" fmla="*/ 435769 h 504825"/>
                <a:gd name="connsiteX9" fmla="*/ 73819 w 247650"/>
                <a:gd name="connsiteY9" fmla="*/ 502444 h 504825"/>
                <a:gd name="connsiteX10" fmla="*/ 120396 w 247650"/>
                <a:gd name="connsiteY10" fmla="*/ 483394 h 504825"/>
                <a:gd name="connsiteX11" fmla="*/ 121444 w 247650"/>
                <a:gd name="connsiteY11" fmla="*/ 483394 h 504825"/>
                <a:gd name="connsiteX12" fmla="*/ 188023 w 247650"/>
                <a:gd name="connsiteY12" fmla="*/ 419767 h 504825"/>
                <a:gd name="connsiteX13" fmla="*/ 226219 w 247650"/>
                <a:gd name="connsiteY13" fmla="*/ 359569 h 504825"/>
                <a:gd name="connsiteX14" fmla="*/ 223838 w 247650"/>
                <a:gd name="connsiteY14" fmla="*/ 341852 h 504825"/>
                <a:gd name="connsiteX15" fmla="*/ 245269 w 247650"/>
                <a:gd name="connsiteY15" fmla="*/ 292894 h 504825"/>
                <a:gd name="connsiteX16" fmla="*/ 233267 w 247650"/>
                <a:gd name="connsiteY16" fmla="*/ 254794 h 504825"/>
                <a:gd name="connsiteX17" fmla="*/ 214027 w 247650"/>
                <a:gd name="connsiteY17" fmla="*/ 261176 h 504825"/>
                <a:gd name="connsiteX18" fmla="*/ 226219 w 247650"/>
                <a:gd name="connsiteY18" fmla="*/ 292894 h 504825"/>
                <a:gd name="connsiteX19" fmla="*/ 206978 w 247650"/>
                <a:gd name="connsiteY19" fmla="*/ 330994 h 504825"/>
                <a:gd name="connsiteX20" fmla="*/ 203835 w 247650"/>
                <a:gd name="connsiteY20" fmla="*/ 342138 h 504825"/>
                <a:gd name="connsiteX21" fmla="*/ 207169 w 247650"/>
                <a:gd name="connsiteY21" fmla="*/ 359569 h 504825"/>
                <a:gd name="connsiteX22" fmla="*/ 175260 w 247650"/>
                <a:gd name="connsiteY22" fmla="*/ 404431 h 504825"/>
                <a:gd name="connsiteX23" fmla="*/ 168878 w 247650"/>
                <a:gd name="connsiteY23" fmla="*/ 413956 h 504825"/>
                <a:gd name="connsiteX24" fmla="*/ 168878 w 247650"/>
                <a:gd name="connsiteY24" fmla="*/ 414909 h 504825"/>
                <a:gd name="connsiteX25" fmla="*/ 169069 w 247650"/>
                <a:gd name="connsiteY25" fmla="*/ 416623 h 504825"/>
                <a:gd name="connsiteX26" fmla="*/ 135922 w 247650"/>
                <a:gd name="connsiteY26" fmla="*/ 461772 h 504825"/>
                <a:gd name="connsiteX27" fmla="*/ 140398 w 247650"/>
                <a:gd name="connsiteY27" fmla="*/ 434721 h 504825"/>
                <a:gd name="connsiteX28" fmla="*/ 130112 w 247650"/>
                <a:gd name="connsiteY28" fmla="*/ 426053 h 504825"/>
                <a:gd name="connsiteX29" fmla="*/ 121444 w 247650"/>
                <a:gd name="connsiteY29" fmla="*/ 436340 h 504825"/>
                <a:gd name="connsiteX30" fmla="*/ 109728 w 247650"/>
                <a:gd name="connsiteY30" fmla="*/ 466725 h 504825"/>
                <a:gd name="connsiteX31" fmla="*/ 109633 w 247650"/>
                <a:gd name="connsiteY31" fmla="*/ 466915 h 504825"/>
                <a:gd name="connsiteX32" fmla="*/ 109347 w 247650"/>
                <a:gd name="connsiteY32" fmla="*/ 467201 h 504825"/>
                <a:gd name="connsiteX33" fmla="*/ 73723 w 247650"/>
                <a:gd name="connsiteY33" fmla="*/ 483298 h 504825"/>
                <a:gd name="connsiteX34" fmla="*/ 26098 w 247650"/>
                <a:gd name="connsiteY34" fmla="*/ 435673 h 504825"/>
                <a:gd name="connsiteX35" fmla="*/ 26098 w 247650"/>
                <a:gd name="connsiteY35" fmla="*/ 253651 h 504825"/>
                <a:gd name="connsiteX36" fmla="*/ 73723 w 247650"/>
                <a:gd name="connsiteY36" fmla="*/ 273748 h 504825"/>
                <a:gd name="connsiteX37" fmla="*/ 83248 w 247650"/>
                <a:gd name="connsiteY37" fmla="*/ 264223 h 504825"/>
                <a:gd name="connsiteX38" fmla="*/ 73723 w 247650"/>
                <a:gd name="connsiteY38" fmla="*/ 254698 h 504825"/>
                <a:gd name="connsiteX39" fmla="*/ 26098 w 247650"/>
                <a:gd name="connsiteY39" fmla="*/ 207073 h 504825"/>
                <a:gd name="connsiteX40" fmla="*/ 26098 w 247650"/>
                <a:gd name="connsiteY40" fmla="*/ 73723 h 504825"/>
                <a:gd name="connsiteX41" fmla="*/ 73723 w 247650"/>
                <a:gd name="connsiteY41" fmla="*/ 26098 h 504825"/>
                <a:gd name="connsiteX42" fmla="*/ 109347 w 247650"/>
                <a:gd name="connsiteY42" fmla="*/ 42196 h 504825"/>
                <a:gd name="connsiteX43" fmla="*/ 117253 w 247650"/>
                <a:gd name="connsiteY43" fmla="*/ 45339 h 504825"/>
                <a:gd name="connsiteX44" fmla="*/ 121348 w 247650"/>
                <a:gd name="connsiteY44" fmla="*/ 45148 h 504825"/>
                <a:gd name="connsiteX45" fmla="*/ 168688 w 247650"/>
                <a:gd name="connsiteY45" fmla="*/ 87439 h 504825"/>
                <a:gd name="connsiteX46" fmla="*/ 175070 w 247650"/>
                <a:gd name="connsiteY46" fmla="*/ 95440 h 504825"/>
                <a:gd name="connsiteX47" fmla="*/ 207169 w 247650"/>
                <a:gd name="connsiteY47" fmla="*/ 140398 h 504825"/>
                <a:gd name="connsiteX48" fmla="*/ 200978 w 247650"/>
                <a:gd name="connsiteY48" fmla="*/ 163735 h 504825"/>
                <a:gd name="connsiteX49" fmla="*/ 204121 w 247650"/>
                <a:gd name="connsiteY49" fmla="*/ 176403 h 504825"/>
                <a:gd name="connsiteX50" fmla="*/ 226123 w 247650"/>
                <a:gd name="connsiteY50" fmla="*/ 216503 h 504825"/>
                <a:gd name="connsiteX51" fmla="*/ 213931 w 247650"/>
                <a:gd name="connsiteY51" fmla="*/ 248221 h 504825"/>
                <a:gd name="connsiteX52" fmla="*/ 213931 w 247650"/>
                <a:gd name="connsiteY52" fmla="*/ 260985 h 504825"/>
                <a:gd name="connsiteX53" fmla="*/ 130969 w 247650"/>
                <a:gd name="connsiteY53" fmla="*/ 369094 h 504825"/>
                <a:gd name="connsiteX54" fmla="*/ 64294 w 247650"/>
                <a:gd name="connsiteY54" fmla="*/ 435769 h 504825"/>
                <a:gd name="connsiteX55" fmla="*/ 73819 w 247650"/>
                <a:gd name="connsiteY55" fmla="*/ 445294 h 504825"/>
                <a:gd name="connsiteX56" fmla="*/ 83344 w 247650"/>
                <a:gd name="connsiteY56" fmla="*/ 435769 h 504825"/>
                <a:gd name="connsiteX57" fmla="*/ 130969 w 247650"/>
                <a:gd name="connsiteY57" fmla="*/ 388144 h 504825"/>
                <a:gd name="connsiteX58" fmla="*/ 140494 w 247650"/>
                <a:gd name="connsiteY58" fmla="*/ 378619 h 504825"/>
                <a:gd name="connsiteX59" fmla="*/ 130969 w 247650"/>
                <a:gd name="connsiteY59" fmla="*/ 369094 h 504825"/>
                <a:gd name="connsiteX60" fmla="*/ 155162 w 247650"/>
                <a:gd name="connsiteY60" fmla="*/ 152781 h 504825"/>
                <a:gd name="connsiteX61" fmla="*/ 155162 w 247650"/>
                <a:gd name="connsiteY61" fmla="*/ 166211 h 504825"/>
                <a:gd name="connsiteX62" fmla="*/ 169069 w 247650"/>
                <a:gd name="connsiteY62" fmla="*/ 199930 h 504825"/>
                <a:gd name="connsiteX63" fmla="*/ 155162 w 247650"/>
                <a:gd name="connsiteY63" fmla="*/ 233648 h 504825"/>
                <a:gd name="connsiteX64" fmla="*/ 155162 w 247650"/>
                <a:gd name="connsiteY64" fmla="*/ 247079 h 504825"/>
                <a:gd name="connsiteX65" fmla="*/ 161925 w 247650"/>
                <a:gd name="connsiteY65" fmla="*/ 249841 h 504825"/>
                <a:gd name="connsiteX66" fmla="*/ 168688 w 247650"/>
                <a:gd name="connsiteY66" fmla="*/ 247079 h 504825"/>
                <a:gd name="connsiteX67" fmla="*/ 188214 w 247650"/>
                <a:gd name="connsiteY67" fmla="*/ 199930 h 504825"/>
                <a:gd name="connsiteX68" fmla="*/ 168688 w 247650"/>
                <a:gd name="connsiteY68" fmla="*/ 152781 h 504825"/>
                <a:gd name="connsiteX69" fmla="*/ 155257 w 247650"/>
                <a:gd name="connsiteY69" fmla="*/ 152781 h 504825"/>
                <a:gd name="connsiteX70" fmla="*/ 132397 w 247650"/>
                <a:gd name="connsiteY70" fmla="*/ 296228 h 504825"/>
                <a:gd name="connsiteX71" fmla="*/ 140589 w 247650"/>
                <a:gd name="connsiteY71" fmla="*/ 264319 h 504825"/>
                <a:gd name="connsiteX72" fmla="*/ 131064 w 247650"/>
                <a:gd name="connsiteY72" fmla="*/ 254794 h 504825"/>
                <a:gd name="connsiteX73" fmla="*/ 121539 w 247650"/>
                <a:gd name="connsiteY73" fmla="*/ 264319 h 504825"/>
                <a:gd name="connsiteX74" fmla="*/ 73914 w 247650"/>
                <a:gd name="connsiteY74" fmla="*/ 311944 h 504825"/>
                <a:gd name="connsiteX75" fmla="*/ 64389 w 247650"/>
                <a:gd name="connsiteY75" fmla="*/ 321469 h 504825"/>
                <a:gd name="connsiteX76" fmla="*/ 73914 w 247650"/>
                <a:gd name="connsiteY76" fmla="*/ 330994 h 504825"/>
                <a:gd name="connsiteX77" fmla="*/ 119539 w 247650"/>
                <a:gd name="connsiteY77" fmla="*/ 312801 h 504825"/>
                <a:gd name="connsiteX78" fmla="*/ 159639 w 247650"/>
                <a:gd name="connsiteY78" fmla="*/ 359569 h 504825"/>
                <a:gd name="connsiteX79" fmla="*/ 169164 w 247650"/>
                <a:gd name="connsiteY79" fmla="*/ 369094 h 504825"/>
                <a:gd name="connsiteX80" fmla="*/ 178689 w 247650"/>
                <a:gd name="connsiteY80" fmla="*/ 359569 h 504825"/>
                <a:gd name="connsiteX81" fmla="*/ 132397 w 247650"/>
                <a:gd name="connsiteY81" fmla="*/ 296228 h 504825"/>
                <a:gd name="connsiteX82" fmla="*/ 98203 w 247650"/>
                <a:gd name="connsiteY82" fmla="*/ 225171 h 504825"/>
                <a:gd name="connsiteX83" fmla="*/ 102394 w 247650"/>
                <a:gd name="connsiteY83" fmla="*/ 226123 h 504825"/>
                <a:gd name="connsiteX84" fmla="*/ 110776 w 247650"/>
                <a:gd name="connsiteY84" fmla="*/ 220980 h 504825"/>
                <a:gd name="connsiteX85" fmla="*/ 106775 w 247650"/>
                <a:gd name="connsiteY85" fmla="*/ 208216 h 504825"/>
                <a:gd name="connsiteX86" fmla="*/ 92869 w 247650"/>
                <a:gd name="connsiteY86" fmla="*/ 178594 h 504825"/>
                <a:gd name="connsiteX87" fmla="*/ 140494 w 247650"/>
                <a:gd name="connsiteY87" fmla="*/ 130969 h 504825"/>
                <a:gd name="connsiteX88" fmla="*/ 150019 w 247650"/>
                <a:gd name="connsiteY88" fmla="*/ 121444 h 504825"/>
                <a:gd name="connsiteX89" fmla="*/ 140494 w 247650"/>
                <a:gd name="connsiteY89" fmla="*/ 111919 h 504825"/>
                <a:gd name="connsiteX90" fmla="*/ 119539 w 247650"/>
                <a:gd name="connsiteY90" fmla="*/ 115348 h 504825"/>
                <a:gd name="connsiteX91" fmla="*/ 54769 w 247650"/>
                <a:gd name="connsiteY91" fmla="*/ 64294 h 504825"/>
                <a:gd name="connsiteX92" fmla="*/ 45244 w 247650"/>
                <a:gd name="connsiteY92" fmla="*/ 73819 h 504825"/>
                <a:gd name="connsiteX93" fmla="*/ 54769 w 247650"/>
                <a:gd name="connsiteY93" fmla="*/ 83344 h 504825"/>
                <a:gd name="connsiteX94" fmla="*/ 101632 w 247650"/>
                <a:gd name="connsiteY94" fmla="*/ 124492 h 504825"/>
                <a:gd name="connsiteX95" fmla="*/ 73819 w 247650"/>
                <a:gd name="connsiteY95" fmla="*/ 178594 h 504825"/>
                <a:gd name="connsiteX96" fmla="*/ 98107 w 247650"/>
                <a:gd name="connsiteY96" fmla="*/ 225171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247650" h="504825">
                  <a:moveTo>
                    <a:pt x="233267" y="254794"/>
                  </a:moveTo>
                  <a:cubicBezTo>
                    <a:pt x="241078" y="243649"/>
                    <a:pt x="245269" y="230410"/>
                    <a:pt x="245269" y="216694"/>
                  </a:cubicBezTo>
                  <a:cubicBezTo>
                    <a:pt x="245269" y="196691"/>
                    <a:pt x="236411" y="178118"/>
                    <a:pt x="221266" y="165545"/>
                  </a:cubicBezTo>
                  <a:cubicBezTo>
                    <a:pt x="224504" y="157639"/>
                    <a:pt x="226219" y="149066"/>
                    <a:pt x="226219" y="140494"/>
                  </a:cubicBezTo>
                  <a:cubicBezTo>
                    <a:pt x="226219" y="114110"/>
                    <a:pt x="210598" y="90297"/>
                    <a:pt x="186785" y="79724"/>
                  </a:cubicBezTo>
                  <a:cubicBezTo>
                    <a:pt x="180594" y="48482"/>
                    <a:pt x="153162" y="25622"/>
                    <a:pt x="120396" y="26194"/>
                  </a:cubicBezTo>
                  <a:cubicBezTo>
                    <a:pt x="108013" y="14002"/>
                    <a:pt x="91249" y="7144"/>
                    <a:pt x="73819" y="7144"/>
                  </a:cubicBezTo>
                  <a:cubicBezTo>
                    <a:pt x="37052" y="7144"/>
                    <a:pt x="7144" y="37052"/>
                    <a:pt x="7144" y="73819"/>
                  </a:cubicBezTo>
                  <a:lnTo>
                    <a:pt x="7144" y="435769"/>
                  </a:lnTo>
                  <a:cubicBezTo>
                    <a:pt x="7144" y="472535"/>
                    <a:pt x="37052" y="502444"/>
                    <a:pt x="73819" y="502444"/>
                  </a:cubicBezTo>
                  <a:cubicBezTo>
                    <a:pt x="91249" y="502444"/>
                    <a:pt x="108013" y="495586"/>
                    <a:pt x="120396" y="483394"/>
                  </a:cubicBezTo>
                  <a:cubicBezTo>
                    <a:pt x="120777" y="483394"/>
                    <a:pt x="121063" y="483394"/>
                    <a:pt x="121444" y="483394"/>
                  </a:cubicBezTo>
                  <a:cubicBezTo>
                    <a:pt x="157163" y="483394"/>
                    <a:pt x="186404" y="455105"/>
                    <a:pt x="188023" y="419767"/>
                  </a:cubicBezTo>
                  <a:cubicBezTo>
                    <a:pt x="211074" y="408813"/>
                    <a:pt x="226219" y="385477"/>
                    <a:pt x="226219" y="359569"/>
                  </a:cubicBezTo>
                  <a:cubicBezTo>
                    <a:pt x="226219" y="353568"/>
                    <a:pt x="225362" y="347663"/>
                    <a:pt x="223838" y="341852"/>
                  </a:cubicBezTo>
                  <a:cubicBezTo>
                    <a:pt x="237554" y="329279"/>
                    <a:pt x="245269" y="311753"/>
                    <a:pt x="245269" y="292894"/>
                  </a:cubicBezTo>
                  <a:cubicBezTo>
                    <a:pt x="245269" y="279178"/>
                    <a:pt x="241078" y="265938"/>
                    <a:pt x="233267" y="254794"/>
                  </a:cubicBezTo>
                  <a:close/>
                  <a:moveTo>
                    <a:pt x="214027" y="261176"/>
                  </a:moveTo>
                  <a:cubicBezTo>
                    <a:pt x="221932" y="269938"/>
                    <a:pt x="226219" y="281178"/>
                    <a:pt x="226219" y="292894"/>
                  </a:cubicBezTo>
                  <a:cubicBezTo>
                    <a:pt x="226219" y="308038"/>
                    <a:pt x="219170" y="321945"/>
                    <a:pt x="206978" y="330994"/>
                  </a:cubicBezTo>
                  <a:cubicBezTo>
                    <a:pt x="203549" y="333565"/>
                    <a:pt x="202216" y="338138"/>
                    <a:pt x="203835" y="342138"/>
                  </a:cubicBezTo>
                  <a:cubicBezTo>
                    <a:pt x="206026" y="347758"/>
                    <a:pt x="207169" y="353568"/>
                    <a:pt x="207169" y="359569"/>
                  </a:cubicBezTo>
                  <a:cubicBezTo>
                    <a:pt x="207169" y="379762"/>
                    <a:pt x="194310" y="397764"/>
                    <a:pt x="175260" y="404431"/>
                  </a:cubicBezTo>
                  <a:cubicBezTo>
                    <a:pt x="171260" y="405860"/>
                    <a:pt x="168688" y="409765"/>
                    <a:pt x="168878" y="413956"/>
                  </a:cubicBezTo>
                  <a:lnTo>
                    <a:pt x="168878" y="414909"/>
                  </a:lnTo>
                  <a:cubicBezTo>
                    <a:pt x="168973" y="415480"/>
                    <a:pt x="169069" y="416052"/>
                    <a:pt x="169069" y="416623"/>
                  </a:cubicBezTo>
                  <a:cubicBezTo>
                    <a:pt x="169069" y="437769"/>
                    <a:pt x="155067" y="455581"/>
                    <a:pt x="135922" y="461772"/>
                  </a:cubicBezTo>
                  <a:cubicBezTo>
                    <a:pt x="139637" y="453295"/>
                    <a:pt x="141256" y="444151"/>
                    <a:pt x="140398" y="434721"/>
                  </a:cubicBezTo>
                  <a:cubicBezTo>
                    <a:pt x="139922" y="429482"/>
                    <a:pt x="135446" y="425482"/>
                    <a:pt x="130112" y="426053"/>
                  </a:cubicBezTo>
                  <a:cubicBezTo>
                    <a:pt x="124873" y="426530"/>
                    <a:pt x="120968" y="431102"/>
                    <a:pt x="121444" y="436340"/>
                  </a:cubicBezTo>
                  <a:cubicBezTo>
                    <a:pt x="122396" y="447675"/>
                    <a:pt x="118396" y="458153"/>
                    <a:pt x="109728" y="466725"/>
                  </a:cubicBezTo>
                  <a:cubicBezTo>
                    <a:pt x="109728" y="466725"/>
                    <a:pt x="109728" y="466820"/>
                    <a:pt x="109633" y="466915"/>
                  </a:cubicBezTo>
                  <a:cubicBezTo>
                    <a:pt x="109633" y="467011"/>
                    <a:pt x="109442" y="467106"/>
                    <a:pt x="109347" y="467201"/>
                  </a:cubicBezTo>
                  <a:cubicBezTo>
                    <a:pt x="100298" y="477393"/>
                    <a:pt x="87344" y="483298"/>
                    <a:pt x="73723" y="483298"/>
                  </a:cubicBezTo>
                  <a:cubicBezTo>
                    <a:pt x="47435" y="483298"/>
                    <a:pt x="26098" y="461963"/>
                    <a:pt x="26098" y="435673"/>
                  </a:cubicBezTo>
                  <a:lnTo>
                    <a:pt x="26098" y="253651"/>
                  </a:lnTo>
                  <a:cubicBezTo>
                    <a:pt x="38195" y="266033"/>
                    <a:pt x="55054" y="273748"/>
                    <a:pt x="73723" y="273748"/>
                  </a:cubicBezTo>
                  <a:cubicBezTo>
                    <a:pt x="78962" y="273748"/>
                    <a:pt x="83248" y="269462"/>
                    <a:pt x="83248" y="264223"/>
                  </a:cubicBezTo>
                  <a:cubicBezTo>
                    <a:pt x="83248" y="258985"/>
                    <a:pt x="78962" y="254698"/>
                    <a:pt x="73723" y="254698"/>
                  </a:cubicBezTo>
                  <a:cubicBezTo>
                    <a:pt x="47435" y="254698"/>
                    <a:pt x="26098" y="233363"/>
                    <a:pt x="26098" y="207073"/>
                  </a:cubicBezTo>
                  <a:lnTo>
                    <a:pt x="26098" y="73723"/>
                  </a:lnTo>
                  <a:cubicBezTo>
                    <a:pt x="26098" y="47435"/>
                    <a:pt x="47435" y="26098"/>
                    <a:pt x="73723" y="26098"/>
                  </a:cubicBezTo>
                  <a:cubicBezTo>
                    <a:pt x="87249" y="26098"/>
                    <a:pt x="100298" y="32004"/>
                    <a:pt x="109347" y="42196"/>
                  </a:cubicBezTo>
                  <a:cubicBezTo>
                    <a:pt x="111347" y="44482"/>
                    <a:pt x="114300" y="45720"/>
                    <a:pt x="117253" y="45339"/>
                  </a:cubicBezTo>
                  <a:cubicBezTo>
                    <a:pt x="118586" y="45244"/>
                    <a:pt x="119920" y="45148"/>
                    <a:pt x="121348" y="45148"/>
                  </a:cubicBezTo>
                  <a:cubicBezTo>
                    <a:pt x="145637" y="45148"/>
                    <a:pt x="166021" y="63341"/>
                    <a:pt x="168688" y="87439"/>
                  </a:cubicBezTo>
                  <a:cubicBezTo>
                    <a:pt x="169069" y="91059"/>
                    <a:pt x="171545" y="94202"/>
                    <a:pt x="175070" y="95440"/>
                  </a:cubicBezTo>
                  <a:cubicBezTo>
                    <a:pt x="194215" y="102108"/>
                    <a:pt x="207169" y="120110"/>
                    <a:pt x="207169" y="140398"/>
                  </a:cubicBezTo>
                  <a:cubicBezTo>
                    <a:pt x="207169" y="148590"/>
                    <a:pt x="205073" y="156686"/>
                    <a:pt x="200978" y="163735"/>
                  </a:cubicBezTo>
                  <a:cubicBezTo>
                    <a:pt x="198501" y="168116"/>
                    <a:pt x="199835" y="173736"/>
                    <a:pt x="204121" y="176403"/>
                  </a:cubicBezTo>
                  <a:cubicBezTo>
                    <a:pt x="217932" y="185261"/>
                    <a:pt x="226123" y="200215"/>
                    <a:pt x="226123" y="216503"/>
                  </a:cubicBezTo>
                  <a:cubicBezTo>
                    <a:pt x="226123" y="228219"/>
                    <a:pt x="221742" y="239459"/>
                    <a:pt x="213931" y="248221"/>
                  </a:cubicBezTo>
                  <a:cubicBezTo>
                    <a:pt x="210693" y="251841"/>
                    <a:pt x="210693" y="257365"/>
                    <a:pt x="213931" y="260985"/>
                  </a:cubicBezTo>
                  <a:close/>
                  <a:moveTo>
                    <a:pt x="130969" y="369094"/>
                  </a:moveTo>
                  <a:cubicBezTo>
                    <a:pt x="94202" y="369094"/>
                    <a:pt x="64294" y="399002"/>
                    <a:pt x="64294" y="435769"/>
                  </a:cubicBezTo>
                  <a:cubicBezTo>
                    <a:pt x="64294" y="441007"/>
                    <a:pt x="68580" y="445294"/>
                    <a:pt x="73819" y="445294"/>
                  </a:cubicBezTo>
                  <a:cubicBezTo>
                    <a:pt x="79057" y="445294"/>
                    <a:pt x="83344" y="441007"/>
                    <a:pt x="83344" y="435769"/>
                  </a:cubicBezTo>
                  <a:cubicBezTo>
                    <a:pt x="83344" y="409480"/>
                    <a:pt x="104680" y="388144"/>
                    <a:pt x="130969" y="388144"/>
                  </a:cubicBezTo>
                  <a:cubicBezTo>
                    <a:pt x="136207" y="388144"/>
                    <a:pt x="140494" y="383857"/>
                    <a:pt x="140494" y="378619"/>
                  </a:cubicBezTo>
                  <a:cubicBezTo>
                    <a:pt x="140494" y="373380"/>
                    <a:pt x="136207" y="369094"/>
                    <a:pt x="130969" y="369094"/>
                  </a:cubicBezTo>
                  <a:close/>
                  <a:moveTo>
                    <a:pt x="155162" y="152781"/>
                  </a:moveTo>
                  <a:cubicBezTo>
                    <a:pt x="151447" y="156496"/>
                    <a:pt x="151447" y="162496"/>
                    <a:pt x="155162" y="166211"/>
                  </a:cubicBezTo>
                  <a:cubicBezTo>
                    <a:pt x="164116" y="175165"/>
                    <a:pt x="169069" y="187166"/>
                    <a:pt x="169069" y="199930"/>
                  </a:cubicBezTo>
                  <a:cubicBezTo>
                    <a:pt x="169069" y="212693"/>
                    <a:pt x="164116" y="224599"/>
                    <a:pt x="155162" y="233648"/>
                  </a:cubicBezTo>
                  <a:cubicBezTo>
                    <a:pt x="151447" y="237363"/>
                    <a:pt x="151447" y="243364"/>
                    <a:pt x="155162" y="247079"/>
                  </a:cubicBezTo>
                  <a:cubicBezTo>
                    <a:pt x="157067" y="248984"/>
                    <a:pt x="159448" y="249841"/>
                    <a:pt x="161925" y="249841"/>
                  </a:cubicBezTo>
                  <a:cubicBezTo>
                    <a:pt x="164402" y="249841"/>
                    <a:pt x="166783" y="248888"/>
                    <a:pt x="168688" y="247079"/>
                  </a:cubicBezTo>
                  <a:cubicBezTo>
                    <a:pt x="181261" y="234505"/>
                    <a:pt x="188214" y="217741"/>
                    <a:pt x="188214" y="199930"/>
                  </a:cubicBezTo>
                  <a:cubicBezTo>
                    <a:pt x="188214" y="182118"/>
                    <a:pt x="181261" y="165354"/>
                    <a:pt x="168688" y="152781"/>
                  </a:cubicBezTo>
                  <a:cubicBezTo>
                    <a:pt x="164973" y="149066"/>
                    <a:pt x="158972" y="149066"/>
                    <a:pt x="155257" y="152781"/>
                  </a:cubicBezTo>
                  <a:close/>
                  <a:moveTo>
                    <a:pt x="132397" y="296228"/>
                  </a:moveTo>
                  <a:cubicBezTo>
                    <a:pt x="137636" y="286703"/>
                    <a:pt x="140589" y="275844"/>
                    <a:pt x="140589" y="264319"/>
                  </a:cubicBezTo>
                  <a:cubicBezTo>
                    <a:pt x="140589" y="259080"/>
                    <a:pt x="136303" y="254794"/>
                    <a:pt x="131064" y="254794"/>
                  </a:cubicBezTo>
                  <a:cubicBezTo>
                    <a:pt x="125825" y="254794"/>
                    <a:pt x="121539" y="259080"/>
                    <a:pt x="121539" y="264319"/>
                  </a:cubicBezTo>
                  <a:cubicBezTo>
                    <a:pt x="121539" y="290608"/>
                    <a:pt x="100203" y="311944"/>
                    <a:pt x="73914" y="311944"/>
                  </a:cubicBezTo>
                  <a:cubicBezTo>
                    <a:pt x="68675" y="311944"/>
                    <a:pt x="64389" y="316230"/>
                    <a:pt x="64389" y="321469"/>
                  </a:cubicBezTo>
                  <a:cubicBezTo>
                    <a:pt x="64389" y="326707"/>
                    <a:pt x="68675" y="330994"/>
                    <a:pt x="73914" y="330994"/>
                  </a:cubicBezTo>
                  <a:cubicBezTo>
                    <a:pt x="91535" y="330994"/>
                    <a:pt x="107632" y="324040"/>
                    <a:pt x="119539" y="312801"/>
                  </a:cubicBezTo>
                  <a:cubicBezTo>
                    <a:pt x="142304" y="316421"/>
                    <a:pt x="159639" y="336137"/>
                    <a:pt x="159639" y="359569"/>
                  </a:cubicBezTo>
                  <a:cubicBezTo>
                    <a:pt x="159639" y="364807"/>
                    <a:pt x="163925" y="369094"/>
                    <a:pt x="169164" y="369094"/>
                  </a:cubicBezTo>
                  <a:cubicBezTo>
                    <a:pt x="174403" y="369094"/>
                    <a:pt x="178689" y="364807"/>
                    <a:pt x="178689" y="359569"/>
                  </a:cubicBezTo>
                  <a:cubicBezTo>
                    <a:pt x="178689" y="330232"/>
                    <a:pt x="159353" y="304895"/>
                    <a:pt x="132397" y="296228"/>
                  </a:cubicBezTo>
                  <a:close/>
                  <a:moveTo>
                    <a:pt x="98203" y="225171"/>
                  </a:moveTo>
                  <a:cubicBezTo>
                    <a:pt x="99536" y="225838"/>
                    <a:pt x="100965" y="226123"/>
                    <a:pt x="102394" y="226123"/>
                  </a:cubicBezTo>
                  <a:cubicBezTo>
                    <a:pt x="105823" y="226123"/>
                    <a:pt x="109156" y="224219"/>
                    <a:pt x="110776" y="220980"/>
                  </a:cubicBezTo>
                  <a:cubicBezTo>
                    <a:pt x="113157" y="216408"/>
                    <a:pt x="111347" y="210598"/>
                    <a:pt x="106775" y="208216"/>
                  </a:cubicBezTo>
                  <a:cubicBezTo>
                    <a:pt x="106204" y="207931"/>
                    <a:pt x="92869" y="200501"/>
                    <a:pt x="92869" y="178594"/>
                  </a:cubicBezTo>
                  <a:cubicBezTo>
                    <a:pt x="92869" y="152305"/>
                    <a:pt x="114205" y="130969"/>
                    <a:pt x="140494" y="130969"/>
                  </a:cubicBezTo>
                  <a:cubicBezTo>
                    <a:pt x="145732" y="130969"/>
                    <a:pt x="150019" y="126682"/>
                    <a:pt x="150019" y="121444"/>
                  </a:cubicBezTo>
                  <a:cubicBezTo>
                    <a:pt x="150019" y="116205"/>
                    <a:pt x="145732" y="111919"/>
                    <a:pt x="140494" y="111919"/>
                  </a:cubicBezTo>
                  <a:cubicBezTo>
                    <a:pt x="133160" y="111919"/>
                    <a:pt x="126111" y="113157"/>
                    <a:pt x="119539" y="115348"/>
                  </a:cubicBezTo>
                  <a:cubicBezTo>
                    <a:pt x="112586" y="85820"/>
                    <a:pt x="86296" y="64294"/>
                    <a:pt x="54769" y="64294"/>
                  </a:cubicBezTo>
                  <a:cubicBezTo>
                    <a:pt x="49530" y="64294"/>
                    <a:pt x="45244" y="68580"/>
                    <a:pt x="45244" y="73819"/>
                  </a:cubicBezTo>
                  <a:cubicBezTo>
                    <a:pt x="45244" y="79057"/>
                    <a:pt x="49530" y="83344"/>
                    <a:pt x="54769" y="83344"/>
                  </a:cubicBezTo>
                  <a:cubicBezTo>
                    <a:pt x="78962" y="83344"/>
                    <a:pt x="98488" y="101060"/>
                    <a:pt x="101632" y="124492"/>
                  </a:cubicBezTo>
                  <a:cubicBezTo>
                    <a:pt x="84772" y="136588"/>
                    <a:pt x="73819" y="156305"/>
                    <a:pt x="73819" y="178594"/>
                  </a:cubicBezTo>
                  <a:cubicBezTo>
                    <a:pt x="73819" y="212693"/>
                    <a:pt x="97155" y="224695"/>
                    <a:pt x="98107" y="2251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580E9D9-5B13-4BB4-814F-7BCAD922ECE1}"/>
              </a:ext>
            </a:extLst>
          </p:cNvPr>
          <p:cNvGrpSpPr/>
          <p:nvPr/>
        </p:nvGrpSpPr>
        <p:grpSpPr>
          <a:xfrm>
            <a:off x="8279288" y="4763649"/>
            <a:ext cx="504825" cy="504825"/>
            <a:chOff x="3706115" y="2836164"/>
            <a:chExt cx="504825" cy="504825"/>
          </a:xfrm>
          <a:solidFill>
            <a:schemeClr val="bg1"/>
          </a:solidFill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6C8C18F-5C23-4809-A04C-1DE929A77ED7}"/>
                </a:ext>
              </a:extLst>
            </p:cNvPr>
            <p:cNvSpPr/>
            <p:nvPr/>
          </p:nvSpPr>
          <p:spPr>
            <a:xfrm>
              <a:off x="3877469" y="3007519"/>
              <a:ext cx="95250" cy="95250"/>
            </a:xfrm>
            <a:custGeom>
              <a:avLst/>
              <a:gdLst>
                <a:gd name="connsiteX0" fmla="*/ 16669 w 95250"/>
                <a:gd name="connsiteY0" fmla="*/ 92869 h 95250"/>
                <a:gd name="connsiteX1" fmla="*/ 7144 w 95250"/>
                <a:gd name="connsiteY1" fmla="*/ 83344 h 95250"/>
                <a:gd name="connsiteX2" fmla="*/ 83344 w 95250"/>
                <a:gd name="connsiteY2" fmla="*/ 7144 h 95250"/>
                <a:gd name="connsiteX3" fmla="*/ 92869 w 95250"/>
                <a:gd name="connsiteY3" fmla="*/ 16669 h 95250"/>
                <a:gd name="connsiteX4" fmla="*/ 83344 w 95250"/>
                <a:gd name="connsiteY4" fmla="*/ 26194 h 95250"/>
                <a:gd name="connsiteX5" fmla="*/ 26194 w 95250"/>
                <a:gd name="connsiteY5" fmla="*/ 83344 h 95250"/>
                <a:gd name="connsiteX6" fmla="*/ 16669 w 95250"/>
                <a:gd name="connsiteY6" fmla="*/ 92869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95250">
                  <a:moveTo>
                    <a:pt x="16669" y="92869"/>
                  </a:moveTo>
                  <a:cubicBezTo>
                    <a:pt x="11430" y="92869"/>
                    <a:pt x="7144" y="88582"/>
                    <a:pt x="7144" y="83344"/>
                  </a:cubicBezTo>
                  <a:cubicBezTo>
                    <a:pt x="7144" y="41338"/>
                    <a:pt x="41338" y="7144"/>
                    <a:pt x="83344" y="7144"/>
                  </a:cubicBezTo>
                  <a:cubicBezTo>
                    <a:pt x="88582" y="7144"/>
                    <a:pt x="92869" y="11430"/>
                    <a:pt x="92869" y="16669"/>
                  </a:cubicBezTo>
                  <a:cubicBezTo>
                    <a:pt x="92869" y="21907"/>
                    <a:pt x="88582" y="26194"/>
                    <a:pt x="83344" y="26194"/>
                  </a:cubicBezTo>
                  <a:cubicBezTo>
                    <a:pt x="51816" y="26194"/>
                    <a:pt x="26194" y="51816"/>
                    <a:pt x="26194" y="83344"/>
                  </a:cubicBezTo>
                  <a:cubicBezTo>
                    <a:pt x="26194" y="88582"/>
                    <a:pt x="21907" y="92869"/>
                    <a:pt x="16669" y="928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8AF2069-E357-4BE5-B895-DAF2245773AE}"/>
                </a:ext>
              </a:extLst>
            </p:cNvPr>
            <p:cNvSpPr/>
            <p:nvPr/>
          </p:nvSpPr>
          <p:spPr>
            <a:xfrm>
              <a:off x="3706115" y="2836164"/>
              <a:ext cx="504825" cy="504825"/>
            </a:xfrm>
            <a:custGeom>
              <a:avLst/>
              <a:gdLst>
                <a:gd name="connsiteX0" fmla="*/ 280988 w 504825"/>
                <a:gd name="connsiteY0" fmla="*/ 502349 h 504825"/>
                <a:gd name="connsiteX1" fmla="*/ 226123 w 504825"/>
                <a:gd name="connsiteY1" fmla="*/ 502349 h 504825"/>
                <a:gd name="connsiteX2" fmla="*/ 207073 w 504825"/>
                <a:gd name="connsiteY2" fmla="*/ 480155 h 504825"/>
                <a:gd name="connsiteX3" fmla="*/ 207073 w 504825"/>
                <a:gd name="connsiteY3" fmla="*/ 450723 h 504825"/>
                <a:gd name="connsiteX4" fmla="*/ 205073 w 504825"/>
                <a:gd name="connsiteY4" fmla="*/ 448532 h 504825"/>
                <a:gd name="connsiteX5" fmla="*/ 152781 w 504825"/>
                <a:gd name="connsiteY5" fmla="*/ 426815 h 504825"/>
                <a:gd name="connsiteX6" fmla="*/ 149733 w 504825"/>
                <a:gd name="connsiteY6" fmla="*/ 427006 h 504825"/>
                <a:gd name="connsiteX7" fmla="*/ 128302 w 504825"/>
                <a:gd name="connsiteY7" fmla="*/ 448437 h 504825"/>
                <a:gd name="connsiteX8" fmla="*/ 98107 w 504825"/>
                <a:gd name="connsiteY8" fmla="*/ 448437 h 504825"/>
                <a:gd name="connsiteX9" fmla="*/ 60960 w 504825"/>
                <a:gd name="connsiteY9" fmla="*/ 411290 h 504825"/>
                <a:gd name="connsiteX10" fmla="*/ 63151 w 504825"/>
                <a:gd name="connsiteY10" fmla="*/ 378905 h 504825"/>
                <a:gd name="connsiteX11" fmla="*/ 82487 w 504825"/>
                <a:gd name="connsiteY11" fmla="*/ 359569 h 504825"/>
                <a:gd name="connsiteX12" fmla="*/ 82677 w 504825"/>
                <a:gd name="connsiteY12" fmla="*/ 356616 h 504825"/>
                <a:gd name="connsiteX13" fmla="*/ 60960 w 504825"/>
                <a:gd name="connsiteY13" fmla="*/ 304324 h 504825"/>
                <a:gd name="connsiteX14" fmla="*/ 58674 w 504825"/>
                <a:gd name="connsiteY14" fmla="*/ 302324 h 504825"/>
                <a:gd name="connsiteX15" fmla="*/ 28480 w 504825"/>
                <a:gd name="connsiteY15" fmla="*/ 302324 h 504825"/>
                <a:gd name="connsiteX16" fmla="*/ 7144 w 504825"/>
                <a:gd name="connsiteY16" fmla="*/ 280988 h 504825"/>
                <a:gd name="connsiteX17" fmla="*/ 7144 w 504825"/>
                <a:gd name="connsiteY17" fmla="*/ 228409 h 504825"/>
                <a:gd name="connsiteX18" fmla="*/ 31528 w 504825"/>
                <a:gd name="connsiteY18" fmla="*/ 207074 h 504825"/>
                <a:gd name="connsiteX19" fmla="*/ 58769 w 504825"/>
                <a:gd name="connsiteY19" fmla="*/ 207074 h 504825"/>
                <a:gd name="connsiteX20" fmla="*/ 60960 w 504825"/>
                <a:gd name="connsiteY20" fmla="*/ 205073 h 504825"/>
                <a:gd name="connsiteX21" fmla="*/ 82677 w 504825"/>
                <a:gd name="connsiteY21" fmla="*/ 152781 h 504825"/>
                <a:gd name="connsiteX22" fmla="*/ 82487 w 504825"/>
                <a:gd name="connsiteY22" fmla="*/ 149733 h 504825"/>
                <a:gd name="connsiteX23" fmla="*/ 61055 w 504825"/>
                <a:gd name="connsiteY23" fmla="*/ 128302 h 504825"/>
                <a:gd name="connsiteX24" fmla="*/ 61055 w 504825"/>
                <a:gd name="connsiteY24" fmla="*/ 98108 h 504825"/>
                <a:gd name="connsiteX25" fmla="*/ 98203 w 504825"/>
                <a:gd name="connsiteY25" fmla="*/ 60960 h 504825"/>
                <a:gd name="connsiteX26" fmla="*/ 130588 w 504825"/>
                <a:gd name="connsiteY26" fmla="*/ 63151 h 504825"/>
                <a:gd name="connsiteX27" fmla="*/ 149923 w 504825"/>
                <a:gd name="connsiteY27" fmla="*/ 82487 h 504825"/>
                <a:gd name="connsiteX28" fmla="*/ 152876 w 504825"/>
                <a:gd name="connsiteY28" fmla="*/ 82677 h 504825"/>
                <a:gd name="connsiteX29" fmla="*/ 205168 w 504825"/>
                <a:gd name="connsiteY29" fmla="*/ 60960 h 504825"/>
                <a:gd name="connsiteX30" fmla="*/ 207169 w 504825"/>
                <a:gd name="connsiteY30" fmla="*/ 58674 h 504825"/>
                <a:gd name="connsiteX31" fmla="*/ 207169 w 504825"/>
                <a:gd name="connsiteY31" fmla="*/ 28480 h 504825"/>
                <a:gd name="connsiteX32" fmla="*/ 228505 w 504825"/>
                <a:gd name="connsiteY32" fmla="*/ 7144 h 504825"/>
                <a:gd name="connsiteX33" fmla="*/ 281083 w 504825"/>
                <a:gd name="connsiteY33" fmla="*/ 7144 h 504825"/>
                <a:gd name="connsiteX34" fmla="*/ 302419 w 504825"/>
                <a:gd name="connsiteY34" fmla="*/ 31528 h 504825"/>
                <a:gd name="connsiteX35" fmla="*/ 302419 w 504825"/>
                <a:gd name="connsiteY35" fmla="*/ 58769 h 504825"/>
                <a:gd name="connsiteX36" fmla="*/ 304419 w 504825"/>
                <a:gd name="connsiteY36" fmla="*/ 60960 h 504825"/>
                <a:gd name="connsiteX37" fmla="*/ 356711 w 504825"/>
                <a:gd name="connsiteY37" fmla="*/ 82677 h 504825"/>
                <a:gd name="connsiteX38" fmla="*/ 359759 w 504825"/>
                <a:gd name="connsiteY38" fmla="*/ 82487 h 504825"/>
                <a:gd name="connsiteX39" fmla="*/ 381190 w 504825"/>
                <a:gd name="connsiteY39" fmla="*/ 61055 h 504825"/>
                <a:gd name="connsiteX40" fmla="*/ 411385 w 504825"/>
                <a:gd name="connsiteY40" fmla="*/ 61055 h 504825"/>
                <a:gd name="connsiteX41" fmla="*/ 448532 w 504825"/>
                <a:gd name="connsiteY41" fmla="*/ 98203 h 504825"/>
                <a:gd name="connsiteX42" fmla="*/ 446341 w 504825"/>
                <a:gd name="connsiteY42" fmla="*/ 130588 h 504825"/>
                <a:gd name="connsiteX43" fmla="*/ 427006 w 504825"/>
                <a:gd name="connsiteY43" fmla="*/ 149924 h 504825"/>
                <a:gd name="connsiteX44" fmla="*/ 426815 w 504825"/>
                <a:gd name="connsiteY44" fmla="*/ 152876 h 504825"/>
                <a:gd name="connsiteX45" fmla="*/ 448532 w 504825"/>
                <a:gd name="connsiteY45" fmla="*/ 205168 h 504825"/>
                <a:gd name="connsiteX46" fmla="*/ 450818 w 504825"/>
                <a:gd name="connsiteY46" fmla="*/ 207169 h 504825"/>
                <a:gd name="connsiteX47" fmla="*/ 481013 w 504825"/>
                <a:gd name="connsiteY47" fmla="*/ 207169 h 504825"/>
                <a:gd name="connsiteX48" fmla="*/ 502348 w 504825"/>
                <a:gd name="connsiteY48" fmla="*/ 228505 h 504825"/>
                <a:gd name="connsiteX49" fmla="*/ 502348 w 504825"/>
                <a:gd name="connsiteY49" fmla="*/ 281083 h 504825"/>
                <a:gd name="connsiteX50" fmla="*/ 477964 w 504825"/>
                <a:gd name="connsiteY50" fmla="*/ 302419 h 504825"/>
                <a:gd name="connsiteX51" fmla="*/ 450723 w 504825"/>
                <a:gd name="connsiteY51" fmla="*/ 302419 h 504825"/>
                <a:gd name="connsiteX52" fmla="*/ 448532 w 504825"/>
                <a:gd name="connsiteY52" fmla="*/ 304419 h 504825"/>
                <a:gd name="connsiteX53" fmla="*/ 435864 w 504825"/>
                <a:gd name="connsiteY53" fmla="*/ 339376 h 504825"/>
                <a:gd name="connsiteX54" fmla="*/ 423196 w 504825"/>
                <a:gd name="connsiteY54" fmla="*/ 343948 h 504825"/>
                <a:gd name="connsiteX55" fmla="*/ 418624 w 504825"/>
                <a:gd name="connsiteY55" fmla="*/ 331280 h 504825"/>
                <a:gd name="connsiteX56" fmla="*/ 430054 w 504825"/>
                <a:gd name="connsiteY56" fmla="*/ 299657 h 504825"/>
                <a:gd name="connsiteX57" fmla="*/ 450723 w 504825"/>
                <a:gd name="connsiteY57" fmla="*/ 283369 h 504825"/>
                <a:gd name="connsiteX58" fmla="*/ 477964 w 504825"/>
                <a:gd name="connsiteY58" fmla="*/ 283369 h 504825"/>
                <a:gd name="connsiteX59" fmla="*/ 483298 w 504825"/>
                <a:gd name="connsiteY59" fmla="*/ 281083 h 504825"/>
                <a:gd name="connsiteX60" fmla="*/ 483298 w 504825"/>
                <a:gd name="connsiteY60" fmla="*/ 228505 h 504825"/>
                <a:gd name="connsiteX61" fmla="*/ 481013 w 504825"/>
                <a:gd name="connsiteY61" fmla="*/ 226219 h 504825"/>
                <a:gd name="connsiteX62" fmla="*/ 450818 w 504825"/>
                <a:gd name="connsiteY62" fmla="*/ 226219 h 504825"/>
                <a:gd name="connsiteX63" fmla="*/ 430149 w 504825"/>
                <a:gd name="connsiteY63" fmla="*/ 209931 h 504825"/>
                <a:gd name="connsiteX64" fmla="*/ 410527 w 504825"/>
                <a:gd name="connsiteY64" fmla="*/ 162592 h 504825"/>
                <a:gd name="connsiteX65" fmla="*/ 413575 w 504825"/>
                <a:gd name="connsiteY65" fmla="*/ 136398 h 504825"/>
                <a:gd name="connsiteX66" fmla="*/ 432911 w 504825"/>
                <a:gd name="connsiteY66" fmla="*/ 117062 h 504825"/>
                <a:gd name="connsiteX67" fmla="*/ 435102 w 504825"/>
                <a:gd name="connsiteY67" fmla="*/ 111633 h 504825"/>
                <a:gd name="connsiteX68" fmla="*/ 397955 w 504825"/>
                <a:gd name="connsiteY68" fmla="*/ 74485 h 504825"/>
                <a:gd name="connsiteX69" fmla="*/ 394716 w 504825"/>
                <a:gd name="connsiteY69" fmla="*/ 74485 h 504825"/>
                <a:gd name="connsiteX70" fmla="*/ 373285 w 504825"/>
                <a:gd name="connsiteY70" fmla="*/ 95917 h 504825"/>
                <a:gd name="connsiteX71" fmla="*/ 347091 w 504825"/>
                <a:gd name="connsiteY71" fmla="*/ 98965 h 504825"/>
                <a:gd name="connsiteX72" fmla="*/ 299847 w 504825"/>
                <a:gd name="connsiteY72" fmla="*/ 79343 h 504825"/>
                <a:gd name="connsiteX73" fmla="*/ 283559 w 504825"/>
                <a:gd name="connsiteY73" fmla="*/ 58674 h 504825"/>
                <a:gd name="connsiteX74" fmla="*/ 283559 w 504825"/>
                <a:gd name="connsiteY74" fmla="*/ 31433 h 504825"/>
                <a:gd name="connsiteX75" fmla="*/ 281273 w 504825"/>
                <a:gd name="connsiteY75" fmla="*/ 26099 h 504825"/>
                <a:gd name="connsiteX76" fmla="*/ 228695 w 504825"/>
                <a:gd name="connsiteY76" fmla="*/ 26099 h 504825"/>
                <a:gd name="connsiteX77" fmla="*/ 226409 w 504825"/>
                <a:gd name="connsiteY77" fmla="*/ 28385 h 504825"/>
                <a:gd name="connsiteX78" fmla="*/ 226409 w 504825"/>
                <a:gd name="connsiteY78" fmla="*/ 58579 h 504825"/>
                <a:gd name="connsiteX79" fmla="*/ 210121 w 504825"/>
                <a:gd name="connsiteY79" fmla="*/ 79248 h 504825"/>
                <a:gd name="connsiteX80" fmla="*/ 162782 w 504825"/>
                <a:gd name="connsiteY80" fmla="*/ 98870 h 504825"/>
                <a:gd name="connsiteX81" fmla="*/ 136588 w 504825"/>
                <a:gd name="connsiteY81" fmla="*/ 95822 h 504825"/>
                <a:gd name="connsiteX82" fmla="*/ 117348 w 504825"/>
                <a:gd name="connsiteY82" fmla="*/ 76581 h 504825"/>
                <a:gd name="connsiteX83" fmla="*/ 111919 w 504825"/>
                <a:gd name="connsiteY83" fmla="*/ 74390 h 504825"/>
                <a:gd name="connsiteX84" fmla="*/ 74771 w 504825"/>
                <a:gd name="connsiteY84" fmla="*/ 111538 h 504825"/>
                <a:gd name="connsiteX85" fmla="*/ 74104 w 504825"/>
                <a:gd name="connsiteY85" fmla="*/ 113157 h 504825"/>
                <a:gd name="connsiteX86" fmla="*/ 74771 w 504825"/>
                <a:gd name="connsiteY86" fmla="*/ 114776 h 504825"/>
                <a:gd name="connsiteX87" fmla="*/ 96202 w 504825"/>
                <a:gd name="connsiteY87" fmla="*/ 136208 h 504825"/>
                <a:gd name="connsiteX88" fmla="*/ 99346 w 504825"/>
                <a:gd name="connsiteY88" fmla="*/ 162401 h 504825"/>
                <a:gd name="connsiteX89" fmla="*/ 79724 w 504825"/>
                <a:gd name="connsiteY89" fmla="*/ 209645 h 504825"/>
                <a:gd name="connsiteX90" fmla="*/ 59055 w 504825"/>
                <a:gd name="connsiteY90" fmla="*/ 225933 h 504825"/>
                <a:gd name="connsiteX91" fmla="*/ 31813 w 504825"/>
                <a:gd name="connsiteY91" fmla="*/ 225933 h 504825"/>
                <a:gd name="connsiteX92" fmla="*/ 26479 w 504825"/>
                <a:gd name="connsiteY92" fmla="*/ 228219 h 504825"/>
                <a:gd name="connsiteX93" fmla="*/ 26479 w 504825"/>
                <a:gd name="connsiteY93" fmla="*/ 280797 h 504825"/>
                <a:gd name="connsiteX94" fmla="*/ 28765 w 504825"/>
                <a:gd name="connsiteY94" fmla="*/ 283083 h 504825"/>
                <a:gd name="connsiteX95" fmla="*/ 58960 w 504825"/>
                <a:gd name="connsiteY95" fmla="*/ 283083 h 504825"/>
                <a:gd name="connsiteX96" fmla="*/ 79629 w 504825"/>
                <a:gd name="connsiteY96" fmla="*/ 299371 h 504825"/>
                <a:gd name="connsiteX97" fmla="*/ 99250 w 504825"/>
                <a:gd name="connsiteY97" fmla="*/ 346710 h 504825"/>
                <a:gd name="connsiteX98" fmla="*/ 96202 w 504825"/>
                <a:gd name="connsiteY98" fmla="*/ 372904 h 504825"/>
                <a:gd name="connsiteX99" fmla="*/ 76867 w 504825"/>
                <a:gd name="connsiteY99" fmla="*/ 392240 h 504825"/>
                <a:gd name="connsiteX100" fmla="*/ 74676 w 504825"/>
                <a:gd name="connsiteY100" fmla="*/ 397669 h 504825"/>
                <a:gd name="connsiteX101" fmla="*/ 111823 w 504825"/>
                <a:gd name="connsiteY101" fmla="*/ 434816 h 504825"/>
                <a:gd name="connsiteX102" fmla="*/ 115062 w 504825"/>
                <a:gd name="connsiteY102" fmla="*/ 434816 h 504825"/>
                <a:gd name="connsiteX103" fmla="*/ 136493 w 504825"/>
                <a:gd name="connsiteY103" fmla="*/ 413385 h 504825"/>
                <a:gd name="connsiteX104" fmla="*/ 162687 w 504825"/>
                <a:gd name="connsiteY104" fmla="*/ 410242 h 504825"/>
                <a:gd name="connsiteX105" fmla="*/ 209931 w 504825"/>
                <a:gd name="connsiteY105" fmla="*/ 429863 h 504825"/>
                <a:gd name="connsiteX106" fmla="*/ 226219 w 504825"/>
                <a:gd name="connsiteY106" fmla="*/ 450533 h 504825"/>
                <a:gd name="connsiteX107" fmla="*/ 226219 w 504825"/>
                <a:gd name="connsiteY107" fmla="*/ 479965 h 504825"/>
                <a:gd name="connsiteX108" fmla="*/ 226885 w 504825"/>
                <a:gd name="connsiteY108" fmla="*/ 483394 h 504825"/>
                <a:gd name="connsiteX109" fmla="*/ 281083 w 504825"/>
                <a:gd name="connsiteY109" fmla="*/ 483013 h 504825"/>
                <a:gd name="connsiteX110" fmla="*/ 283369 w 504825"/>
                <a:gd name="connsiteY110" fmla="*/ 480727 h 504825"/>
                <a:gd name="connsiteX111" fmla="*/ 283369 w 504825"/>
                <a:gd name="connsiteY111" fmla="*/ 450533 h 504825"/>
                <a:gd name="connsiteX112" fmla="*/ 299656 w 504825"/>
                <a:gd name="connsiteY112" fmla="*/ 429863 h 504825"/>
                <a:gd name="connsiteX113" fmla="*/ 331280 w 504825"/>
                <a:gd name="connsiteY113" fmla="*/ 418433 h 504825"/>
                <a:gd name="connsiteX114" fmla="*/ 343948 w 504825"/>
                <a:gd name="connsiteY114" fmla="*/ 423005 h 504825"/>
                <a:gd name="connsiteX115" fmla="*/ 339376 w 504825"/>
                <a:gd name="connsiteY115" fmla="*/ 435674 h 504825"/>
                <a:gd name="connsiteX116" fmla="*/ 304419 w 504825"/>
                <a:gd name="connsiteY116" fmla="*/ 448342 h 504825"/>
                <a:gd name="connsiteX117" fmla="*/ 302419 w 504825"/>
                <a:gd name="connsiteY117" fmla="*/ 450628 h 504825"/>
                <a:gd name="connsiteX118" fmla="*/ 302419 w 504825"/>
                <a:gd name="connsiteY118" fmla="*/ 480822 h 504825"/>
                <a:gd name="connsiteX119" fmla="*/ 281083 w 504825"/>
                <a:gd name="connsiteY119" fmla="*/ 502158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504825" h="504825">
                  <a:moveTo>
                    <a:pt x="280988" y="502349"/>
                  </a:moveTo>
                  <a:lnTo>
                    <a:pt x="226123" y="502349"/>
                  </a:lnTo>
                  <a:cubicBezTo>
                    <a:pt x="216979" y="502349"/>
                    <a:pt x="207073" y="495395"/>
                    <a:pt x="207073" y="480155"/>
                  </a:cubicBezTo>
                  <a:lnTo>
                    <a:pt x="207073" y="450723"/>
                  </a:lnTo>
                  <a:cubicBezTo>
                    <a:pt x="207073" y="449485"/>
                    <a:pt x="206026" y="448723"/>
                    <a:pt x="205073" y="448532"/>
                  </a:cubicBezTo>
                  <a:cubicBezTo>
                    <a:pt x="186785" y="443865"/>
                    <a:pt x="169164" y="436531"/>
                    <a:pt x="152781" y="426815"/>
                  </a:cubicBezTo>
                  <a:cubicBezTo>
                    <a:pt x="151924" y="426339"/>
                    <a:pt x="150685" y="426149"/>
                    <a:pt x="149733" y="427006"/>
                  </a:cubicBezTo>
                  <a:lnTo>
                    <a:pt x="128302" y="448437"/>
                  </a:lnTo>
                  <a:cubicBezTo>
                    <a:pt x="120015" y="456724"/>
                    <a:pt x="106489" y="456724"/>
                    <a:pt x="98107" y="448437"/>
                  </a:cubicBezTo>
                  <a:lnTo>
                    <a:pt x="60960" y="411290"/>
                  </a:lnTo>
                  <a:cubicBezTo>
                    <a:pt x="53435" y="403765"/>
                    <a:pt x="51816" y="390239"/>
                    <a:pt x="63151" y="378905"/>
                  </a:cubicBezTo>
                  <a:lnTo>
                    <a:pt x="82487" y="359569"/>
                  </a:lnTo>
                  <a:cubicBezTo>
                    <a:pt x="83344" y="358712"/>
                    <a:pt x="83153" y="357378"/>
                    <a:pt x="82677" y="356616"/>
                  </a:cubicBezTo>
                  <a:cubicBezTo>
                    <a:pt x="72962" y="340233"/>
                    <a:pt x="65627" y="322612"/>
                    <a:pt x="60960" y="304324"/>
                  </a:cubicBezTo>
                  <a:cubicBezTo>
                    <a:pt x="60674" y="303371"/>
                    <a:pt x="59912" y="302324"/>
                    <a:pt x="58674" y="302324"/>
                  </a:cubicBezTo>
                  <a:lnTo>
                    <a:pt x="28480" y="302324"/>
                  </a:lnTo>
                  <a:cubicBezTo>
                    <a:pt x="16669" y="302324"/>
                    <a:pt x="7144" y="292703"/>
                    <a:pt x="7144" y="280988"/>
                  </a:cubicBezTo>
                  <a:lnTo>
                    <a:pt x="7144" y="228409"/>
                  </a:lnTo>
                  <a:cubicBezTo>
                    <a:pt x="7144" y="217837"/>
                    <a:pt x="15526" y="207074"/>
                    <a:pt x="31528" y="207074"/>
                  </a:cubicBezTo>
                  <a:lnTo>
                    <a:pt x="58769" y="207074"/>
                  </a:lnTo>
                  <a:cubicBezTo>
                    <a:pt x="60007" y="207074"/>
                    <a:pt x="60770" y="206026"/>
                    <a:pt x="60960" y="205073"/>
                  </a:cubicBezTo>
                  <a:cubicBezTo>
                    <a:pt x="65627" y="186785"/>
                    <a:pt x="72962" y="169164"/>
                    <a:pt x="82677" y="152781"/>
                  </a:cubicBezTo>
                  <a:cubicBezTo>
                    <a:pt x="83153" y="151924"/>
                    <a:pt x="83344" y="150590"/>
                    <a:pt x="82487" y="149733"/>
                  </a:cubicBezTo>
                  <a:lnTo>
                    <a:pt x="61055" y="128302"/>
                  </a:lnTo>
                  <a:cubicBezTo>
                    <a:pt x="52768" y="120015"/>
                    <a:pt x="52768" y="106490"/>
                    <a:pt x="61055" y="98108"/>
                  </a:cubicBezTo>
                  <a:lnTo>
                    <a:pt x="98203" y="60960"/>
                  </a:lnTo>
                  <a:cubicBezTo>
                    <a:pt x="105727" y="53435"/>
                    <a:pt x="119253" y="51816"/>
                    <a:pt x="130588" y="63151"/>
                  </a:cubicBezTo>
                  <a:lnTo>
                    <a:pt x="149923" y="82487"/>
                  </a:lnTo>
                  <a:cubicBezTo>
                    <a:pt x="150781" y="83344"/>
                    <a:pt x="152114" y="83153"/>
                    <a:pt x="152876" y="82677"/>
                  </a:cubicBezTo>
                  <a:cubicBezTo>
                    <a:pt x="169259" y="72962"/>
                    <a:pt x="186880" y="65627"/>
                    <a:pt x="205168" y="60960"/>
                  </a:cubicBezTo>
                  <a:cubicBezTo>
                    <a:pt x="206121" y="60674"/>
                    <a:pt x="207169" y="59912"/>
                    <a:pt x="207169" y="58674"/>
                  </a:cubicBezTo>
                  <a:lnTo>
                    <a:pt x="207169" y="28480"/>
                  </a:lnTo>
                  <a:cubicBezTo>
                    <a:pt x="207169" y="16669"/>
                    <a:pt x="216789" y="7144"/>
                    <a:pt x="228505" y="7144"/>
                  </a:cubicBezTo>
                  <a:lnTo>
                    <a:pt x="281083" y="7144"/>
                  </a:lnTo>
                  <a:cubicBezTo>
                    <a:pt x="291655" y="7144"/>
                    <a:pt x="302419" y="15526"/>
                    <a:pt x="302419" y="31528"/>
                  </a:cubicBezTo>
                  <a:lnTo>
                    <a:pt x="302419" y="58769"/>
                  </a:lnTo>
                  <a:cubicBezTo>
                    <a:pt x="302419" y="60008"/>
                    <a:pt x="303466" y="60770"/>
                    <a:pt x="304419" y="60960"/>
                  </a:cubicBezTo>
                  <a:cubicBezTo>
                    <a:pt x="322707" y="65627"/>
                    <a:pt x="340328" y="72962"/>
                    <a:pt x="356711" y="82677"/>
                  </a:cubicBezTo>
                  <a:cubicBezTo>
                    <a:pt x="357568" y="83153"/>
                    <a:pt x="358902" y="83344"/>
                    <a:pt x="359759" y="82487"/>
                  </a:cubicBezTo>
                  <a:lnTo>
                    <a:pt x="381190" y="61055"/>
                  </a:lnTo>
                  <a:cubicBezTo>
                    <a:pt x="389477" y="52768"/>
                    <a:pt x="403098" y="52768"/>
                    <a:pt x="411385" y="61055"/>
                  </a:cubicBezTo>
                  <a:lnTo>
                    <a:pt x="448532" y="98203"/>
                  </a:lnTo>
                  <a:cubicBezTo>
                    <a:pt x="456057" y="105727"/>
                    <a:pt x="457676" y="119253"/>
                    <a:pt x="446341" y="130588"/>
                  </a:cubicBezTo>
                  <a:lnTo>
                    <a:pt x="427006" y="149924"/>
                  </a:lnTo>
                  <a:cubicBezTo>
                    <a:pt x="426148" y="150781"/>
                    <a:pt x="426339" y="152114"/>
                    <a:pt x="426815" y="152876"/>
                  </a:cubicBezTo>
                  <a:cubicBezTo>
                    <a:pt x="436531" y="169259"/>
                    <a:pt x="443865" y="186881"/>
                    <a:pt x="448532" y="205168"/>
                  </a:cubicBezTo>
                  <a:cubicBezTo>
                    <a:pt x="448818" y="206121"/>
                    <a:pt x="449580" y="207169"/>
                    <a:pt x="450818" y="207169"/>
                  </a:cubicBezTo>
                  <a:lnTo>
                    <a:pt x="481013" y="207169"/>
                  </a:lnTo>
                  <a:cubicBezTo>
                    <a:pt x="492823" y="207169"/>
                    <a:pt x="502348" y="216789"/>
                    <a:pt x="502348" y="228505"/>
                  </a:cubicBezTo>
                  <a:lnTo>
                    <a:pt x="502348" y="281083"/>
                  </a:lnTo>
                  <a:cubicBezTo>
                    <a:pt x="502348" y="291656"/>
                    <a:pt x="493966" y="302419"/>
                    <a:pt x="477964" y="302419"/>
                  </a:cubicBezTo>
                  <a:lnTo>
                    <a:pt x="450723" y="302419"/>
                  </a:lnTo>
                  <a:cubicBezTo>
                    <a:pt x="449485" y="302419"/>
                    <a:pt x="448723" y="303467"/>
                    <a:pt x="448532" y="304419"/>
                  </a:cubicBezTo>
                  <a:cubicBezTo>
                    <a:pt x="445580" y="315944"/>
                    <a:pt x="441293" y="327755"/>
                    <a:pt x="435864" y="339376"/>
                  </a:cubicBezTo>
                  <a:cubicBezTo>
                    <a:pt x="433673" y="344138"/>
                    <a:pt x="427958" y="346234"/>
                    <a:pt x="423196" y="343948"/>
                  </a:cubicBezTo>
                  <a:cubicBezTo>
                    <a:pt x="418433" y="341757"/>
                    <a:pt x="416433" y="336042"/>
                    <a:pt x="418624" y="331280"/>
                  </a:cubicBezTo>
                  <a:cubicBezTo>
                    <a:pt x="423577" y="320707"/>
                    <a:pt x="427387" y="310134"/>
                    <a:pt x="430054" y="299657"/>
                  </a:cubicBezTo>
                  <a:cubicBezTo>
                    <a:pt x="432530" y="290036"/>
                    <a:pt x="441007" y="283369"/>
                    <a:pt x="450723" y="283369"/>
                  </a:cubicBezTo>
                  <a:lnTo>
                    <a:pt x="477964" y="283369"/>
                  </a:lnTo>
                  <a:cubicBezTo>
                    <a:pt x="477964" y="283369"/>
                    <a:pt x="483298" y="283369"/>
                    <a:pt x="483298" y="281083"/>
                  </a:cubicBezTo>
                  <a:lnTo>
                    <a:pt x="483298" y="228505"/>
                  </a:lnTo>
                  <a:cubicBezTo>
                    <a:pt x="483298" y="227267"/>
                    <a:pt x="482251" y="226219"/>
                    <a:pt x="481013" y="226219"/>
                  </a:cubicBezTo>
                  <a:lnTo>
                    <a:pt x="450818" y="226219"/>
                  </a:lnTo>
                  <a:cubicBezTo>
                    <a:pt x="441103" y="226219"/>
                    <a:pt x="432530" y="219551"/>
                    <a:pt x="430149" y="209931"/>
                  </a:cubicBezTo>
                  <a:cubicBezTo>
                    <a:pt x="425958" y="193358"/>
                    <a:pt x="419290" y="177451"/>
                    <a:pt x="410527" y="162592"/>
                  </a:cubicBezTo>
                  <a:cubicBezTo>
                    <a:pt x="405479" y="154115"/>
                    <a:pt x="406717" y="143351"/>
                    <a:pt x="413575" y="136398"/>
                  </a:cubicBezTo>
                  <a:lnTo>
                    <a:pt x="432911" y="117062"/>
                  </a:lnTo>
                  <a:cubicBezTo>
                    <a:pt x="432911" y="117062"/>
                    <a:pt x="436721" y="113252"/>
                    <a:pt x="435102" y="111633"/>
                  </a:cubicBezTo>
                  <a:lnTo>
                    <a:pt x="397955" y="74485"/>
                  </a:lnTo>
                  <a:cubicBezTo>
                    <a:pt x="396812" y="73438"/>
                    <a:pt x="395859" y="73342"/>
                    <a:pt x="394716" y="74485"/>
                  </a:cubicBezTo>
                  <a:lnTo>
                    <a:pt x="373285" y="95917"/>
                  </a:lnTo>
                  <a:cubicBezTo>
                    <a:pt x="366427" y="102870"/>
                    <a:pt x="355568" y="104108"/>
                    <a:pt x="347091" y="98965"/>
                  </a:cubicBezTo>
                  <a:cubicBezTo>
                    <a:pt x="332232" y="90202"/>
                    <a:pt x="316325" y="83534"/>
                    <a:pt x="299847" y="79343"/>
                  </a:cubicBezTo>
                  <a:cubicBezTo>
                    <a:pt x="290227" y="76867"/>
                    <a:pt x="283559" y="68390"/>
                    <a:pt x="283559" y="58674"/>
                  </a:cubicBezTo>
                  <a:lnTo>
                    <a:pt x="283559" y="31433"/>
                  </a:lnTo>
                  <a:cubicBezTo>
                    <a:pt x="283559" y="31433"/>
                    <a:pt x="283559" y="26099"/>
                    <a:pt x="281273" y="26099"/>
                  </a:cubicBezTo>
                  <a:lnTo>
                    <a:pt x="228695" y="26099"/>
                  </a:lnTo>
                  <a:cubicBezTo>
                    <a:pt x="227457" y="26099"/>
                    <a:pt x="226409" y="27146"/>
                    <a:pt x="226409" y="28385"/>
                  </a:cubicBezTo>
                  <a:lnTo>
                    <a:pt x="226409" y="58579"/>
                  </a:lnTo>
                  <a:cubicBezTo>
                    <a:pt x="226409" y="68294"/>
                    <a:pt x="219742" y="76867"/>
                    <a:pt x="210121" y="79248"/>
                  </a:cubicBezTo>
                  <a:cubicBezTo>
                    <a:pt x="193548" y="83439"/>
                    <a:pt x="177641" y="90107"/>
                    <a:pt x="162782" y="98870"/>
                  </a:cubicBezTo>
                  <a:cubicBezTo>
                    <a:pt x="154210" y="103918"/>
                    <a:pt x="143446" y="102680"/>
                    <a:pt x="136588" y="95822"/>
                  </a:cubicBezTo>
                  <a:lnTo>
                    <a:pt x="117348" y="76581"/>
                  </a:lnTo>
                  <a:cubicBezTo>
                    <a:pt x="117348" y="76581"/>
                    <a:pt x="113538" y="72771"/>
                    <a:pt x="111919" y="74390"/>
                  </a:cubicBezTo>
                  <a:lnTo>
                    <a:pt x="74771" y="111538"/>
                  </a:lnTo>
                  <a:cubicBezTo>
                    <a:pt x="74200" y="112109"/>
                    <a:pt x="74104" y="112681"/>
                    <a:pt x="74104" y="113157"/>
                  </a:cubicBezTo>
                  <a:cubicBezTo>
                    <a:pt x="74104" y="113633"/>
                    <a:pt x="74200" y="114205"/>
                    <a:pt x="74771" y="114776"/>
                  </a:cubicBezTo>
                  <a:lnTo>
                    <a:pt x="96202" y="136208"/>
                  </a:lnTo>
                  <a:cubicBezTo>
                    <a:pt x="103060" y="143161"/>
                    <a:pt x="104394" y="153924"/>
                    <a:pt x="99346" y="162401"/>
                  </a:cubicBezTo>
                  <a:cubicBezTo>
                    <a:pt x="90583" y="177260"/>
                    <a:pt x="83915" y="193167"/>
                    <a:pt x="79724" y="209645"/>
                  </a:cubicBezTo>
                  <a:cubicBezTo>
                    <a:pt x="77248" y="219266"/>
                    <a:pt x="68771" y="225933"/>
                    <a:pt x="59055" y="225933"/>
                  </a:cubicBezTo>
                  <a:lnTo>
                    <a:pt x="31813" y="225933"/>
                  </a:lnTo>
                  <a:cubicBezTo>
                    <a:pt x="31813" y="225933"/>
                    <a:pt x="26479" y="225933"/>
                    <a:pt x="26479" y="228219"/>
                  </a:cubicBezTo>
                  <a:lnTo>
                    <a:pt x="26479" y="280797"/>
                  </a:lnTo>
                  <a:cubicBezTo>
                    <a:pt x="26479" y="282035"/>
                    <a:pt x="27527" y="283083"/>
                    <a:pt x="28765" y="283083"/>
                  </a:cubicBezTo>
                  <a:lnTo>
                    <a:pt x="58960" y="283083"/>
                  </a:lnTo>
                  <a:cubicBezTo>
                    <a:pt x="68675" y="283083"/>
                    <a:pt x="77248" y="289750"/>
                    <a:pt x="79629" y="299371"/>
                  </a:cubicBezTo>
                  <a:cubicBezTo>
                    <a:pt x="83820" y="315944"/>
                    <a:pt x="90488" y="331851"/>
                    <a:pt x="99250" y="346710"/>
                  </a:cubicBezTo>
                  <a:cubicBezTo>
                    <a:pt x="104299" y="355283"/>
                    <a:pt x="103060" y="366046"/>
                    <a:pt x="96202" y="372904"/>
                  </a:cubicBezTo>
                  <a:lnTo>
                    <a:pt x="76867" y="392240"/>
                  </a:lnTo>
                  <a:cubicBezTo>
                    <a:pt x="76867" y="392240"/>
                    <a:pt x="73057" y="396050"/>
                    <a:pt x="74676" y="397669"/>
                  </a:cubicBezTo>
                  <a:lnTo>
                    <a:pt x="111823" y="434816"/>
                  </a:lnTo>
                  <a:cubicBezTo>
                    <a:pt x="112966" y="435864"/>
                    <a:pt x="113919" y="435959"/>
                    <a:pt x="115062" y="434816"/>
                  </a:cubicBezTo>
                  <a:lnTo>
                    <a:pt x="136493" y="413385"/>
                  </a:lnTo>
                  <a:cubicBezTo>
                    <a:pt x="143351" y="406527"/>
                    <a:pt x="154210" y="405193"/>
                    <a:pt x="162687" y="410242"/>
                  </a:cubicBezTo>
                  <a:cubicBezTo>
                    <a:pt x="177546" y="419005"/>
                    <a:pt x="193453" y="425672"/>
                    <a:pt x="209931" y="429863"/>
                  </a:cubicBezTo>
                  <a:cubicBezTo>
                    <a:pt x="219551" y="432340"/>
                    <a:pt x="226219" y="440817"/>
                    <a:pt x="226219" y="450533"/>
                  </a:cubicBezTo>
                  <a:lnTo>
                    <a:pt x="226219" y="479965"/>
                  </a:lnTo>
                  <a:cubicBezTo>
                    <a:pt x="226219" y="482537"/>
                    <a:pt x="226885" y="483394"/>
                    <a:pt x="226885" y="483394"/>
                  </a:cubicBezTo>
                  <a:lnTo>
                    <a:pt x="281083" y="483013"/>
                  </a:lnTo>
                  <a:cubicBezTo>
                    <a:pt x="282321" y="483013"/>
                    <a:pt x="283369" y="481965"/>
                    <a:pt x="283369" y="480727"/>
                  </a:cubicBezTo>
                  <a:lnTo>
                    <a:pt x="283369" y="450533"/>
                  </a:lnTo>
                  <a:cubicBezTo>
                    <a:pt x="283369" y="440817"/>
                    <a:pt x="290036" y="432245"/>
                    <a:pt x="299656" y="429863"/>
                  </a:cubicBezTo>
                  <a:cubicBezTo>
                    <a:pt x="310134" y="427196"/>
                    <a:pt x="320707" y="423386"/>
                    <a:pt x="331280" y="418433"/>
                  </a:cubicBezTo>
                  <a:cubicBezTo>
                    <a:pt x="336042" y="416147"/>
                    <a:pt x="341757" y="418243"/>
                    <a:pt x="343948" y="423005"/>
                  </a:cubicBezTo>
                  <a:cubicBezTo>
                    <a:pt x="346138" y="427768"/>
                    <a:pt x="344138" y="433483"/>
                    <a:pt x="339376" y="435674"/>
                  </a:cubicBezTo>
                  <a:cubicBezTo>
                    <a:pt x="327755" y="441103"/>
                    <a:pt x="316039" y="445389"/>
                    <a:pt x="304419" y="448342"/>
                  </a:cubicBezTo>
                  <a:cubicBezTo>
                    <a:pt x="303466" y="448627"/>
                    <a:pt x="302419" y="449390"/>
                    <a:pt x="302419" y="450628"/>
                  </a:cubicBezTo>
                  <a:lnTo>
                    <a:pt x="302419" y="480822"/>
                  </a:lnTo>
                  <a:cubicBezTo>
                    <a:pt x="302419" y="492633"/>
                    <a:pt x="292798" y="502158"/>
                    <a:pt x="281083" y="502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DD10A96-A2AC-4CAE-A767-1E691645A319}"/>
                </a:ext>
              </a:extLst>
            </p:cNvPr>
            <p:cNvSpPr/>
            <p:nvPr/>
          </p:nvSpPr>
          <p:spPr>
            <a:xfrm>
              <a:off x="3820319" y="2950369"/>
              <a:ext cx="352425" cy="352425"/>
            </a:xfrm>
            <a:custGeom>
              <a:avLst/>
              <a:gdLst>
                <a:gd name="connsiteX0" fmla="*/ 339376 w 352425"/>
                <a:gd name="connsiteY0" fmla="*/ 287846 h 352425"/>
                <a:gd name="connsiteX1" fmla="*/ 256889 w 352425"/>
                <a:gd name="connsiteY1" fmla="*/ 205359 h 352425"/>
                <a:gd name="connsiteX2" fmla="*/ 273844 w 352425"/>
                <a:gd name="connsiteY2" fmla="*/ 140494 h 352425"/>
                <a:gd name="connsiteX3" fmla="*/ 140494 w 352425"/>
                <a:gd name="connsiteY3" fmla="*/ 7144 h 352425"/>
                <a:gd name="connsiteX4" fmla="*/ 7144 w 352425"/>
                <a:gd name="connsiteY4" fmla="*/ 140494 h 352425"/>
                <a:gd name="connsiteX5" fmla="*/ 140494 w 352425"/>
                <a:gd name="connsiteY5" fmla="*/ 273844 h 352425"/>
                <a:gd name="connsiteX6" fmla="*/ 205359 w 352425"/>
                <a:gd name="connsiteY6" fmla="*/ 256889 h 352425"/>
                <a:gd name="connsiteX7" fmla="*/ 287846 w 352425"/>
                <a:gd name="connsiteY7" fmla="*/ 339376 h 352425"/>
                <a:gd name="connsiteX8" fmla="*/ 313563 w 352425"/>
                <a:gd name="connsiteY8" fmla="*/ 350044 h 352425"/>
                <a:gd name="connsiteX9" fmla="*/ 339376 w 352425"/>
                <a:gd name="connsiteY9" fmla="*/ 339376 h 352425"/>
                <a:gd name="connsiteX10" fmla="*/ 339376 w 352425"/>
                <a:gd name="connsiteY10" fmla="*/ 287846 h 352425"/>
                <a:gd name="connsiteX11" fmla="*/ 26194 w 352425"/>
                <a:gd name="connsiteY11" fmla="*/ 140494 h 352425"/>
                <a:gd name="connsiteX12" fmla="*/ 140494 w 352425"/>
                <a:gd name="connsiteY12" fmla="*/ 26194 h 352425"/>
                <a:gd name="connsiteX13" fmla="*/ 254794 w 352425"/>
                <a:gd name="connsiteY13" fmla="*/ 140494 h 352425"/>
                <a:gd name="connsiteX14" fmla="*/ 140494 w 352425"/>
                <a:gd name="connsiteY14" fmla="*/ 254794 h 352425"/>
                <a:gd name="connsiteX15" fmla="*/ 26194 w 352425"/>
                <a:gd name="connsiteY15" fmla="*/ 140494 h 352425"/>
                <a:gd name="connsiteX16" fmla="*/ 325946 w 352425"/>
                <a:gd name="connsiteY16" fmla="*/ 325946 h 352425"/>
                <a:gd name="connsiteX17" fmla="*/ 301371 w 352425"/>
                <a:gd name="connsiteY17" fmla="*/ 325946 h 352425"/>
                <a:gd name="connsiteX18" fmla="*/ 221552 w 352425"/>
                <a:gd name="connsiteY18" fmla="*/ 246221 h 352425"/>
                <a:gd name="connsiteX19" fmla="*/ 246221 w 352425"/>
                <a:gd name="connsiteY19" fmla="*/ 221552 h 352425"/>
                <a:gd name="connsiteX20" fmla="*/ 325946 w 352425"/>
                <a:gd name="connsiteY20" fmla="*/ 301371 h 352425"/>
                <a:gd name="connsiteX21" fmla="*/ 325946 w 352425"/>
                <a:gd name="connsiteY21" fmla="*/ 325946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2425" h="352425">
                  <a:moveTo>
                    <a:pt x="339376" y="287846"/>
                  </a:moveTo>
                  <a:lnTo>
                    <a:pt x="256889" y="205359"/>
                  </a:lnTo>
                  <a:cubicBezTo>
                    <a:pt x="267653" y="186119"/>
                    <a:pt x="273844" y="164021"/>
                    <a:pt x="273844" y="140494"/>
                  </a:cubicBezTo>
                  <a:cubicBezTo>
                    <a:pt x="273844" y="66961"/>
                    <a:pt x="214027" y="7144"/>
                    <a:pt x="140494" y="7144"/>
                  </a:cubicBezTo>
                  <a:cubicBezTo>
                    <a:pt x="66961" y="7144"/>
                    <a:pt x="7144" y="66961"/>
                    <a:pt x="7144" y="140494"/>
                  </a:cubicBezTo>
                  <a:cubicBezTo>
                    <a:pt x="7144" y="214027"/>
                    <a:pt x="66961" y="273844"/>
                    <a:pt x="140494" y="273844"/>
                  </a:cubicBezTo>
                  <a:cubicBezTo>
                    <a:pt x="164021" y="273844"/>
                    <a:pt x="186119" y="267653"/>
                    <a:pt x="205359" y="256889"/>
                  </a:cubicBezTo>
                  <a:lnTo>
                    <a:pt x="287846" y="339376"/>
                  </a:lnTo>
                  <a:cubicBezTo>
                    <a:pt x="294989" y="346520"/>
                    <a:pt x="304229" y="350044"/>
                    <a:pt x="313563" y="350044"/>
                  </a:cubicBezTo>
                  <a:cubicBezTo>
                    <a:pt x="322897" y="350044"/>
                    <a:pt x="332232" y="346520"/>
                    <a:pt x="339376" y="339376"/>
                  </a:cubicBezTo>
                  <a:cubicBezTo>
                    <a:pt x="353568" y="325184"/>
                    <a:pt x="353568" y="302038"/>
                    <a:pt x="339376" y="287846"/>
                  </a:cubicBezTo>
                  <a:close/>
                  <a:moveTo>
                    <a:pt x="26194" y="140494"/>
                  </a:moveTo>
                  <a:cubicBezTo>
                    <a:pt x="26194" y="77438"/>
                    <a:pt x="77438" y="26194"/>
                    <a:pt x="140494" y="26194"/>
                  </a:cubicBezTo>
                  <a:cubicBezTo>
                    <a:pt x="203549" y="26194"/>
                    <a:pt x="254794" y="77438"/>
                    <a:pt x="254794" y="140494"/>
                  </a:cubicBezTo>
                  <a:cubicBezTo>
                    <a:pt x="254794" y="203549"/>
                    <a:pt x="203549" y="254794"/>
                    <a:pt x="140494" y="254794"/>
                  </a:cubicBezTo>
                  <a:cubicBezTo>
                    <a:pt x="77438" y="254794"/>
                    <a:pt x="26194" y="203549"/>
                    <a:pt x="26194" y="140494"/>
                  </a:cubicBezTo>
                  <a:close/>
                  <a:moveTo>
                    <a:pt x="325946" y="325946"/>
                  </a:moveTo>
                  <a:cubicBezTo>
                    <a:pt x="319183" y="332708"/>
                    <a:pt x="308134" y="332708"/>
                    <a:pt x="301371" y="325946"/>
                  </a:cubicBezTo>
                  <a:lnTo>
                    <a:pt x="221552" y="246221"/>
                  </a:lnTo>
                  <a:cubicBezTo>
                    <a:pt x="230791" y="239078"/>
                    <a:pt x="239078" y="230886"/>
                    <a:pt x="246221" y="221552"/>
                  </a:cubicBezTo>
                  <a:lnTo>
                    <a:pt x="325946" y="301371"/>
                  </a:lnTo>
                  <a:cubicBezTo>
                    <a:pt x="332708" y="308134"/>
                    <a:pt x="332708" y="319183"/>
                    <a:pt x="325946" y="3259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35" name="Graphic 34">
            <a:extLst>
              <a:ext uri="{FF2B5EF4-FFF2-40B4-BE49-F238E27FC236}">
                <a16:creationId xmlns:a16="http://schemas.microsoft.com/office/drawing/2014/main" id="{8E4968F0-CDD3-42D3-9AA4-369036CEC5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2187" y="4820766"/>
            <a:ext cx="4572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957674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5B4B79-B5CD-42A4-8C1A-D3D8A2B896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Фирибгарлик</a:t>
            </a:r>
            <a:r>
              <a:rPr lang="ru-RU" dirty="0"/>
              <a:t> </a:t>
            </a:r>
            <a:r>
              <a:rPr lang="ru-RU" dirty="0" err="1"/>
              <a:t>учбурчаги</a:t>
            </a:r>
            <a:r>
              <a:rPr lang="ru-RU" dirty="0"/>
              <a:t>(2/2)</a:t>
            </a:r>
            <a:br>
              <a:rPr lang="ru-RU" dirty="0"/>
            </a:br>
            <a:endParaRPr lang="en-US" dirty="0"/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72A0A783-859D-46D6-932E-F2D66BF597A6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0CA646F-9CC5-499D-A155-10FBC98180EA}"/>
              </a:ext>
            </a:extLst>
          </p:cNvPr>
          <p:cNvSpPr/>
          <p:nvPr/>
        </p:nvSpPr>
        <p:spPr>
          <a:xfrm>
            <a:off x="1261918" y="1425558"/>
            <a:ext cx="92488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000" dirty="0" err="1"/>
              <a:t>Фирибгарлик</a:t>
            </a:r>
            <a:r>
              <a:rPr lang="ru-RU" sz="2000" dirty="0"/>
              <a:t> </a:t>
            </a:r>
            <a:r>
              <a:rPr lang="ru-RU" sz="2000" dirty="0" err="1"/>
              <a:t>учбурчаги</a:t>
            </a:r>
            <a:r>
              <a:rPr lang="ru-RU" sz="2000" dirty="0"/>
              <a:t> </a:t>
            </a:r>
            <a:r>
              <a:rPr lang="ru-RU" sz="2000" dirty="0" err="1"/>
              <a:t>эволюцияси</a:t>
            </a:r>
            <a:endParaRPr lang="ru-RU" sz="2000" b="1" dirty="0">
              <a:solidFill>
                <a:srgbClr val="49A9F6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5FEF8BE-2BD1-4C05-90B0-2C263BEAC2F8}"/>
              </a:ext>
            </a:extLst>
          </p:cNvPr>
          <p:cNvGrpSpPr/>
          <p:nvPr/>
        </p:nvGrpSpPr>
        <p:grpSpPr>
          <a:xfrm>
            <a:off x="532000" y="1371585"/>
            <a:ext cx="504825" cy="508055"/>
            <a:chOff x="4505952" y="2035969"/>
            <a:chExt cx="504825" cy="508055"/>
          </a:xfrm>
          <a:solidFill>
            <a:schemeClr val="bg2">
              <a:lumMod val="25000"/>
            </a:schemeClr>
          </a:solidFill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5BF9F363-2F4F-436B-8B66-4C0F4AD0FD41}"/>
                </a:ext>
              </a:extLst>
            </p:cNvPr>
            <p:cNvSpPr/>
            <p:nvPr/>
          </p:nvSpPr>
          <p:spPr>
            <a:xfrm>
              <a:off x="4505952" y="2296374"/>
              <a:ext cx="504825" cy="247650"/>
            </a:xfrm>
            <a:custGeom>
              <a:avLst/>
              <a:gdLst>
                <a:gd name="connsiteX0" fmla="*/ 500991 w 504825"/>
                <a:gd name="connsiteY0" fmla="*/ 112880 h 247650"/>
                <a:gd name="connsiteX1" fmla="*/ 434316 w 504825"/>
                <a:gd name="connsiteY1" fmla="*/ 11439 h 247650"/>
                <a:gd name="connsiteX2" fmla="*/ 422220 w 504825"/>
                <a:gd name="connsiteY2" fmla="*/ 8105 h 247650"/>
                <a:gd name="connsiteX3" fmla="*/ 254865 w 504825"/>
                <a:gd name="connsiteY3" fmla="*/ 88496 h 247650"/>
                <a:gd name="connsiteX4" fmla="*/ 87511 w 504825"/>
                <a:gd name="connsiteY4" fmla="*/ 8105 h 247650"/>
                <a:gd name="connsiteX5" fmla="*/ 75414 w 504825"/>
                <a:gd name="connsiteY5" fmla="*/ 11439 h 247650"/>
                <a:gd name="connsiteX6" fmla="*/ 8739 w 504825"/>
                <a:gd name="connsiteY6" fmla="*/ 112880 h 247650"/>
                <a:gd name="connsiteX7" fmla="*/ 7501 w 504825"/>
                <a:gd name="connsiteY7" fmla="*/ 120690 h 247650"/>
                <a:gd name="connsiteX8" fmla="*/ 12549 w 504825"/>
                <a:gd name="connsiteY8" fmla="*/ 126691 h 247650"/>
                <a:gd name="connsiteX9" fmla="*/ 250674 w 504825"/>
                <a:gd name="connsiteY9" fmla="*/ 241086 h 247650"/>
                <a:gd name="connsiteX10" fmla="*/ 254770 w 504825"/>
                <a:gd name="connsiteY10" fmla="*/ 242039 h 247650"/>
                <a:gd name="connsiteX11" fmla="*/ 258866 w 504825"/>
                <a:gd name="connsiteY11" fmla="*/ 241086 h 247650"/>
                <a:gd name="connsiteX12" fmla="*/ 496991 w 504825"/>
                <a:gd name="connsiteY12" fmla="*/ 126691 h 247650"/>
                <a:gd name="connsiteX13" fmla="*/ 502039 w 504825"/>
                <a:gd name="connsiteY13" fmla="*/ 120690 h 247650"/>
                <a:gd name="connsiteX14" fmla="*/ 500801 w 504825"/>
                <a:gd name="connsiteY14" fmla="*/ 112880 h 247650"/>
                <a:gd name="connsiteX15" fmla="*/ 86845 w 504825"/>
                <a:gd name="connsiteY15" fmla="*/ 28869 h 247650"/>
                <a:gd name="connsiteX16" fmla="*/ 245340 w 504825"/>
                <a:gd name="connsiteY16" fmla="*/ 104974 h 247650"/>
                <a:gd name="connsiteX17" fmla="*/ 245340 w 504825"/>
                <a:gd name="connsiteY17" fmla="*/ 217274 h 247650"/>
                <a:gd name="connsiteX18" fmla="*/ 30647 w 504825"/>
                <a:gd name="connsiteY18" fmla="*/ 114213 h 247650"/>
                <a:gd name="connsiteX19" fmla="*/ 86749 w 504825"/>
                <a:gd name="connsiteY19" fmla="*/ 28869 h 247650"/>
                <a:gd name="connsiteX20" fmla="*/ 264390 w 504825"/>
                <a:gd name="connsiteY20" fmla="*/ 217274 h 247650"/>
                <a:gd name="connsiteX21" fmla="*/ 264390 w 504825"/>
                <a:gd name="connsiteY21" fmla="*/ 104974 h 247650"/>
                <a:gd name="connsiteX22" fmla="*/ 422887 w 504825"/>
                <a:gd name="connsiteY22" fmla="*/ 28869 h 247650"/>
                <a:gd name="connsiteX23" fmla="*/ 478989 w 504825"/>
                <a:gd name="connsiteY23" fmla="*/ 114213 h 247650"/>
                <a:gd name="connsiteX24" fmla="*/ 264295 w 504825"/>
                <a:gd name="connsiteY24" fmla="*/ 217274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04825" h="247650">
                  <a:moveTo>
                    <a:pt x="500991" y="112880"/>
                  </a:moveTo>
                  <a:lnTo>
                    <a:pt x="434316" y="11439"/>
                  </a:lnTo>
                  <a:cubicBezTo>
                    <a:pt x="431745" y="7438"/>
                    <a:pt x="426506" y="6009"/>
                    <a:pt x="422220" y="8105"/>
                  </a:cubicBezTo>
                  <a:lnTo>
                    <a:pt x="254865" y="88496"/>
                  </a:lnTo>
                  <a:lnTo>
                    <a:pt x="87511" y="8105"/>
                  </a:lnTo>
                  <a:cubicBezTo>
                    <a:pt x="83225" y="6009"/>
                    <a:pt x="77986" y="7438"/>
                    <a:pt x="75414" y="11439"/>
                  </a:cubicBezTo>
                  <a:lnTo>
                    <a:pt x="8739" y="112880"/>
                  </a:lnTo>
                  <a:cubicBezTo>
                    <a:pt x="7215" y="115166"/>
                    <a:pt x="6739" y="118023"/>
                    <a:pt x="7501" y="120690"/>
                  </a:cubicBezTo>
                  <a:cubicBezTo>
                    <a:pt x="8263" y="123357"/>
                    <a:pt x="10073" y="125548"/>
                    <a:pt x="12549" y="126691"/>
                  </a:cubicBezTo>
                  <a:lnTo>
                    <a:pt x="250674" y="241086"/>
                  </a:lnTo>
                  <a:cubicBezTo>
                    <a:pt x="252008" y="241753"/>
                    <a:pt x="253341" y="242039"/>
                    <a:pt x="254770" y="242039"/>
                  </a:cubicBezTo>
                  <a:cubicBezTo>
                    <a:pt x="256199" y="242039"/>
                    <a:pt x="257628" y="241753"/>
                    <a:pt x="258866" y="241086"/>
                  </a:cubicBezTo>
                  <a:lnTo>
                    <a:pt x="496991" y="126691"/>
                  </a:lnTo>
                  <a:cubicBezTo>
                    <a:pt x="499468" y="125453"/>
                    <a:pt x="501277" y="123262"/>
                    <a:pt x="502039" y="120690"/>
                  </a:cubicBezTo>
                  <a:cubicBezTo>
                    <a:pt x="502801" y="118023"/>
                    <a:pt x="502325" y="115166"/>
                    <a:pt x="500801" y="112880"/>
                  </a:cubicBezTo>
                  <a:close/>
                  <a:moveTo>
                    <a:pt x="86845" y="28869"/>
                  </a:moveTo>
                  <a:lnTo>
                    <a:pt x="245340" y="104974"/>
                  </a:lnTo>
                  <a:lnTo>
                    <a:pt x="245340" y="217274"/>
                  </a:lnTo>
                  <a:lnTo>
                    <a:pt x="30647" y="114213"/>
                  </a:lnTo>
                  <a:lnTo>
                    <a:pt x="86749" y="28869"/>
                  </a:lnTo>
                  <a:close/>
                  <a:moveTo>
                    <a:pt x="264390" y="217274"/>
                  </a:moveTo>
                  <a:lnTo>
                    <a:pt x="264390" y="104974"/>
                  </a:lnTo>
                  <a:lnTo>
                    <a:pt x="422887" y="28869"/>
                  </a:lnTo>
                  <a:lnTo>
                    <a:pt x="478989" y="114213"/>
                  </a:lnTo>
                  <a:lnTo>
                    <a:pt x="264295" y="2172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74C29C04-3316-436F-905B-D247000EC6BF}"/>
                </a:ext>
              </a:extLst>
            </p:cNvPr>
            <p:cNvSpPr/>
            <p:nvPr/>
          </p:nvSpPr>
          <p:spPr>
            <a:xfrm>
              <a:off x="4572627" y="2195028"/>
              <a:ext cx="371475" cy="209550"/>
            </a:xfrm>
            <a:custGeom>
              <a:avLst/>
              <a:gdLst>
                <a:gd name="connsiteX0" fmla="*/ 367641 w 371475"/>
                <a:gd name="connsiteY0" fmla="*/ 112880 h 209550"/>
                <a:gd name="connsiteX1" fmla="*/ 300966 w 371475"/>
                <a:gd name="connsiteY1" fmla="*/ 11439 h 209550"/>
                <a:gd name="connsiteX2" fmla="*/ 288870 w 371475"/>
                <a:gd name="connsiteY2" fmla="*/ 8105 h 209550"/>
                <a:gd name="connsiteX3" fmla="*/ 188190 w 371475"/>
                <a:gd name="connsiteY3" fmla="*/ 56397 h 209550"/>
                <a:gd name="connsiteX4" fmla="*/ 87511 w 371475"/>
                <a:gd name="connsiteY4" fmla="*/ 8105 h 209550"/>
                <a:gd name="connsiteX5" fmla="*/ 75414 w 371475"/>
                <a:gd name="connsiteY5" fmla="*/ 11439 h 209550"/>
                <a:gd name="connsiteX6" fmla="*/ 8739 w 371475"/>
                <a:gd name="connsiteY6" fmla="*/ 112880 h 209550"/>
                <a:gd name="connsiteX7" fmla="*/ 7501 w 371475"/>
                <a:gd name="connsiteY7" fmla="*/ 120690 h 209550"/>
                <a:gd name="connsiteX8" fmla="*/ 12549 w 371475"/>
                <a:gd name="connsiteY8" fmla="*/ 126691 h 209550"/>
                <a:gd name="connsiteX9" fmla="*/ 183999 w 371475"/>
                <a:gd name="connsiteY9" fmla="*/ 208987 h 209550"/>
                <a:gd name="connsiteX10" fmla="*/ 188095 w 371475"/>
                <a:gd name="connsiteY10" fmla="*/ 209940 h 209550"/>
                <a:gd name="connsiteX11" fmla="*/ 192191 w 371475"/>
                <a:gd name="connsiteY11" fmla="*/ 208987 h 209550"/>
                <a:gd name="connsiteX12" fmla="*/ 363641 w 371475"/>
                <a:gd name="connsiteY12" fmla="*/ 126691 h 209550"/>
                <a:gd name="connsiteX13" fmla="*/ 368689 w 371475"/>
                <a:gd name="connsiteY13" fmla="*/ 120690 h 209550"/>
                <a:gd name="connsiteX14" fmla="*/ 367451 w 371475"/>
                <a:gd name="connsiteY14" fmla="*/ 112880 h 209550"/>
                <a:gd name="connsiteX15" fmla="*/ 86845 w 371475"/>
                <a:gd name="connsiteY15" fmla="*/ 28869 h 209550"/>
                <a:gd name="connsiteX16" fmla="*/ 178665 w 371475"/>
                <a:gd name="connsiteY16" fmla="*/ 72970 h 209550"/>
                <a:gd name="connsiteX17" fmla="*/ 178665 w 371475"/>
                <a:gd name="connsiteY17" fmla="*/ 185270 h 209550"/>
                <a:gd name="connsiteX18" fmla="*/ 30647 w 371475"/>
                <a:gd name="connsiteY18" fmla="*/ 114213 h 209550"/>
                <a:gd name="connsiteX19" fmla="*/ 86749 w 371475"/>
                <a:gd name="connsiteY19" fmla="*/ 28869 h 209550"/>
                <a:gd name="connsiteX20" fmla="*/ 197715 w 371475"/>
                <a:gd name="connsiteY20" fmla="*/ 185270 h 209550"/>
                <a:gd name="connsiteX21" fmla="*/ 197715 w 371475"/>
                <a:gd name="connsiteY21" fmla="*/ 72970 h 209550"/>
                <a:gd name="connsiteX22" fmla="*/ 289537 w 371475"/>
                <a:gd name="connsiteY22" fmla="*/ 28869 h 209550"/>
                <a:gd name="connsiteX23" fmla="*/ 345639 w 371475"/>
                <a:gd name="connsiteY23" fmla="*/ 114213 h 209550"/>
                <a:gd name="connsiteX24" fmla="*/ 197620 w 371475"/>
                <a:gd name="connsiteY24" fmla="*/ 18527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71475" h="209550">
                  <a:moveTo>
                    <a:pt x="367641" y="112880"/>
                  </a:moveTo>
                  <a:lnTo>
                    <a:pt x="300966" y="11439"/>
                  </a:lnTo>
                  <a:cubicBezTo>
                    <a:pt x="298395" y="7438"/>
                    <a:pt x="293156" y="6009"/>
                    <a:pt x="288870" y="8105"/>
                  </a:cubicBezTo>
                  <a:lnTo>
                    <a:pt x="188190" y="56397"/>
                  </a:lnTo>
                  <a:lnTo>
                    <a:pt x="87511" y="8105"/>
                  </a:lnTo>
                  <a:cubicBezTo>
                    <a:pt x="83225" y="6009"/>
                    <a:pt x="77986" y="7438"/>
                    <a:pt x="75414" y="11439"/>
                  </a:cubicBezTo>
                  <a:lnTo>
                    <a:pt x="8739" y="112880"/>
                  </a:lnTo>
                  <a:cubicBezTo>
                    <a:pt x="7215" y="115166"/>
                    <a:pt x="6739" y="118023"/>
                    <a:pt x="7501" y="120690"/>
                  </a:cubicBezTo>
                  <a:cubicBezTo>
                    <a:pt x="8263" y="123357"/>
                    <a:pt x="10073" y="125548"/>
                    <a:pt x="12549" y="126691"/>
                  </a:cubicBezTo>
                  <a:lnTo>
                    <a:pt x="183999" y="208987"/>
                  </a:lnTo>
                  <a:cubicBezTo>
                    <a:pt x="185333" y="209654"/>
                    <a:pt x="186666" y="209940"/>
                    <a:pt x="188095" y="209940"/>
                  </a:cubicBezTo>
                  <a:cubicBezTo>
                    <a:pt x="189524" y="209940"/>
                    <a:pt x="190953" y="209654"/>
                    <a:pt x="192191" y="208987"/>
                  </a:cubicBezTo>
                  <a:lnTo>
                    <a:pt x="363641" y="126691"/>
                  </a:lnTo>
                  <a:cubicBezTo>
                    <a:pt x="366118" y="125548"/>
                    <a:pt x="367927" y="123262"/>
                    <a:pt x="368689" y="120690"/>
                  </a:cubicBezTo>
                  <a:cubicBezTo>
                    <a:pt x="369451" y="118023"/>
                    <a:pt x="368975" y="115166"/>
                    <a:pt x="367451" y="112880"/>
                  </a:cubicBezTo>
                  <a:close/>
                  <a:moveTo>
                    <a:pt x="86845" y="28869"/>
                  </a:moveTo>
                  <a:lnTo>
                    <a:pt x="178665" y="72970"/>
                  </a:lnTo>
                  <a:lnTo>
                    <a:pt x="178665" y="185270"/>
                  </a:lnTo>
                  <a:lnTo>
                    <a:pt x="30647" y="114213"/>
                  </a:lnTo>
                  <a:lnTo>
                    <a:pt x="86749" y="28869"/>
                  </a:lnTo>
                  <a:close/>
                  <a:moveTo>
                    <a:pt x="197715" y="185270"/>
                  </a:moveTo>
                  <a:lnTo>
                    <a:pt x="197715" y="72970"/>
                  </a:lnTo>
                  <a:lnTo>
                    <a:pt x="289537" y="28869"/>
                  </a:lnTo>
                  <a:lnTo>
                    <a:pt x="345639" y="114213"/>
                  </a:lnTo>
                  <a:lnTo>
                    <a:pt x="197620" y="18527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7A37D702-EA70-4B27-858F-B22E85020FE2}"/>
                </a:ext>
              </a:extLst>
            </p:cNvPr>
            <p:cNvSpPr/>
            <p:nvPr/>
          </p:nvSpPr>
          <p:spPr>
            <a:xfrm>
              <a:off x="4561936" y="2345333"/>
              <a:ext cx="390525" cy="133350"/>
            </a:xfrm>
            <a:custGeom>
              <a:avLst/>
              <a:gdLst>
                <a:gd name="connsiteX0" fmla="*/ 130112 w 390525"/>
                <a:gd name="connsiteY0" fmla="*/ 97735 h 133350"/>
                <a:gd name="connsiteX1" fmla="*/ 117443 w 390525"/>
                <a:gd name="connsiteY1" fmla="*/ 102116 h 133350"/>
                <a:gd name="connsiteX2" fmla="*/ 116491 w 390525"/>
                <a:gd name="connsiteY2" fmla="*/ 106307 h 133350"/>
                <a:gd name="connsiteX3" fmla="*/ 121920 w 390525"/>
                <a:gd name="connsiteY3" fmla="*/ 114880 h 133350"/>
                <a:gd name="connsiteX4" fmla="*/ 126016 w 390525"/>
                <a:gd name="connsiteY4" fmla="*/ 115832 h 133350"/>
                <a:gd name="connsiteX5" fmla="*/ 134588 w 390525"/>
                <a:gd name="connsiteY5" fmla="*/ 110403 h 133350"/>
                <a:gd name="connsiteX6" fmla="*/ 135541 w 390525"/>
                <a:gd name="connsiteY6" fmla="*/ 106307 h 133350"/>
                <a:gd name="connsiteX7" fmla="*/ 130112 w 390525"/>
                <a:gd name="connsiteY7" fmla="*/ 97735 h 133350"/>
                <a:gd name="connsiteX8" fmla="*/ 166592 w 390525"/>
                <a:gd name="connsiteY8" fmla="*/ 115166 h 133350"/>
                <a:gd name="connsiteX9" fmla="*/ 153924 w 390525"/>
                <a:gd name="connsiteY9" fmla="*/ 119642 h 133350"/>
                <a:gd name="connsiteX10" fmla="*/ 152972 w 390525"/>
                <a:gd name="connsiteY10" fmla="*/ 123833 h 133350"/>
                <a:gd name="connsiteX11" fmla="*/ 158401 w 390525"/>
                <a:gd name="connsiteY11" fmla="*/ 132406 h 133350"/>
                <a:gd name="connsiteX12" fmla="*/ 162497 w 390525"/>
                <a:gd name="connsiteY12" fmla="*/ 133358 h 133350"/>
                <a:gd name="connsiteX13" fmla="*/ 171069 w 390525"/>
                <a:gd name="connsiteY13" fmla="*/ 127929 h 133350"/>
                <a:gd name="connsiteX14" fmla="*/ 172022 w 390525"/>
                <a:gd name="connsiteY14" fmla="*/ 123833 h 133350"/>
                <a:gd name="connsiteX15" fmla="*/ 166592 w 390525"/>
                <a:gd name="connsiteY15" fmla="*/ 115166 h 133350"/>
                <a:gd name="connsiteX16" fmla="*/ 267748 w 390525"/>
                <a:gd name="connsiteY16" fmla="*/ 97640 h 133350"/>
                <a:gd name="connsiteX17" fmla="*/ 262414 w 390525"/>
                <a:gd name="connsiteY17" fmla="*/ 106307 h 133350"/>
                <a:gd name="connsiteX18" fmla="*/ 263271 w 390525"/>
                <a:gd name="connsiteY18" fmla="*/ 110403 h 133350"/>
                <a:gd name="connsiteX19" fmla="*/ 271939 w 390525"/>
                <a:gd name="connsiteY19" fmla="*/ 115832 h 133350"/>
                <a:gd name="connsiteX20" fmla="*/ 276035 w 390525"/>
                <a:gd name="connsiteY20" fmla="*/ 114880 h 133350"/>
                <a:gd name="connsiteX21" fmla="*/ 281464 w 390525"/>
                <a:gd name="connsiteY21" fmla="*/ 106307 h 133350"/>
                <a:gd name="connsiteX22" fmla="*/ 280511 w 390525"/>
                <a:gd name="connsiteY22" fmla="*/ 102116 h 133350"/>
                <a:gd name="connsiteX23" fmla="*/ 267748 w 390525"/>
                <a:gd name="connsiteY23" fmla="*/ 97640 h 133350"/>
                <a:gd name="connsiteX24" fmla="*/ 231362 w 390525"/>
                <a:gd name="connsiteY24" fmla="*/ 115166 h 133350"/>
                <a:gd name="connsiteX25" fmla="*/ 225933 w 390525"/>
                <a:gd name="connsiteY25" fmla="*/ 123738 h 133350"/>
                <a:gd name="connsiteX26" fmla="*/ 226886 w 390525"/>
                <a:gd name="connsiteY26" fmla="*/ 127929 h 133350"/>
                <a:gd name="connsiteX27" fmla="*/ 235458 w 390525"/>
                <a:gd name="connsiteY27" fmla="*/ 133263 h 133350"/>
                <a:gd name="connsiteX28" fmla="*/ 239554 w 390525"/>
                <a:gd name="connsiteY28" fmla="*/ 132406 h 133350"/>
                <a:gd name="connsiteX29" fmla="*/ 244983 w 390525"/>
                <a:gd name="connsiteY29" fmla="*/ 123738 h 133350"/>
                <a:gd name="connsiteX30" fmla="*/ 244031 w 390525"/>
                <a:gd name="connsiteY30" fmla="*/ 119642 h 133350"/>
                <a:gd name="connsiteX31" fmla="*/ 231362 w 390525"/>
                <a:gd name="connsiteY31" fmla="*/ 115166 h 133350"/>
                <a:gd name="connsiteX32" fmla="*/ 57245 w 390525"/>
                <a:gd name="connsiteY32" fmla="*/ 62683 h 133350"/>
                <a:gd name="connsiteX33" fmla="*/ 44482 w 390525"/>
                <a:gd name="connsiteY33" fmla="*/ 67160 h 133350"/>
                <a:gd name="connsiteX34" fmla="*/ 43625 w 390525"/>
                <a:gd name="connsiteY34" fmla="*/ 71255 h 133350"/>
                <a:gd name="connsiteX35" fmla="*/ 48959 w 390525"/>
                <a:gd name="connsiteY35" fmla="*/ 79828 h 133350"/>
                <a:gd name="connsiteX36" fmla="*/ 53054 w 390525"/>
                <a:gd name="connsiteY36" fmla="*/ 80780 h 133350"/>
                <a:gd name="connsiteX37" fmla="*/ 61722 w 390525"/>
                <a:gd name="connsiteY37" fmla="*/ 75446 h 133350"/>
                <a:gd name="connsiteX38" fmla="*/ 62675 w 390525"/>
                <a:gd name="connsiteY38" fmla="*/ 71255 h 133350"/>
                <a:gd name="connsiteX39" fmla="*/ 57245 w 390525"/>
                <a:gd name="connsiteY39" fmla="*/ 62683 h 133350"/>
                <a:gd name="connsiteX40" fmla="*/ 93726 w 390525"/>
                <a:gd name="connsiteY40" fmla="*/ 80209 h 133350"/>
                <a:gd name="connsiteX41" fmla="*/ 80963 w 390525"/>
                <a:gd name="connsiteY41" fmla="*/ 84686 h 133350"/>
                <a:gd name="connsiteX42" fmla="*/ 80010 w 390525"/>
                <a:gd name="connsiteY42" fmla="*/ 88781 h 133350"/>
                <a:gd name="connsiteX43" fmla="*/ 85439 w 390525"/>
                <a:gd name="connsiteY43" fmla="*/ 97354 h 133350"/>
                <a:gd name="connsiteX44" fmla="*/ 89535 w 390525"/>
                <a:gd name="connsiteY44" fmla="*/ 98306 h 133350"/>
                <a:gd name="connsiteX45" fmla="*/ 98203 w 390525"/>
                <a:gd name="connsiteY45" fmla="*/ 92877 h 133350"/>
                <a:gd name="connsiteX46" fmla="*/ 99060 w 390525"/>
                <a:gd name="connsiteY46" fmla="*/ 88781 h 133350"/>
                <a:gd name="connsiteX47" fmla="*/ 93726 w 390525"/>
                <a:gd name="connsiteY47" fmla="*/ 80209 h 133350"/>
                <a:gd name="connsiteX48" fmla="*/ 14764 w 390525"/>
                <a:gd name="connsiteY48" fmla="*/ 44395 h 133350"/>
                <a:gd name="connsiteX49" fmla="*/ 12954 w 390525"/>
                <a:gd name="connsiteY49" fmla="*/ 44966 h 133350"/>
                <a:gd name="connsiteX50" fmla="*/ 11335 w 390525"/>
                <a:gd name="connsiteY50" fmla="*/ 45824 h 133350"/>
                <a:gd name="connsiteX51" fmla="*/ 9906 w 390525"/>
                <a:gd name="connsiteY51" fmla="*/ 47062 h 133350"/>
                <a:gd name="connsiteX52" fmla="*/ 7811 w 390525"/>
                <a:gd name="connsiteY52" fmla="*/ 50110 h 133350"/>
                <a:gd name="connsiteX53" fmla="*/ 7144 w 390525"/>
                <a:gd name="connsiteY53" fmla="*/ 53729 h 133350"/>
                <a:gd name="connsiteX54" fmla="*/ 7811 w 390525"/>
                <a:gd name="connsiteY54" fmla="*/ 57444 h 133350"/>
                <a:gd name="connsiteX55" fmla="*/ 9906 w 390525"/>
                <a:gd name="connsiteY55" fmla="*/ 60492 h 133350"/>
                <a:gd name="connsiteX56" fmla="*/ 16669 w 390525"/>
                <a:gd name="connsiteY56" fmla="*/ 63254 h 133350"/>
                <a:gd name="connsiteX57" fmla="*/ 23336 w 390525"/>
                <a:gd name="connsiteY57" fmla="*/ 60492 h 133350"/>
                <a:gd name="connsiteX58" fmla="*/ 26194 w 390525"/>
                <a:gd name="connsiteY58" fmla="*/ 53729 h 133350"/>
                <a:gd name="connsiteX59" fmla="*/ 23336 w 390525"/>
                <a:gd name="connsiteY59" fmla="*/ 47062 h 133350"/>
                <a:gd name="connsiteX60" fmla="*/ 14764 w 390525"/>
                <a:gd name="connsiteY60" fmla="*/ 44395 h 133350"/>
                <a:gd name="connsiteX61" fmla="*/ 340709 w 390525"/>
                <a:gd name="connsiteY61" fmla="*/ 62683 h 133350"/>
                <a:gd name="connsiteX62" fmla="*/ 335280 w 390525"/>
                <a:gd name="connsiteY62" fmla="*/ 71255 h 133350"/>
                <a:gd name="connsiteX63" fmla="*/ 336233 w 390525"/>
                <a:gd name="connsiteY63" fmla="*/ 75351 h 133350"/>
                <a:gd name="connsiteX64" fmla="*/ 344900 w 390525"/>
                <a:gd name="connsiteY64" fmla="*/ 80780 h 133350"/>
                <a:gd name="connsiteX65" fmla="*/ 348996 w 390525"/>
                <a:gd name="connsiteY65" fmla="*/ 79828 h 133350"/>
                <a:gd name="connsiteX66" fmla="*/ 354330 w 390525"/>
                <a:gd name="connsiteY66" fmla="*/ 71255 h 133350"/>
                <a:gd name="connsiteX67" fmla="*/ 353473 w 390525"/>
                <a:gd name="connsiteY67" fmla="*/ 67160 h 133350"/>
                <a:gd name="connsiteX68" fmla="*/ 340709 w 390525"/>
                <a:gd name="connsiteY68" fmla="*/ 62683 h 133350"/>
                <a:gd name="connsiteX69" fmla="*/ 304229 w 390525"/>
                <a:gd name="connsiteY69" fmla="*/ 80209 h 133350"/>
                <a:gd name="connsiteX70" fmla="*/ 298800 w 390525"/>
                <a:gd name="connsiteY70" fmla="*/ 88781 h 133350"/>
                <a:gd name="connsiteX71" fmla="*/ 299752 w 390525"/>
                <a:gd name="connsiteY71" fmla="*/ 92877 h 133350"/>
                <a:gd name="connsiteX72" fmla="*/ 308420 w 390525"/>
                <a:gd name="connsiteY72" fmla="*/ 98306 h 133350"/>
                <a:gd name="connsiteX73" fmla="*/ 312516 w 390525"/>
                <a:gd name="connsiteY73" fmla="*/ 97354 h 133350"/>
                <a:gd name="connsiteX74" fmla="*/ 317850 w 390525"/>
                <a:gd name="connsiteY74" fmla="*/ 88781 h 133350"/>
                <a:gd name="connsiteX75" fmla="*/ 316992 w 390525"/>
                <a:gd name="connsiteY75" fmla="*/ 84686 h 133350"/>
                <a:gd name="connsiteX76" fmla="*/ 304229 w 390525"/>
                <a:gd name="connsiteY76" fmla="*/ 80209 h 133350"/>
                <a:gd name="connsiteX77" fmla="*/ 390811 w 390525"/>
                <a:gd name="connsiteY77" fmla="*/ 53539 h 133350"/>
                <a:gd name="connsiteX78" fmla="*/ 390525 w 390525"/>
                <a:gd name="connsiteY78" fmla="*/ 52205 h 133350"/>
                <a:gd name="connsiteX79" fmla="*/ 389954 w 390525"/>
                <a:gd name="connsiteY79" fmla="*/ 49824 h 133350"/>
                <a:gd name="connsiteX80" fmla="*/ 389954 w 390525"/>
                <a:gd name="connsiteY80" fmla="*/ 49634 h 133350"/>
                <a:gd name="connsiteX81" fmla="*/ 389001 w 390525"/>
                <a:gd name="connsiteY81" fmla="*/ 48395 h 133350"/>
                <a:gd name="connsiteX82" fmla="*/ 388144 w 390525"/>
                <a:gd name="connsiteY82" fmla="*/ 47062 h 133350"/>
                <a:gd name="connsiteX83" fmla="*/ 387953 w 390525"/>
                <a:gd name="connsiteY83" fmla="*/ 46967 h 133350"/>
                <a:gd name="connsiteX84" fmla="*/ 377857 w 390525"/>
                <a:gd name="connsiteY84" fmla="*/ 44966 h 133350"/>
                <a:gd name="connsiteX85" fmla="*/ 377666 w 390525"/>
                <a:gd name="connsiteY85" fmla="*/ 44966 h 133350"/>
                <a:gd name="connsiteX86" fmla="*/ 377190 w 390525"/>
                <a:gd name="connsiteY86" fmla="*/ 45157 h 133350"/>
                <a:gd name="connsiteX87" fmla="*/ 375571 w 390525"/>
                <a:gd name="connsiteY87" fmla="*/ 46395 h 133350"/>
                <a:gd name="connsiteX88" fmla="*/ 374523 w 390525"/>
                <a:gd name="connsiteY88" fmla="*/ 47062 h 133350"/>
                <a:gd name="connsiteX89" fmla="*/ 374333 w 390525"/>
                <a:gd name="connsiteY89" fmla="*/ 47252 h 133350"/>
                <a:gd name="connsiteX90" fmla="*/ 373380 w 390525"/>
                <a:gd name="connsiteY90" fmla="*/ 48776 h 133350"/>
                <a:gd name="connsiteX91" fmla="*/ 372428 w 390525"/>
                <a:gd name="connsiteY91" fmla="*/ 50396 h 133350"/>
                <a:gd name="connsiteX92" fmla="*/ 372047 w 390525"/>
                <a:gd name="connsiteY92" fmla="*/ 52110 h 133350"/>
                <a:gd name="connsiteX93" fmla="*/ 371666 w 390525"/>
                <a:gd name="connsiteY93" fmla="*/ 53729 h 133350"/>
                <a:gd name="connsiteX94" fmla="*/ 371666 w 390525"/>
                <a:gd name="connsiteY94" fmla="*/ 54015 h 133350"/>
                <a:gd name="connsiteX95" fmla="*/ 372047 w 390525"/>
                <a:gd name="connsiteY95" fmla="*/ 55730 h 133350"/>
                <a:gd name="connsiteX96" fmla="*/ 372523 w 390525"/>
                <a:gd name="connsiteY96" fmla="*/ 57539 h 133350"/>
                <a:gd name="connsiteX97" fmla="*/ 372523 w 390525"/>
                <a:gd name="connsiteY97" fmla="*/ 57825 h 133350"/>
                <a:gd name="connsiteX98" fmla="*/ 374142 w 390525"/>
                <a:gd name="connsiteY98" fmla="*/ 60206 h 133350"/>
                <a:gd name="connsiteX99" fmla="*/ 374333 w 390525"/>
                <a:gd name="connsiteY99" fmla="*/ 60397 h 133350"/>
                <a:gd name="connsiteX100" fmla="*/ 375000 w 390525"/>
                <a:gd name="connsiteY100" fmla="*/ 60873 h 133350"/>
                <a:gd name="connsiteX101" fmla="*/ 376809 w 390525"/>
                <a:gd name="connsiteY101" fmla="*/ 62111 h 133350"/>
                <a:gd name="connsiteX102" fmla="*/ 377476 w 390525"/>
                <a:gd name="connsiteY102" fmla="*/ 62492 h 133350"/>
                <a:gd name="connsiteX103" fmla="*/ 378047 w 390525"/>
                <a:gd name="connsiteY103" fmla="*/ 62588 h 133350"/>
                <a:gd name="connsiteX104" fmla="*/ 381095 w 390525"/>
                <a:gd name="connsiteY104" fmla="*/ 63159 h 133350"/>
                <a:gd name="connsiteX105" fmla="*/ 384715 w 390525"/>
                <a:gd name="connsiteY105" fmla="*/ 62492 h 133350"/>
                <a:gd name="connsiteX106" fmla="*/ 384905 w 390525"/>
                <a:gd name="connsiteY106" fmla="*/ 62397 h 133350"/>
                <a:gd name="connsiteX107" fmla="*/ 385382 w 390525"/>
                <a:gd name="connsiteY107" fmla="*/ 62397 h 133350"/>
                <a:gd name="connsiteX108" fmla="*/ 387287 w 390525"/>
                <a:gd name="connsiteY108" fmla="*/ 60968 h 133350"/>
                <a:gd name="connsiteX109" fmla="*/ 387953 w 390525"/>
                <a:gd name="connsiteY109" fmla="*/ 60492 h 133350"/>
                <a:gd name="connsiteX110" fmla="*/ 388049 w 390525"/>
                <a:gd name="connsiteY110" fmla="*/ 60302 h 133350"/>
                <a:gd name="connsiteX111" fmla="*/ 389287 w 390525"/>
                <a:gd name="connsiteY111" fmla="*/ 58397 h 133350"/>
                <a:gd name="connsiteX112" fmla="*/ 390049 w 390525"/>
                <a:gd name="connsiteY112" fmla="*/ 57158 h 133350"/>
                <a:gd name="connsiteX113" fmla="*/ 390430 w 390525"/>
                <a:gd name="connsiteY113" fmla="*/ 55253 h 133350"/>
                <a:gd name="connsiteX114" fmla="*/ 390716 w 390525"/>
                <a:gd name="connsiteY114" fmla="*/ 53729 h 133350"/>
                <a:gd name="connsiteX115" fmla="*/ 390716 w 390525"/>
                <a:gd name="connsiteY115" fmla="*/ 53539 h 133350"/>
                <a:gd name="connsiteX116" fmla="*/ 89154 w 390525"/>
                <a:gd name="connsiteY116" fmla="*/ 39728 h 133350"/>
                <a:gd name="connsiteX117" fmla="*/ 90107 w 390525"/>
                <a:gd name="connsiteY117" fmla="*/ 35632 h 133350"/>
                <a:gd name="connsiteX118" fmla="*/ 84677 w 390525"/>
                <a:gd name="connsiteY118" fmla="*/ 26964 h 133350"/>
                <a:gd name="connsiteX119" fmla="*/ 71914 w 390525"/>
                <a:gd name="connsiteY119" fmla="*/ 31441 h 133350"/>
                <a:gd name="connsiteX120" fmla="*/ 70961 w 390525"/>
                <a:gd name="connsiteY120" fmla="*/ 35632 h 133350"/>
                <a:gd name="connsiteX121" fmla="*/ 76391 w 390525"/>
                <a:gd name="connsiteY121" fmla="*/ 44204 h 133350"/>
                <a:gd name="connsiteX122" fmla="*/ 80486 w 390525"/>
                <a:gd name="connsiteY122" fmla="*/ 45157 h 133350"/>
                <a:gd name="connsiteX123" fmla="*/ 89154 w 390525"/>
                <a:gd name="connsiteY123" fmla="*/ 39728 h 133350"/>
                <a:gd name="connsiteX124" fmla="*/ 362141 w 390525"/>
                <a:gd name="connsiteY124" fmla="*/ 8771 h 133350"/>
                <a:gd name="connsiteX125" fmla="*/ 360521 w 390525"/>
                <a:gd name="connsiteY125" fmla="*/ 7819 h 133350"/>
                <a:gd name="connsiteX126" fmla="*/ 358712 w 390525"/>
                <a:gd name="connsiteY126" fmla="*/ 7343 h 133350"/>
                <a:gd name="connsiteX127" fmla="*/ 350139 w 390525"/>
                <a:gd name="connsiteY127" fmla="*/ 9914 h 133350"/>
                <a:gd name="connsiteX128" fmla="*/ 347377 w 390525"/>
                <a:gd name="connsiteY128" fmla="*/ 16677 h 133350"/>
                <a:gd name="connsiteX129" fmla="*/ 348139 w 390525"/>
                <a:gd name="connsiteY129" fmla="*/ 20297 h 133350"/>
                <a:gd name="connsiteX130" fmla="*/ 350139 w 390525"/>
                <a:gd name="connsiteY130" fmla="*/ 23440 h 133350"/>
                <a:gd name="connsiteX131" fmla="*/ 356902 w 390525"/>
                <a:gd name="connsiteY131" fmla="*/ 26202 h 133350"/>
                <a:gd name="connsiteX132" fmla="*/ 360521 w 390525"/>
                <a:gd name="connsiteY132" fmla="*/ 25440 h 133350"/>
                <a:gd name="connsiteX133" fmla="*/ 363569 w 390525"/>
                <a:gd name="connsiteY133" fmla="*/ 23440 h 133350"/>
                <a:gd name="connsiteX134" fmla="*/ 365665 w 390525"/>
                <a:gd name="connsiteY134" fmla="*/ 20297 h 133350"/>
                <a:gd name="connsiteX135" fmla="*/ 366427 w 390525"/>
                <a:gd name="connsiteY135" fmla="*/ 16677 h 133350"/>
                <a:gd name="connsiteX136" fmla="*/ 363569 w 390525"/>
                <a:gd name="connsiteY136" fmla="*/ 9914 h 133350"/>
                <a:gd name="connsiteX137" fmla="*/ 362141 w 390525"/>
                <a:gd name="connsiteY137" fmla="*/ 8771 h 133350"/>
                <a:gd name="connsiteX138" fmla="*/ 44672 w 390525"/>
                <a:gd name="connsiteY138" fmla="*/ 25440 h 133350"/>
                <a:gd name="connsiteX139" fmla="*/ 44958 w 390525"/>
                <a:gd name="connsiteY139" fmla="*/ 25250 h 133350"/>
                <a:gd name="connsiteX140" fmla="*/ 47625 w 390525"/>
                <a:gd name="connsiteY140" fmla="*/ 23535 h 133350"/>
                <a:gd name="connsiteX141" fmla="*/ 47911 w 390525"/>
                <a:gd name="connsiteY141" fmla="*/ 23345 h 133350"/>
                <a:gd name="connsiteX142" fmla="*/ 47911 w 390525"/>
                <a:gd name="connsiteY142" fmla="*/ 23345 h 133350"/>
                <a:gd name="connsiteX143" fmla="*/ 49625 w 390525"/>
                <a:gd name="connsiteY143" fmla="*/ 20773 h 133350"/>
                <a:gd name="connsiteX144" fmla="*/ 49625 w 390525"/>
                <a:gd name="connsiteY144" fmla="*/ 20487 h 133350"/>
                <a:gd name="connsiteX145" fmla="*/ 49721 w 390525"/>
                <a:gd name="connsiteY145" fmla="*/ 20297 h 133350"/>
                <a:gd name="connsiteX146" fmla="*/ 50102 w 390525"/>
                <a:gd name="connsiteY146" fmla="*/ 18677 h 133350"/>
                <a:gd name="connsiteX147" fmla="*/ 50483 w 390525"/>
                <a:gd name="connsiteY147" fmla="*/ 16963 h 133350"/>
                <a:gd name="connsiteX148" fmla="*/ 50483 w 390525"/>
                <a:gd name="connsiteY148" fmla="*/ 16772 h 133350"/>
                <a:gd name="connsiteX149" fmla="*/ 50292 w 390525"/>
                <a:gd name="connsiteY149" fmla="*/ 14867 h 133350"/>
                <a:gd name="connsiteX150" fmla="*/ 50006 w 390525"/>
                <a:gd name="connsiteY150" fmla="*/ 14010 h 133350"/>
                <a:gd name="connsiteX151" fmla="*/ 49816 w 390525"/>
                <a:gd name="connsiteY151" fmla="*/ 13343 h 133350"/>
                <a:gd name="connsiteX152" fmla="*/ 49816 w 390525"/>
                <a:gd name="connsiteY152" fmla="*/ 13343 h 133350"/>
                <a:gd name="connsiteX153" fmla="*/ 48959 w 390525"/>
                <a:gd name="connsiteY153" fmla="*/ 11534 h 133350"/>
                <a:gd name="connsiteX154" fmla="*/ 48197 w 390525"/>
                <a:gd name="connsiteY154" fmla="*/ 10581 h 133350"/>
                <a:gd name="connsiteX155" fmla="*/ 48101 w 390525"/>
                <a:gd name="connsiteY155" fmla="*/ 10581 h 133350"/>
                <a:gd name="connsiteX156" fmla="*/ 47816 w 390525"/>
                <a:gd name="connsiteY156" fmla="*/ 10105 h 133350"/>
                <a:gd name="connsiteX157" fmla="*/ 46196 w 390525"/>
                <a:gd name="connsiteY157" fmla="*/ 9057 h 133350"/>
                <a:gd name="connsiteX158" fmla="*/ 45149 w 390525"/>
                <a:gd name="connsiteY158" fmla="*/ 8295 h 133350"/>
                <a:gd name="connsiteX159" fmla="*/ 44863 w 390525"/>
                <a:gd name="connsiteY159" fmla="*/ 8295 h 133350"/>
                <a:gd name="connsiteX160" fmla="*/ 43815 w 390525"/>
                <a:gd name="connsiteY160" fmla="*/ 8009 h 133350"/>
                <a:gd name="connsiteX161" fmla="*/ 37529 w 390525"/>
                <a:gd name="connsiteY161" fmla="*/ 8105 h 133350"/>
                <a:gd name="connsiteX162" fmla="*/ 36671 w 390525"/>
                <a:gd name="connsiteY162" fmla="*/ 8581 h 133350"/>
                <a:gd name="connsiteX163" fmla="*/ 34671 w 390525"/>
                <a:gd name="connsiteY163" fmla="*/ 9914 h 133350"/>
                <a:gd name="connsiteX164" fmla="*/ 34385 w 390525"/>
                <a:gd name="connsiteY164" fmla="*/ 10105 h 133350"/>
                <a:gd name="connsiteX165" fmla="*/ 33528 w 390525"/>
                <a:gd name="connsiteY165" fmla="*/ 11534 h 133350"/>
                <a:gd name="connsiteX166" fmla="*/ 32576 w 390525"/>
                <a:gd name="connsiteY166" fmla="*/ 12772 h 133350"/>
                <a:gd name="connsiteX167" fmla="*/ 32576 w 390525"/>
                <a:gd name="connsiteY167" fmla="*/ 13058 h 133350"/>
                <a:gd name="connsiteX168" fmla="*/ 32099 w 390525"/>
                <a:gd name="connsiteY168" fmla="*/ 14772 h 133350"/>
                <a:gd name="connsiteX169" fmla="*/ 31718 w 390525"/>
                <a:gd name="connsiteY169" fmla="*/ 16677 h 133350"/>
                <a:gd name="connsiteX170" fmla="*/ 31718 w 390525"/>
                <a:gd name="connsiteY170" fmla="*/ 16963 h 133350"/>
                <a:gd name="connsiteX171" fmla="*/ 32004 w 390525"/>
                <a:gd name="connsiteY171" fmla="*/ 18392 h 133350"/>
                <a:gd name="connsiteX172" fmla="*/ 32385 w 390525"/>
                <a:gd name="connsiteY172" fmla="*/ 20392 h 133350"/>
                <a:gd name="connsiteX173" fmla="*/ 32385 w 390525"/>
                <a:gd name="connsiteY173" fmla="*/ 20582 h 133350"/>
                <a:gd name="connsiteX174" fmla="*/ 33147 w 390525"/>
                <a:gd name="connsiteY174" fmla="*/ 21725 h 133350"/>
                <a:gd name="connsiteX175" fmla="*/ 34290 w 390525"/>
                <a:gd name="connsiteY175" fmla="*/ 23440 h 133350"/>
                <a:gd name="connsiteX176" fmla="*/ 34385 w 390525"/>
                <a:gd name="connsiteY176" fmla="*/ 23630 h 133350"/>
                <a:gd name="connsiteX177" fmla="*/ 35909 w 390525"/>
                <a:gd name="connsiteY177" fmla="*/ 24678 h 133350"/>
                <a:gd name="connsiteX178" fmla="*/ 37052 w 390525"/>
                <a:gd name="connsiteY178" fmla="*/ 25535 h 133350"/>
                <a:gd name="connsiteX179" fmla="*/ 37338 w 390525"/>
                <a:gd name="connsiteY179" fmla="*/ 25631 h 133350"/>
                <a:gd name="connsiteX180" fmla="*/ 37814 w 390525"/>
                <a:gd name="connsiteY180" fmla="*/ 25821 h 133350"/>
                <a:gd name="connsiteX181" fmla="*/ 41148 w 390525"/>
                <a:gd name="connsiteY181" fmla="*/ 26488 h 133350"/>
                <a:gd name="connsiteX182" fmla="*/ 44577 w 390525"/>
                <a:gd name="connsiteY182" fmla="*/ 25821 h 133350"/>
                <a:gd name="connsiteX183" fmla="*/ 44768 w 390525"/>
                <a:gd name="connsiteY183" fmla="*/ 25821 h 133350"/>
                <a:gd name="connsiteX184" fmla="*/ 273749 w 390525"/>
                <a:gd name="connsiteY184" fmla="*/ 46014 h 133350"/>
                <a:gd name="connsiteX185" fmla="*/ 268415 w 390525"/>
                <a:gd name="connsiteY185" fmla="*/ 54587 h 133350"/>
                <a:gd name="connsiteX186" fmla="*/ 269367 w 390525"/>
                <a:gd name="connsiteY186" fmla="*/ 58682 h 133350"/>
                <a:gd name="connsiteX187" fmla="*/ 277940 w 390525"/>
                <a:gd name="connsiteY187" fmla="*/ 64112 h 133350"/>
                <a:gd name="connsiteX188" fmla="*/ 282035 w 390525"/>
                <a:gd name="connsiteY188" fmla="*/ 63159 h 133350"/>
                <a:gd name="connsiteX189" fmla="*/ 287465 w 390525"/>
                <a:gd name="connsiteY189" fmla="*/ 54587 h 133350"/>
                <a:gd name="connsiteX190" fmla="*/ 286512 w 390525"/>
                <a:gd name="connsiteY190" fmla="*/ 50396 h 133350"/>
                <a:gd name="connsiteX191" fmla="*/ 273749 w 390525"/>
                <a:gd name="connsiteY191" fmla="*/ 46014 h 133350"/>
                <a:gd name="connsiteX192" fmla="*/ 128588 w 390525"/>
                <a:gd name="connsiteY192" fmla="*/ 58682 h 133350"/>
                <a:gd name="connsiteX193" fmla="*/ 129540 w 390525"/>
                <a:gd name="connsiteY193" fmla="*/ 54587 h 133350"/>
                <a:gd name="connsiteX194" fmla="*/ 124111 w 390525"/>
                <a:gd name="connsiteY194" fmla="*/ 46014 h 133350"/>
                <a:gd name="connsiteX195" fmla="*/ 111443 w 390525"/>
                <a:gd name="connsiteY195" fmla="*/ 50396 h 133350"/>
                <a:gd name="connsiteX196" fmla="*/ 110490 w 390525"/>
                <a:gd name="connsiteY196" fmla="*/ 54587 h 133350"/>
                <a:gd name="connsiteX197" fmla="*/ 115919 w 390525"/>
                <a:gd name="connsiteY197" fmla="*/ 63159 h 133350"/>
                <a:gd name="connsiteX198" fmla="*/ 120015 w 390525"/>
                <a:gd name="connsiteY198" fmla="*/ 64112 h 133350"/>
                <a:gd name="connsiteX199" fmla="*/ 128588 w 390525"/>
                <a:gd name="connsiteY199" fmla="*/ 58682 h 133350"/>
                <a:gd name="connsiteX200" fmla="*/ 234315 w 390525"/>
                <a:gd name="connsiteY200" fmla="*/ 64874 h 133350"/>
                <a:gd name="connsiteX201" fmla="*/ 228886 w 390525"/>
                <a:gd name="connsiteY201" fmla="*/ 73541 h 133350"/>
                <a:gd name="connsiteX202" fmla="*/ 229838 w 390525"/>
                <a:gd name="connsiteY202" fmla="*/ 77637 h 133350"/>
                <a:gd name="connsiteX203" fmla="*/ 238506 w 390525"/>
                <a:gd name="connsiteY203" fmla="*/ 83066 h 133350"/>
                <a:gd name="connsiteX204" fmla="*/ 242602 w 390525"/>
                <a:gd name="connsiteY204" fmla="*/ 82114 h 133350"/>
                <a:gd name="connsiteX205" fmla="*/ 248031 w 390525"/>
                <a:gd name="connsiteY205" fmla="*/ 73541 h 133350"/>
                <a:gd name="connsiteX206" fmla="*/ 247079 w 390525"/>
                <a:gd name="connsiteY206" fmla="*/ 69350 h 133350"/>
                <a:gd name="connsiteX207" fmla="*/ 234315 w 390525"/>
                <a:gd name="connsiteY207" fmla="*/ 64874 h 133350"/>
                <a:gd name="connsiteX208" fmla="*/ 155353 w 390525"/>
                <a:gd name="connsiteY208" fmla="*/ 82114 h 133350"/>
                <a:gd name="connsiteX209" fmla="*/ 159449 w 390525"/>
                <a:gd name="connsiteY209" fmla="*/ 83066 h 133350"/>
                <a:gd name="connsiteX210" fmla="*/ 168116 w 390525"/>
                <a:gd name="connsiteY210" fmla="*/ 77637 h 133350"/>
                <a:gd name="connsiteX211" fmla="*/ 168974 w 390525"/>
                <a:gd name="connsiteY211" fmla="*/ 73541 h 133350"/>
                <a:gd name="connsiteX212" fmla="*/ 163640 w 390525"/>
                <a:gd name="connsiteY212" fmla="*/ 64874 h 133350"/>
                <a:gd name="connsiteX213" fmla="*/ 150876 w 390525"/>
                <a:gd name="connsiteY213" fmla="*/ 69350 h 133350"/>
                <a:gd name="connsiteX214" fmla="*/ 149924 w 390525"/>
                <a:gd name="connsiteY214" fmla="*/ 73541 h 133350"/>
                <a:gd name="connsiteX215" fmla="*/ 155353 w 390525"/>
                <a:gd name="connsiteY215" fmla="*/ 82114 h 133350"/>
                <a:gd name="connsiteX216" fmla="*/ 313277 w 390525"/>
                <a:gd name="connsiteY216" fmla="*/ 27059 h 133350"/>
                <a:gd name="connsiteX217" fmla="*/ 307848 w 390525"/>
                <a:gd name="connsiteY217" fmla="*/ 35632 h 133350"/>
                <a:gd name="connsiteX218" fmla="*/ 308801 w 390525"/>
                <a:gd name="connsiteY218" fmla="*/ 39728 h 133350"/>
                <a:gd name="connsiteX219" fmla="*/ 317468 w 390525"/>
                <a:gd name="connsiteY219" fmla="*/ 45157 h 133350"/>
                <a:gd name="connsiteX220" fmla="*/ 321564 w 390525"/>
                <a:gd name="connsiteY220" fmla="*/ 44204 h 133350"/>
                <a:gd name="connsiteX221" fmla="*/ 326898 w 390525"/>
                <a:gd name="connsiteY221" fmla="*/ 35632 h 133350"/>
                <a:gd name="connsiteX222" fmla="*/ 326041 w 390525"/>
                <a:gd name="connsiteY222" fmla="*/ 31441 h 133350"/>
                <a:gd name="connsiteX223" fmla="*/ 313277 w 390525"/>
                <a:gd name="connsiteY223" fmla="*/ 27059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390525" h="133350">
                  <a:moveTo>
                    <a:pt x="130112" y="97735"/>
                  </a:moveTo>
                  <a:cubicBezTo>
                    <a:pt x="125444" y="95449"/>
                    <a:pt x="119729" y="97449"/>
                    <a:pt x="117443" y="102116"/>
                  </a:cubicBezTo>
                  <a:cubicBezTo>
                    <a:pt x="116777" y="103450"/>
                    <a:pt x="116491" y="104879"/>
                    <a:pt x="116491" y="106307"/>
                  </a:cubicBezTo>
                  <a:cubicBezTo>
                    <a:pt x="116491" y="109832"/>
                    <a:pt x="118491" y="113261"/>
                    <a:pt x="121920" y="114880"/>
                  </a:cubicBezTo>
                  <a:cubicBezTo>
                    <a:pt x="123254" y="115451"/>
                    <a:pt x="124683" y="115832"/>
                    <a:pt x="126016" y="115832"/>
                  </a:cubicBezTo>
                  <a:cubicBezTo>
                    <a:pt x="129540" y="115832"/>
                    <a:pt x="132969" y="113832"/>
                    <a:pt x="134588" y="110403"/>
                  </a:cubicBezTo>
                  <a:cubicBezTo>
                    <a:pt x="135255" y="109070"/>
                    <a:pt x="135541" y="107641"/>
                    <a:pt x="135541" y="106307"/>
                  </a:cubicBezTo>
                  <a:cubicBezTo>
                    <a:pt x="135541" y="102783"/>
                    <a:pt x="133541" y="99354"/>
                    <a:pt x="130112" y="97735"/>
                  </a:cubicBezTo>
                  <a:close/>
                  <a:moveTo>
                    <a:pt x="166592" y="115166"/>
                  </a:moveTo>
                  <a:cubicBezTo>
                    <a:pt x="161925" y="112880"/>
                    <a:pt x="156210" y="114880"/>
                    <a:pt x="153924" y="119642"/>
                  </a:cubicBezTo>
                  <a:cubicBezTo>
                    <a:pt x="153258" y="120976"/>
                    <a:pt x="152972" y="122405"/>
                    <a:pt x="152972" y="123833"/>
                  </a:cubicBezTo>
                  <a:cubicBezTo>
                    <a:pt x="152972" y="127358"/>
                    <a:pt x="154972" y="130787"/>
                    <a:pt x="158401" y="132406"/>
                  </a:cubicBezTo>
                  <a:cubicBezTo>
                    <a:pt x="159734" y="132977"/>
                    <a:pt x="161068" y="133358"/>
                    <a:pt x="162497" y="133358"/>
                  </a:cubicBezTo>
                  <a:cubicBezTo>
                    <a:pt x="166021" y="133358"/>
                    <a:pt x="169450" y="131358"/>
                    <a:pt x="171069" y="127929"/>
                  </a:cubicBezTo>
                  <a:cubicBezTo>
                    <a:pt x="171736" y="126596"/>
                    <a:pt x="172022" y="125167"/>
                    <a:pt x="172022" y="123833"/>
                  </a:cubicBezTo>
                  <a:cubicBezTo>
                    <a:pt x="172022" y="120214"/>
                    <a:pt x="170021" y="116785"/>
                    <a:pt x="166592" y="115166"/>
                  </a:cubicBezTo>
                  <a:close/>
                  <a:moveTo>
                    <a:pt x="267748" y="97640"/>
                  </a:moveTo>
                  <a:cubicBezTo>
                    <a:pt x="264414" y="99354"/>
                    <a:pt x="262414" y="102688"/>
                    <a:pt x="262414" y="106307"/>
                  </a:cubicBezTo>
                  <a:cubicBezTo>
                    <a:pt x="262414" y="107641"/>
                    <a:pt x="262700" y="109070"/>
                    <a:pt x="263271" y="110403"/>
                  </a:cubicBezTo>
                  <a:cubicBezTo>
                    <a:pt x="264986" y="113832"/>
                    <a:pt x="268415" y="115832"/>
                    <a:pt x="271939" y="115832"/>
                  </a:cubicBezTo>
                  <a:cubicBezTo>
                    <a:pt x="273272" y="115832"/>
                    <a:pt x="274701" y="115451"/>
                    <a:pt x="276035" y="114880"/>
                  </a:cubicBezTo>
                  <a:cubicBezTo>
                    <a:pt x="279464" y="113261"/>
                    <a:pt x="281464" y="109832"/>
                    <a:pt x="281464" y="106307"/>
                  </a:cubicBezTo>
                  <a:cubicBezTo>
                    <a:pt x="281464" y="104879"/>
                    <a:pt x="281178" y="103450"/>
                    <a:pt x="280511" y="102116"/>
                  </a:cubicBezTo>
                  <a:cubicBezTo>
                    <a:pt x="278225" y="97449"/>
                    <a:pt x="272510" y="95449"/>
                    <a:pt x="267748" y="97640"/>
                  </a:cubicBezTo>
                  <a:close/>
                  <a:moveTo>
                    <a:pt x="231362" y="115166"/>
                  </a:moveTo>
                  <a:cubicBezTo>
                    <a:pt x="227933" y="116785"/>
                    <a:pt x="225933" y="120214"/>
                    <a:pt x="225933" y="123738"/>
                  </a:cubicBezTo>
                  <a:cubicBezTo>
                    <a:pt x="225933" y="125167"/>
                    <a:pt x="226219" y="126596"/>
                    <a:pt x="226886" y="127929"/>
                  </a:cubicBezTo>
                  <a:cubicBezTo>
                    <a:pt x="228505" y="131358"/>
                    <a:pt x="231934" y="133263"/>
                    <a:pt x="235458" y="133263"/>
                  </a:cubicBezTo>
                  <a:cubicBezTo>
                    <a:pt x="236887" y="133263"/>
                    <a:pt x="238220" y="132977"/>
                    <a:pt x="239554" y="132406"/>
                  </a:cubicBezTo>
                  <a:cubicBezTo>
                    <a:pt x="242983" y="130691"/>
                    <a:pt x="244983" y="127358"/>
                    <a:pt x="244983" y="123738"/>
                  </a:cubicBezTo>
                  <a:cubicBezTo>
                    <a:pt x="244983" y="122405"/>
                    <a:pt x="244697" y="120976"/>
                    <a:pt x="244031" y="119642"/>
                  </a:cubicBezTo>
                  <a:cubicBezTo>
                    <a:pt x="241745" y="114880"/>
                    <a:pt x="236030" y="112880"/>
                    <a:pt x="231362" y="115166"/>
                  </a:cubicBezTo>
                  <a:close/>
                  <a:moveTo>
                    <a:pt x="57245" y="62683"/>
                  </a:moveTo>
                  <a:cubicBezTo>
                    <a:pt x="52483" y="60397"/>
                    <a:pt x="46768" y="62397"/>
                    <a:pt x="44482" y="67160"/>
                  </a:cubicBezTo>
                  <a:cubicBezTo>
                    <a:pt x="43910" y="68493"/>
                    <a:pt x="43625" y="69922"/>
                    <a:pt x="43625" y="71255"/>
                  </a:cubicBezTo>
                  <a:cubicBezTo>
                    <a:pt x="43625" y="74780"/>
                    <a:pt x="45625" y="78209"/>
                    <a:pt x="48959" y="79828"/>
                  </a:cubicBezTo>
                  <a:cubicBezTo>
                    <a:pt x="50292" y="80495"/>
                    <a:pt x="51721" y="80780"/>
                    <a:pt x="53054" y="80780"/>
                  </a:cubicBezTo>
                  <a:cubicBezTo>
                    <a:pt x="56674" y="80780"/>
                    <a:pt x="60008" y="78780"/>
                    <a:pt x="61722" y="75446"/>
                  </a:cubicBezTo>
                  <a:cubicBezTo>
                    <a:pt x="62294" y="74018"/>
                    <a:pt x="62675" y="72684"/>
                    <a:pt x="62675" y="71255"/>
                  </a:cubicBezTo>
                  <a:cubicBezTo>
                    <a:pt x="62675" y="67731"/>
                    <a:pt x="60674" y="64302"/>
                    <a:pt x="57245" y="62683"/>
                  </a:cubicBezTo>
                  <a:close/>
                  <a:moveTo>
                    <a:pt x="93726" y="80209"/>
                  </a:moveTo>
                  <a:cubicBezTo>
                    <a:pt x="88964" y="77923"/>
                    <a:pt x="83249" y="79923"/>
                    <a:pt x="80963" y="84686"/>
                  </a:cubicBezTo>
                  <a:cubicBezTo>
                    <a:pt x="80391" y="86019"/>
                    <a:pt x="80010" y="87353"/>
                    <a:pt x="80010" y="88781"/>
                  </a:cubicBezTo>
                  <a:cubicBezTo>
                    <a:pt x="80010" y="92306"/>
                    <a:pt x="82010" y="95735"/>
                    <a:pt x="85439" y="97354"/>
                  </a:cubicBezTo>
                  <a:cubicBezTo>
                    <a:pt x="86773" y="98021"/>
                    <a:pt x="88202" y="98306"/>
                    <a:pt x="89535" y="98306"/>
                  </a:cubicBezTo>
                  <a:cubicBezTo>
                    <a:pt x="93155" y="98306"/>
                    <a:pt x="96488" y="96306"/>
                    <a:pt x="98203" y="92877"/>
                  </a:cubicBezTo>
                  <a:cubicBezTo>
                    <a:pt x="98774" y="91544"/>
                    <a:pt x="99060" y="90115"/>
                    <a:pt x="99060" y="88781"/>
                  </a:cubicBezTo>
                  <a:cubicBezTo>
                    <a:pt x="99060" y="85257"/>
                    <a:pt x="97155" y="81828"/>
                    <a:pt x="93726" y="80209"/>
                  </a:cubicBezTo>
                  <a:close/>
                  <a:moveTo>
                    <a:pt x="14764" y="44395"/>
                  </a:moveTo>
                  <a:cubicBezTo>
                    <a:pt x="14192" y="44585"/>
                    <a:pt x="13526" y="44776"/>
                    <a:pt x="12954" y="44966"/>
                  </a:cubicBezTo>
                  <a:cubicBezTo>
                    <a:pt x="12383" y="45252"/>
                    <a:pt x="11906" y="45538"/>
                    <a:pt x="11335" y="45824"/>
                  </a:cubicBezTo>
                  <a:cubicBezTo>
                    <a:pt x="10859" y="46205"/>
                    <a:pt x="10383" y="46586"/>
                    <a:pt x="9906" y="47062"/>
                  </a:cubicBezTo>
                  <a:cubicBezTo>
                    <a:pt x="9049" y="47919"/>
                    <a:pt x="8287" y="48967"/>
                    <a:pt x="7811" y="50110"/>
                  </a:cubicBezTo>
                  <a:cubicBezTo>
                    <a:pt x="7334" y="51253"/>
                    <a:pt x="7144" y="52491"/>
                    <a:pt x="7144" y="53729"/>
                  </a:cubicBezTo>
                  <a:cubicBezTo>
                    <a:pt x="7144" y="55063"/>
                    <a:pt x="7334" y="56206"/>
                    <a:pt x="7811" y="57444"/>
                  </a:cubicBezTo>
                  <a:cubicBezTo>
                    <a:pt x="8287" y="58587"/>
                    <a:pt x="9049" y="59635"/>
                    <a:pt x="9906" y="60492"/>
                  </a:cubicBezTo>
                  <a:cubicBezTo>
                    <a:pt x="11716" y="62302"/>
                    <a:pt x="14097" y="63254"/>
                    <a:pt x="16669" y="63254"/>
                  </a:cubicBezTo>
                  <a:cubicBezTo>
                    <a:pt x="19241" y="63254"/>
                    <a:pt x="21622" y="62302"/>
                    <a:pt x="23336" y="60492"/>
                  </a:cubicBezTo>
                  <a:cubicBezTo>
                    <a:pt x="25146" y="58682"/>
                    <a:pt x="26194" y="56301"/>
                    <a:pt x="26194" y="53729"/>
                  </a:cubicBezTo>
                  <a:cubicBezTo>
                    <a:pt x="26194" y="51158"/>
                    <a:pt x="25146" y="48776"/>
                    <a:pt x="23336" y="47062"/>
                  </a:cubicBezTo>
                  <a:cubicBezTo>
                    <a:pt x="21146" y="44776"/>
                    <a:pt x="17907" y="43823"/>
                    <a:pt x="14764" y="44395"/>
                  </a:cubicBezTo>
                  <a:close/>
                  <a:moveTo>
                    <a:pt x="340709" y="62683"/>
                  </a:moveTo>
                  <a:cubicBezTo>
                    <a:pt x="337280" y="64302"/>
                    <a:pt x="335280" y="67731"/>
                    <a:pt x="335280" y="71255"/>
                  </a:cubicBezTo>
                  <a:cubicBezTo>
                    <a:pt x="335280" y="72684"/>
                    <a:pt x="335661" y="74018"/>
                    <a:pt x="336233" y="75351"/>
                  </a:cubicBezTo>
                  <a:cubicBezTo>
                    <a:pt x="337852" y="78780"/>
                    <a:pt x="341281" y="80780"/>
                    <a:pt x="344900" y="80780"/>
                  </a:cubicBezTo>
                  <a:cubicBezTo>
                    <a:pt x="346234" y="80780"/>
                    <a:pt x="347663" y="80495"/>
                    <a:pt x="348996" y="79828"/>
                  </a:cubicBezTo>
                  <a:cubicBezTo>
                    <a:pt x="352330" y="78209"/>
                    <a:pt x="354330" y="74780"/>
                    <a:pt x="354330" y="71255"/>
                  </a:cubicBezTo>
                  <a:cubicBezTo>
                    <a:pt x="354330" y="69922"/>
                    <a:pt x="354044" y="68493"/>
                    <a:pt x="353473" y="67160"/>
                  </a:cubicBezTo>
                  <a:cubicBezTo>
                    <a:pt x="351187" y="62397"/>
                    <a:pt x="345472" y="60397"/>
                    <a:pt x="340709" y="62683"/>
                  </a:cubicBezTo>
                  <a:close/>
                  <a:moveTo>
                    <a:pt x="304229" y="80209"/>
                  </a:moveTo>
                  <a:cubicBezTo>
                    <a:pt x="300800" y="81828"/>
                    <a:pt x="298895" y="85257"/>
                    <a:pt x="298800" y="88781"/>
                  </a:cubicBezTo>
                  <a:cubicBezTo>
                    <a:pt x="298800" y="90115"/>
                    <a:pt x="299180" y="91544"/>
                    <a:pt x="299752" y="92877"/>
                  </a:cubicBezTo>
                  <a:cubicBezTo>
                    <a:pt x="301466" y="96306"/>
                    <a:pt x="304800" y="98306"/>
                    <a:pt x="308420" y="98306"/>
                  </a:cubicBezTo>
                  <a:cubicBezTo>
                    <a:pt x="309753" y="98306"/>
                    <a:pt x="311182" y="98021"/>
                    <a:pt x="312516" y="97354"/>
                  </a:cubicBezTo>
                  <a:cubicBezTo>
                    <a:pt x="315944" y="95735"/>
                    <a:pt x="317850" y="92306"/>
                    <a:pt x="317850" y="88781"/>
                  </a:cubicBezTo>
                  <a:cubicBezTo>
                    <a:pt x="317850" y="87353"/>
                    <a:pt x="317564" y="86019"/>
                    <a:pt x="316992" y="84686"/>
                  </a:cubicBezTo>
                  <a:cubicBezTo>
                    <a:pt x="314706" y="79923"/>
                    <a:pt x="308991" y="77923"/>
                    <a:pt x="304229" y="80209"/>
                  </a:cubicBezTo>
                  <a:close/>
                  <a:moveTo>
                    <a:pt x="390811" y="53539"/>
                  </a:moveTo>
                  <a:cubicBezTo>
                    <a:pt x="390811" y="53539"/>
                    <a:pt x="390620" y="52682"/>
                    <a:pt x="390525" y="52205"/>
                  </a:cubicBezTo>
                  <a:cubicBezTo>
                    <a:pt x="390430" y="51348"/>
                    <a:pt x="390239" y="50586"/>
                    <a:pt x="389954" y="49824"/>
                  </a:cubicBezTo>
                  <a:cubicBezTo>
                    <a:pt x="389954" y="49824"/>
                    <a:pt x="389954" y="49729"/>
                    <a:pt x="389954" y="49634"/>
                  </a:cubicBezTo>
                  <a:cubicBezTo>
                    <a:pt x="389763" y="49157"/>
                    <a:pt x="389287" y="48872"/>
                    <a:pt x="389001" y="48395"/>
                  </a:cubicBezTo>
                  <a:cubicBezTo>
                    <a:pt x="388716" y="47919"/>
                    <a:pt x="388525" y="47443"/>
                    <a:pt x="388144" y="47062"/>
                  </a:cubicBezTo>
                  <a:cubicBezTo>
                    <a:pt x="388144" y="47062"/>
                    <a:pt x="388049" y="47062"/>
                    <a:pt x="387953" y="46967"/>
                  </a:cubicBezTo>
                  <a:cubicBezTo>
                    <a:pt x="385382" y="44395"/>
                    <a:pt x="381381" y="43538"/>
                    <a:pt x="377857" y="44966"/>
                  </a:cubicBezTo>
                  <a:lnTo>
                    <a:pt x="377666" y="44966"/>
                  </a:lnTo>
                  <a:cubicBezTo>
                    <a:pt x="377666" y="44966"/>
                    <a:pt x="377381" y="44966"/>
                    <a:pt x="377190" y="45157"/>
                  </a:cubicBezTo>
                  <a:cubicBezTo>
                    <a:pt x="376524" y="45443"/>
                    <a:pt x="376047" y="46014"/>
                    <a:pt x="375571" y="46395"/>
                  </a:cubicBezTo>
                  <a:cubicBezTo>
                    <a:pt x="375285" y="46681"/>
                    <a:pt x="374809" y="46776"/>
                    <a:pt x="374523" y="47062"/>
                  </a:cubicBezTo>
                  <a:cubicBezTo>
                    <a:pt x="374523" y="47062"/>
                    <a:pt x="374523" y="47252"/>
                    <a:pt x="374333" y="47252"/>
                  </a:cubicBezTo>
                  <a:cubicBezTo>
                    <a:pt x="373952" y="47729"/>
                    <a:pt x="373666" y="48205"/>
                    <a:pt x="373380" y="48776"/>
                  </a:cubicBezTo>
                  <a:cubicBezTo>
                    <a:pt x="372999" y="49348"/>
                    <a:pt x="372713" y="49824"/>
                    <a:pt x="372428" y="50396"/>
                  </a:cubicBezTo>
                  <a:cubicBezTo>
                    <a:pt x="372237" y="50967"/>
                    <a:pt x="372142" y="51539"/>
                    <a:pt x="372047" y="52110"/>
                  </a:cubicBezTo>
                  <a:cubicBezTo>
                    <a:pt x="371951" y="52682"/>
                    <a:pt x="371666" y="53158"/>
                    <a:pt x="371666" y="53729"/>
                  </a:cubicBezTo>
                  <a:cubicBezTo>
                    <a:pt x="371666" y="53825"/>
                    <a:pt x="371666" y="53920"/>
                    <a:pt x="371666" y="54015"/>
                  </a:cubicBezTo>
                  <a:cubicBezTo>
                    <a:pt x="371666" y="54587"/>
                    <a:pt x="371856" y="55158"/>
                    <a:pt x="372047" y="55730"/>
                  </a:cubicBezTo>
                  <a:cubicBezTo>
                    <a:pt x="372142" y="56396"/>
                    <a:pt x="372237" y="56968"/>
                    <a:pt x="372523" y="57539"/>
                  </a:cubicBezTo>
                  <a:cubicBezTo>
                    <a:pt x="372523" y="57635"/>
                    <a:pt x="372523" y="57730"/>
                    <a:pt x="372523" y="57825"/>
                  </a:cubicBezTo>
                  <a:cubicBezTo>
                    <a:pt x="372999" y="58682"/>
                    <a:pt x="373571" y="59444"/>
                    <a:pt x="374142" y="60206"/>
                  </a:cubicBezTo>
                  <a:cubicBezTo>
                    <a:pt x="374142" y="60206"/>
                    <a:pt x="374142" y="60397"/>
                    <a:pt x="374333" y="60397"/>
                  </a:cubicBezTo>
                  <a:cubicBezTo>
                    <a:pt x="374523" y="60587"/>
                    <a:pt x="374809" y="60683"/>
                    <a:pt x="375000" y="60873"/>
                  </a:cubicBezTo>
                  <a:cubicBezTo>
                    <a:pt x="375571" y="61349"/>
                    <a:pt x="376142" y="61730"/>
                    <a:pt x="376809" y="62111"/>
                  </a:cubicBezTo>
                  <a:cubicBezTo>
                    <a:pt x="377000" y="62207"/>
                    <a:pt x="377190" y="62397"/>
                    <a:pt x="377476" y="62492"/>
                  </a:cubicBezTo>
                  <a:cubicBezTo>
                    <a:pt x="377666" y="62492"/>
                    <a:pt x="377857" y="62492"/>
                    <a:pt x="378047" y="62588"/>
                  </a:cubicBezTo>
                  <a:cubicBezTo>
                    <a:pt x="379000" y="62969"/>
                    <a:pt x="380048" y="63159"/>
                    <a:pt x="381095" y="63159"/>
                  </a:cubicBezTo>
                  <a:cubicBezTo>
                    <a:pt x="382334" y="63159"/>
                    <a:pt x="383572" y="62969"/>
                    <a:pt x="384715" y="62492"/>
                  </a:cubicBezTo>
                  <a:cubicBezTo>
                    <a:pt x="384715" y="62492"/>
                    <a:pt x="384715" y="62492"/>
                    <a:pt x="384905" y="62397"/>
                  </a:cubicBezTo>
                  <a:cubicBezTo>
                    <a:pt x="385001" y="62397"/>
                    <a:pt x="385191" y="62397"/>
                    <a:pt x="385382" y="62397"/>
                  </a:cubicBezTo>
                  <a:cubicBezTo>
                    <a:pt x="386144" y="62016"/>
                    <a:pt x="386620" y="61445"/>
                    <a:pt x="387287" y="60968"/>
                  </a:cubicBezTo>
                  <a:cubicBezTo>
                    <a:pt x="387477" y="60778"/>
                    <a:pt x="387763" y="60683"/>
                    <a:pt x="387953" y="60492"/>
                  </a:cubicBezTo>
                  <a:cubicBezTo>
                    <a:pt x="387953" y="60492"/>
                    <a:pt x="387953" y="60397"/>
                    <a:pt x="388049" y="60302"/>
                  </a:cubicBezTo>
                  <a:cubicBezTo>
                    <a:pt x="388620" y="59730"/>
                    <a:pt x="388906" y="59063"/>
                    <a:pt x="389287" y="58397"/>
                  </a:cubicBezTo>
                  <a:cubicBezTo>
                    <a:pt x="389573" y="57920"/>
                    <a:pt x="389858" y="57539"/>
                    <a:pt x="390049" y="57158"/>
                  </a:cubicBezTo>
                  <a:cubicBezTo>
                    <a:pt x="390239" y="56587"/>
                    <a:pt x="390335" y="55920"/>
                    <a:pt x="390430" y="55253"/>
                  </a:cubicBezTo>
                  <a:cubicBezTo>
                    <a:pt x="390430" y="54777"/>
                    <a:pt x="390716" y="54301"/>
                    <a:pt x="390716" y="53729"/>
                  </a:cubicBezTo>
                  <a:cubicBezTo>
                    <a:pt x="390716" y="53729"/>
                    <a:pt x="390716" y="53634"/>
                    <a:pt x="390716" y="53539"/>
                  </a:cubicBezTo>
                  <a:close/>
                  <a:moveTo>
                    <a:pt x="89154" y="39728"/>
                  </a:moveTo>
                  <a:cubicBezTo>
                    <a:pt x="89726" y="38394"/>
                    <a:pt x="90107" y="36965"/>
                    <a:pt x="90107" y="35632"/>
                  </a:cubicBezTo>
                  <a:cubicBezTo>
                    <a:pt x="90107" y="32108"/>
                    <a:pt x="88106" y="28679"/>
                    <a:pt x="84677" y="26964"/>
                  </a:cubicBezTo>
                  <a:cubicBezTo>
                    <a:pt x="79915" y="24773"/>
                    <a:pt x="74200" y="26774"/>
                    <a:pt x="71914" y="31441"/>
                  </a:cubicBezTo>
                  <a:cubicBezTo>
                    <a:pt x="71342" y="32774"/>
                    <a:pt x="70961" y="34203"/>
                    <a:pt x="70961" y="35632"/>
                  </a:cubicBezTo>
                  <a:cubicBezTo>
                    <a:pt x="70961" y="39156"/>
                    <a:pt x="72962" y="42585"/>
                    <a:pt x="76391" y="44204"/>
                  </a:cubicBezTo>
                  <a:cubicBezTo>
                    <a:pt x="77724" y="44871"/>
                    <a:pt x="79153" y="45157"/>
                    <a:pt x="80486" y="45157"/>
                  </a:cubicBezTo>
                  <a:cubicBezTo>
                    <a:pt x="84106" y="45157"/>
                    <a:pt x="87440" y="43157"/>
                    <a:pt x="89154" y="39728"/>
                  </a:cubicBezTo>
                  <a:close/>
                  <a:moveTo>
                    <a:pt x="362141" y="8771"/>
                  </a:moveTo>
                  <a:cubicBezTo>
                    <a:pt x="362141" y="8771"/>
                    <a:pt x="361093" y="8105"/>
                    <a:pt x="360521" y="7819"/>
                  </a:cubicBezTo>
                  <a:cubicBezTo>
                    <a:pt x="359950" y="7628"/>
                    <a:pt x="359378" y="7438"/>
                    <a:pt x="358712" y="7343"/>
                  </a:cubicBezTo>
                  <a:cubicBezTo>
                    <a:pt x="355664" y="6676"/>
                    <a:pt x="352330" y="7724"/>
                    <a:pt x="350139" y="9914"/>
                  </a:cubicBezTo>
                  <a:cubicBezTo>
                    <a:pt x="348425" y="11724"/>
                    <a:pt x="347377" y="14105"/>
                    <a:pt x="347377" y="16677"/>
                  </a:cubicBezTo>
                  <a:cubicBezTo>
                    <a:pt x="347377" y="17915"/>
                    <a:pt x="347567" y="19154"/>
                    <a:pt x="348139" y="20297"/>
                  </a:cubicBezTo>
                  <a:cubicBezTo>
                    <a:pt x="348615" y="21440"/>
                    <a:pt x="349282" y="22487"/>
                    <a:pt x="350139" y="23440"/>
                  </a:cubicBezTo>
                  <a:cubicBezTo>
                    <a:pt x="351949" y="25154"/>
                    <a:pt x="354330" y="26202"/>
                    <a:pt x="356902" y="26202"/>
                  </a:cubicBezTo>
                  <a:cubicBezTo>
                    <a:pt x="358140" y="26202"/>
                    <a:pt x="359378" y="25916"/>
                    <a:pt x="360521" y="25440"/>
                  </a:cubicBezTo>
                  <a:cubicBezTo>
                    <a:pt x="361664" y="24964"/>
                    <a:pt x="362712" y="24297"/>
                    <a:pt x="363569" y="23440"/>
                  </a:cubicBezTo>
                  <a:cubicBezTo>
                    <a:pt x="364522" y="22487"/>
                    <a:pt x="365189" y="21440"/>
                    <a:pt x="365665" y="20297"/>
                  </a:cubicBezTo>
                  <a:cubicBezTo>
                    <a:pt x="366141" y="19154"/>
                    <a:pt x="366427" y="17915"/>
                    <a:pt x="366427" y="16677"/>
                  </a:cubicBezTo>
                  <a:cubicBezTo>
                    <a:pt x="366427" y="14201"/>
                    <a:pt x="365379" y="11724"/>
                    <a:pt x="363569" y="9914"/>
                  </a:cubicBezTo>
                  <a:cubicBezTo>
                    <a:pt x="363188" y="9533"/>
                    <a:pt x="362712" y="9057"/>
                    <a:pt x="362141" y="8771"/>
                  </a:cubicBezTo>
                  <a:close/>
                  <a:moveTo>
                    <a:pt x="44672" y="25440"/>
                  </a:moveTo>
                  <a:cubicBezTo>
                    <a:pt x="44672" y="25440"/>
                    <a:pt x="44863" y="25345"/>
                    <a:pt x="44958" y="25250"/>
                  </a:cubicBezTo>
                  <a:cubicBezTo>
                    <a:pt x="45911" y="24773"/>
                    <a:pt x="46863" y="24202"/>
                    <a:pt x="47625" y="23535"/>
                  </a:cubicBezTo>
                  <a:cubicBezTo>
                    <a:pt x="47625" y="23535"/>
                    <a:pt x="47816" y="23535"/>
                    <a:pt x="47911" y="23345"/>
                  </a:cubicBezTo>
                  <a:lnTo>
                    <a:pt x="47911" y="23345"/>
                  </a:lnTo>
                  <a:cubicBezTo>
                    <a:pt x="48578" y="22487"/>
                    <a:pt x="49244" y="21725"/>
                    <a:pt x="49625" y="20773"/>
                  </a:cubicBezTo>
                  <a:cubicBezTo>
                    <a:pt x="49625" y="20678"/>
                    <a:pt x="49625" y="20582"/>
                    <a:pt x="49625" y="20487"/>
                  </a:cubicBezTo>
                  <a:cubicBezTo>
                    <a:pt x="49625" y="20487"/>
                    <a:pt x="49625" y="20392"/>
                    <a:pt x="49721" y="20297"/>
                  </a:cubicBezTo>
                  <a:cubicBezTo>
                    <a:pt x="49911" y="19820"/>
                    <a:pt x="49911" y="19154"/>
                    <a:pt x="50102" y="18677"/>
                  </a:cubicBezTo>
                  <a:cubicBezTo>
                    <a:pt x="50197" y="18106"/>
                    <a:pt x="50483" y="17534"/>
                    <a:pt x="50483" y="16963"/>
                  </a:cubicBezTo>
                  <a:cubicBezTo>
                    <a:pt x="50483" y="16963"/>
                    <a:pt x="50483" y="16772"/>
                    <a:pt x="50483" y="16772"/>
                  </a:cubicBezTo>
                  <a:cubicBezTo>
                    <a:pt x="50483" y="16106"/>
                    <a:pt x="50483" y="15534"/>
                    <a:pt x="50292" y="14867"/>
                  </a:cubicBezTo>
                  <a:cubicBezTo>
                    <a:pt x="50292" y="14582"/>
                    <a:pt x="50102" y="14296"/>
                    <a:pt x="50006" y="14010"/>
                  </a:cubicBezTo>
                  <a:cubicBezTo>
                    <a:pt x="50006" y="13820"/>
                    <a:pt x="49911" y="13534"/>
                    <a:pt x="49816" y="13343"/>
                  </a:cubicBezTo>
                  <a:lnTo>
                    <a:pt x="49816" y="13343"/>
                  </a:lnTo>
                  <a:cubicBezTo>
                    <a:pt x="49625" y="12677"/>
                    <a:pt x="49340" y="12105"/>
                    <a:pt x="48959" y="11534"/>
                  </a:cubicBezTo>
                  <a:lnTo>
                    <a:pt x="48197" y="10581"/>
                  </a:lnTo>
                  <a:lnTo>
                    <a:pt x="48101" y="10581"/>
                  </a:lnTo>
                  <a:lnTo>
                    <a:pt x="47816" y="10105"/>
                  </a:lnTo>
                  <a:cubicBezTo>
                    <a:pt x="47816" y="10105"/>
                    <a:pt x="46768" y="9438"/>
                    <a:pt x="46196" y="9057"/>
                  </a:cubicBezTo>
                  <a:cubicBezTo>
                    <a:pt x="45816" y="8867"/>
                    <a:pt x="45625" y="8486"/>
                    <a:pt x="45149" y="8295"/>
                  </a:cubicBezTo>
                  <a:cubicBezTo>
                    <a:pt x="45149" y="8295"/>
                    <a:pt x="44958" y="8295"/>
                    <a:pt x="44863" y="8295"/>
                  </a:cubicBezTo>
                  <a:cubicBezTo>
                    <a:pt x="44482" y="8200"/>
                    <a:pt x="44196" y="8105"/>
                    <a:pt x="43815" y="8009"/>
                  </a:cubicBezTo>
                  <a:cubicBezTo>
                    <a:pt x="41624" y="7343"/>
                    <a:pt x="39434" y="7343"/>
                    <a:pt x="37529" y="8105"/>
                  </a:cubicBezTo>
                  <a:cubicBezTo>
                    <a:pt x="37243" y="8200"/>
                    <a:pt x="36957" y="8486"/>
                    <a:pt x="36671" y="8581"/>
                  </a:cubicBezTo>
                  <a:cubicBezTo>
                    <a:pt x="35909" y="8962"/>
                    <a:pt x="35243" y="9343"/>
                    <a:pt x="34671" y="9914"/>
                  </a:cubicBezTo>
                  <a:cubicBezTo>
                    <a:pt x="34671" y="9914"/>
                    <a:pt x="34481" y="10010"/>
                    <a:pt x="34385" y="10105"/>
                  </a:cubicBezTo>
                  <a:cubicBezTo>
                    <a:pt x="34004" y="10486"/>
                    <a:pt x="33814" y="11057"/>
                    <a:pt x="33528" y="11534"/>
                  </a:cubicBezTo>
                  <a:cubicBezTo>
                    <a:pt x="33242" y="11915"/>
                    <a:pt x="32861" y="12296"/>
                    <a:pt x="32576" y="12772"/>
                  </a:cubicBezTo>
                  <a:cubicBezTo>
                    <a:pt x="32576" y="12867"/>
                    <a:pt x="32576" y="12962"/>
                    <a:pt x="32576" y="13058"/>
                  </a:cubicBezTo>
                  <a:cubicBezTo>
                    <a:pt x="32385" y="13629"/>
                    <a:pt x="32290" y="14201"/>
                    <a:pt x="32099" y="14772"/>
                  </a:cubicBezTo>
                  <a:cubicBezTo>
                    <a:pt x="31909" y="15439"/>
                    <a:pt x="31718" y="16010"/>
                    <a:pt x="31718" y="16677"/>
                  </a:cubicBezTo>
                  <a:cubicBezTo>
                    <a:pt x="31718" y="16677"/>
                    <a:pt x="31718" y="16868"/>
                    <a:pt x="31718" y="16963"/>
                  </a:cubicBezTo>
                  <a:cubicBezTo>
                    <a:pt x="31718" y="17439"/>
                    <a:pt x="31909" y="17915"/>
                    <a:pt x="32004" y="18392"/>
                  </a:cubicBezTo>
                  <a:cubicBezTo>
                    <a:pt x="32099" y="19058"/>
                    <a:pt x="32195" y="19725"/>
                    <a:pt x="32385" y="20392"/>
                  </a:cubicBezTo>
                  <a:cubicBezTo>
                    <a:pt x="32385" y="20392"/>
                    <a:pt x="32385" y="20487"/>
                    <a:pt x="32385" y="20582"/>
                  </a:cubicBezTo>
                  <a:cubicBezTo>
                    <a:pt x="32576" y="20963"/>
                    <a:pt x="32861" y="21344"/>
                    <a:pt x="33147" y="21725"/>
                  </a:cubicBezTo>
                  <a:cubicBezTo>
                    <a:pt x="33528" y="22297"/>
                    <a:pt x="33814" y="22964"/>
                    <a:pt x="34290" y="23440"/>
                  </a:cubicBezTo>
                  <a:cubicBezTo>
                    <a:pt x="34290" y="23440"/>
                    <a:pt x="34290" y="23630"/>
                    <a:pt x="34385" y="23630"/>
                  </a:cubicBezTo>
                  <a:cubicBezTo>
                    <a:pt x="34862" y="24107"/>
                    <a:pt x="35338" y="24297"/>
                    <a:pt x="35909" y="24678"/>
                  </a:cubicBezTo>
                  <a:cubicBezTo>
                    <a:pt x="36291" y="24964"/>
                    <a:pt x="36671" y="25345"/>
                    <a:pt x="37052" y="25535"/>
                  </a:cubicBezTo>
                  <a:cubicBezTo>
                    <a:pt x="37052" y="25535"/>
                    <a:pt x="37243" y="25535"/>
                    <a:pt x="37338" y="25631"/>
                  </a:cubicBezTo>
                  <a:cubicBezTo>
                    <a:pt x="37529" y="25631"/>
                    <a:pt x="37624" y="25726"/>
                    <a:pt x="37814" y="25821"/>
                  </a:cubicBezTo>
                  <a:cubicBezTo>
                    <a:pt x="38862" y="26297"/>
                    <a:pt x="40005" y="26488"/>
                    <a:pt x="41148" y="26488"/>
                  </a:cubicBezTo>
                  <a:cubicBezTo>
                    <a:pt x="42291" y="26488"/>
                    <a:pt x="43434" y="26202"/>
                    <a:pt x="44577" y="25821"/>
                  </a:cubicBezTo>
                  <a:cubicBezTo>
                    <a:pt x="44577" y="25821"/>
                    <a:pt x="44768" y="25821"/>
                    <a:pt x="44768" y="25821"/>
                  </a:cubicBezTo>
                  <a:close/>
                  <a:moveTo>
                    <a:pt x="273749" y="46014"/>
                  </a:moveTo>
                  <a:cubicBezTo>
                    <a:pt x="270415" y="47633"/>
                    <a:pt x="268415" y="50967"/>
                    <a:pt x="268415" y="54587"/>
                  </a:cubicBezTo>
                  <a:cubicBezTo>
                    <a:pt x="268415" y="55920"/>
                    <a:pt x="268700" y="57349"/>
                    <a:pt x="269367" y="58682"/>
                  </a:cubicBezTo>
                  <a:cubicBezTo>
                    <a:pt x="270986" y="62111"/>
                    <a:pt x="274416" y="64112"/>
                    <a:pt x="277940" y="64112"/>
                  </a:cubicBezTo>
                  <a:cubicBezTo>
                    <a:pt x="279368" y="64112"/>
                    <a:pt x="280702" y="63826"/>
                    <a:pt x="282035" y="63159"/>
                  </a:cubicBezTo>
                  <a:cubicBezTo>
                    <a:pt x="285464" y="61540"/>
                    <a:pt x="287465" y="58111"/>
                    <a:pt x="287465" y="54587"/>
                  </a:cubicBezTo>
                  <a:cubicBezTo>
                    <a:pt x="287465" y="53158"/>
                    <a:pt x="287179" y="51729"/>
                    <a:pt x="286512" y="50396"/>
                  </a:cubicBezTo>
                  <a:cubicBezTo>
                    <a:pt x="284226" y="45728"/>
                    <a:pt x="278511" y="43728"/>
                    <a:pt x="273749" y="46014"/>
                  </a:cubicBezTo>
                  <a:close/>
                  <a:moveTo>
                    <a:pt x="128588" y="58682"/>
                  </a:moveTo>
                  <a:cubicBezTo>
                    <a:pt x="129254" y="57349"/>
                    <a:pt x="129540" y="55920"/>
                    <a:pt x="129540" y="54587"/>
                  </a:cubicBezTo>
                  <a:cubicBezTo>
                    <a:pt x="129540" y="50967"/>
                    <a:pt x="127540" y="47633"/>
                    <a:pt x="124111" y="46014"/>
                  </a:cubicBezTo>
                  <a:cubicBezTo>
                    <a:pt x="119349" y="43728"/>
                    <a:pt x="113729" y="45728"/>
                    <a:pt x="111443" y="50396"/>
                  </a:cubicBezTo>
                  <a:cubicBezTo>
                    <a:pt x="110776" y="51729"/>
                    <a:pt x="110490" y="53158"/>
                    <a:pt x="110490" y="54587"/>
                  </a:cubicBezTo>
                  <a:cubicBezTo>
                    <a:pt x="110490" y="58111"/>
                    <a:pt x="112491" y="61540"/>
                    <a:pt x="115919" y="63159"/>
                  </a:cubicBezTo>
                  <a:cubicBezTo>
                    <a:pt x="117253" y="63826"/>
                    <a:pt x="118586" y="64112"/>
                    <a:pt x="120015" y="64112"/>
                  </a:cubicBezTo>
                  <a:cubicBezTo>
                    <a:pt x="123539" y="64112"/>
                    <a:pt x="126968" y="62111"/>
                    <a:pt x="128588" y="58682"/>
                  </a:cubicBezTo>
                  <a:close/>
                  <a:moveTo>
                    <a:pt x="234315" y="64874"/>
                  </a:moveTo>
                  <a:cubicBezTo>
                    <a:pt x="230886" y="66588"/>
                    <a:pt x="228981" y="69922"/>
                    <a:pt x="228886" y="73541"/>
                  </a:cubicBezTo>
                  <a:cubicBezTo>
                    <a:pt x="228886" y="74875"/>
                    <a:pt x="229267" y="76304"/>
                    <a:pt x="229838" y="77637"/>
                  </a:cubicBezTo>
                  <a:cubicBezTo>
                    <a:pt x="231458" y="81066"/>
                    <a:pt x="234887" y="83066"/>
                    <a:pt x="238506" y="83066"/>
                  </a:cubicBezTo>
                  <a:cubicBezTo>
                    <a:pt x="239840" y="83066"/>
                    <a:pt x="241268" y="82781"/>
                    <a:pt x="242602" y="82114"/>
                  </a:cubicBezTo>
                  <a:cubicBezTo>
                    <a:pt x="245936" y="80495"/>
                    <a:pt x="247936" y="77066"/>
                    <a:pt x="248031" y="73541"/>
                  </a:cubicBezTo>
                  <a:cubicBezTo>
                    <a:pt x="248031" y="72113"/>
                    <a:pt x="247650" y="70684"/>
                    <a:pt x="247079" y="69350"/>
                  </a:cubicBezTo>
                  <a:cubicBezTo>
                    <a:pt x="244793" y="64683"/>
                    <a:pt x="239078" y="62683"/>
                    <a:pt x="234315" y="64874"/>
                  </a:cubicBezTo>
                  <a:close/>
                  <a:moveTo>
                    <a:pt x="155353" y="82114"/>
                  </a:moveTo>
                  <a:cubicBezTo>
                    <a:pt x="156686" y="82781"/>
                    <a:pt x="158115" y="83066"/>
                    <a:pt x="159449" y="83066"/>
                  </a:cubicBezTo>
                  <a:cubicBezTo>
                    <a:pt x="163068" y="83066"/>
                    <a:pt x="166402" y="81066"/>
                    <a:pt x="168116" y="77637"/>
                  </a:cubicBezTo>
                  <a:cubicBezTo>
                    <a:pt x="168688" y="76304"/>
                    <a:pt x="168974" y="74875"/>
                    <a:pt x="168974" y="73541"/>
                  </a:cubicBezTo>
                  <a:cubicBezTo>
                    <a:pt x="168974" y="69922"/>
                    <a:pt x="166974" y="66588"/>
                    <a:pt x="163640" y="64874"/>
                  </a:cubicBezTo>
                  <a:cubicBezTo>
                    <a:pt x="158877" y="62683"/>
                    <a:pt x="153162" y="64683"/>
                    <a:pt x="150876" y="69350"/>
                  </a:cubicBezTo>
                  <a:cubicBezTo>
                    <a:pt x="150305" y="70684"/>
                    <a:pt x="149924" y="72113"/>
                    <a:pt x="149924" y="73541"/>
                  </a:cubicBezTo>
                  <a:cubicBezTo>
                    <a:pt x="149924" y="77066"/>
                    <a:pt x="151924" y="80495"/>
                    <a:pt x="155353" y="82114"/>
                  </a:cubicBezTo>
                  <a:close/>
                  <a:moveTo>
                    <a:pt x="313277" y="27059"/>
                  </a:moveTo>
                  <a:cubicBezTo>
                    <a:pt x="309849" y="28679"/>
                    <a:pt x="307848" y="32012"/>
                    <a:pt x="307848" y="35632"/>
                  </a:cubicBezTo>
                  <a:cubicBezTo>
                    <a:pt x="307848" y="36965"/>
                    <a:pt x="308134" y="38394"/>
                    <a:pt x="308801" y="39728"/>
                  </a:cubicBezTo>
                  <a:cubicBezTo>
                    <a:pt x="310420" y="43157"/>
                    <a:pt x="313849" y="45157"/>
                    <a:pt x="317468" y="45157"/>
                  </a:cubicBezTo>
                  <a:cubicBezTo>
                    <a:pt x="318802" y="45157"/>
                    <a:pt x="320231" y="44871"/>
                    <a:pt x="321564" y="44204"/>
                  </a:cubicBezTo>
                  <a:cubicBezTo>
                    <a:pt x="324898" y="42585"/>
                    <a:pt x="326898" y="39156"/>
                    <a:pt x="326898" y="35632"/>
                  </a:cubicBezTo>
                  <a:cubicBezTo>
                    <a:pt x="326898" y="34203"/>
                    <a:pt x="326612" y="32774"/>
                    <a:pt x="326041" y="31441"/>
                  </a:cubicBezTo>
                  <a:cubicBezTo>
                    <a:pt x="323755" y="26774"/>
                    <a:pt x="318040" y="24773"/>
                    <a:pt x="313277" y="270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05D62CE-E6EF-400B-97DA-849E2E6E58DE}"/>
                </a:ext>
              </a:extLst>
            </p:cNvPr>
            <p:cNvSpPr/>
            <p:nvPr/>
          </p:nvSpPr>
          <p:spPr>
            <a:xfrm>
              <a:off x="4639398" y="2035969"/>
              <a:ext cx="238125" cy="238125"/>
            </a:xfrm>
            <a:custGeom>
              <a:avLst/>
              <a:gdLst>
                <a:gd name="connsiteX0" fmla="*/ 234196 w 238125"/>
                <a:gd name="connsiteY0" fmla="*/ 170497 h 238125"/>
                <a:gd name="connsiteX1" fmla="*/ 129421 w 238125"/>
                <a:gd name="connsiteY1" fmla="*/ 11144 h 238125"/>
                <a:gd name="connsiteX2" fmla="*/ 113514 w 238125"/>
                <a:gd name="connsiteY2" fmla="*/ 11144 h 238125"/>
                <a:gd name="connsiteX3" fmla="*/ 8739 w 238125"/>
                <a:gd name="connsiteY3" fmla="*/ 170497 h 238125"/>
                <a:gd name="connsiteX4" fmla="*/ 7501 w 238125"/>
                <a:gd name="connsiteY4" fmla="*/ 178308 h 238125"/>
                <a:gd name="connsiteX5" fmla="*/ 12549 w 238125"/>
                <a:gd name="connsiteY5" fmla="*/ 184309 h 238125"/>
                <a:gd name="connsiteX6" fmla="*/ 117324 w 238125"/>
                <a:gd name="connsiteY6" fmla="*/ 234601 h 238125"/>
                <a:gd name="connsiteX7" fmla="*/ 121420 w 238125"/>
                <a:gd name="connsiteY7" fmla="*/ 235553 h 238125"/>
                <a:gd name="connsiteX8" fmla="*/ 125516 w 238125"/>
                <a:gd name="connsiteY8" fmla="*/ 234601 h 238125"/>
                <a:gd name="connsiteX9" fmla="*/ 230291 w 238125"/>
                <a:gd name="connsiteY9" fmla="*/ 184309 h 238125"/>
                <a:gd name="connsiteX10" fmla="*/ 235339 w 238125"/>
                <a:gd name="connsiteY10" fmla="*/ 178308 h 238125"/>
                <a:gd name="connsiteX11" fmla="*/ 234101 w 238125"/>
                <a:gd name="connsiteY11" fmla="*/ 170497 h 238125"/>
                <a:gd name="connsiteX12" fmla="*/ 111990 w 238125"/>
                <a:gd name="connsiteY12" fmla="*/ 48196 h 238125"/>
                <a:gd name="connsiteX13" fmla="*/ 111990 w 238125"/>
                <a:gd name="connsiteY13" fmla="*/ 210884 h 238125"/>
                <a:gd name="connsiteX14" fmla="*/ 30647 w 238125"/>
                <a:gd name="connsiteY14" fmla="*/ 171831 h 238125"/>
                <a:gd name="connsiteX15" fmla="*/ 111990 w 238125"/>
                <a:gd name="connsiteY15" fmla="*/ 48196 h 238125"/>
                <a:gd name="connsiteX16" fmla="*/ 131040 w 238125"/>
                <a:gd name="connsiteY16" fmla="*/ 210884 h 238125"/>
                <a:gd name="connsiteX17" fmla="*/ 131040 w 238125"/>
                <a:gd name="connsiteY17" fmla="*/ 48196 h 238125"/>
                <a:gd name="connsiteX18" fmla="*/ 212384 w 238125"/>
                <a:gd name="connsiteY18" fmla="*/ 171831 h 238125"/>
                <a:gd name="connsiteX19" fmla="*/ 131040 w 238125"/>
                <a:gd name="connsiteY19" fmla="*/ 210884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38125" h="238125">
                  <a:moveTo>
                    <a:pt x="234196" y="170497"/>
                  </a:moveTo>
                  <a:lnTo>
                    <a:pt x="129421" y="11144"/>
                  </a:lnTo>
                  <a:cubicBezTo>
                    <a:pt x="125897" y="5810"/>
                    <a:pt x="117039" y="5810"/>
                    <a:pt x="113514" y="11144"/>
                  </a:cubicBezTo>
                  <a:lnTo>
                    <a:pt x="8739" y="170497"/>
                  </a:lnTo>
                  <a:cubicBezTo>
                    <a:pt x="7215" y="172784"/>
                    <a:pt x="6739" y="175641"/>
                    <a:pt x="7501" y="178308"/>
                  </a:cubicBezTo>
                  <a:cubicBezTo>
                    <a:pt x="8263" y="180975"/>
                    <a:pt x="10073" y="183166"/>
                    <a:pt x="12549" y="184309"/>
                  </a:cubicBezTo>
                  <a:lnTo>
                    <a:pt x="117324" y="234601"/>
                  </a:lnTo>
                  <a:cubicBezTo>
                    <a:pt x="118658" y="235267"/>
                    <a:pt x="119991" y="235553"/>
                    <a:pt x="121420" y="235553"/>
                  </a:cubicBezTo>
                  <a:cubicBezTo>
                    <a:pt x="122849" y="235553"/>
                    <a:pt x="124278" y="235267"/>
                    <a:pt x="125516" y="234601"/>
                  </a:cubicBezTo>
                  <a:lnTo>
                    <a:pt x="230291" y="184309"/>
                  </a:lnTo>
                  <a:cubicBezTo>
                    <a:pt x="232767" y="183071"/>
                    <a:pt x="234577" y="180880"/>
                    <a:pt x="235339" y="178308"/>
                  </a:cubicBezTo>
                  <a:cubicBezTo>
                    <a:pt x="236101" y="175641"/>
                    <a:pt x="235625" y="172784"/>
                    <a:pt x="234101" y="170497"/>
                  </a:cubicBezTo>
                  <a:close/>
                  <a:moveTo>
                    <a:pt x="111990" y="48196"/>
                  </a:moveTo>
                  <a:lnTo>
                    <a:pt x="111990" y="210884"/>
                  </a:lnTo>
                  <a:lnTo>
                    <a:pt x="30647" y="171831"/>
                  </a:lnTo>
                  <a:lnTo>
                    <a:pt x="111990" y="48196"/>
                  </a:lnTo>
                  <a:close/>
                  <a:moveTo>
                    <a:pt x="131040" y="210884"/>
                  </a:moveTo>
                  <a:lnTo>
                    <a:pt x="131040" y="48196"/>
                  </a:lnTo>
                  <a:lnTo>
                    <a:pt x="212384" y="171831"/>
                  </a:lnTo>
                  <a:lnTo>
                    <a:pt x="131040" y="21088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A684D95F-3C68-4E42-B615-D930CD43CFB4}"/>
              </a:ext>
            </a:extLst>
          </p:cNvPr>
          <p:cNvSpPr/>
          <p:nvPr/>
        </p:nvSpPr>
        <p:spPr>
          <a:xfrm>
            <a:off x="431998" y="2089484"/>
            <a:ext cx="11317089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solidFill>
                  <a:schemeClr val="tx2"/>
                </a:solidFill>
              </a:rPr>
              <a:t>Классик "</a:t>
            </a:r>
            <a:r>
              <a:rPr lang="ru-RU" dirty="0" err="1">
                <a:solidFill>
                  <a:schemeClr val="tx2"/>
                </a:solidFill>
              </a:rPr>
              <a:t>учбурчак</a:t>
            </a:r>
            <a:r>
              <a:rPr lang="ru-RU" dirty="0">
                <a:solidFill>
                  <a:schemeClr val="tx2"/>
                </a:solidFill>
              </a:rPr>
              <a:t>" модели </a:t>
            </a:r>
            <a:r>
              <a:rPr lang="ru-RU" dirty="0" err="1">
                <a:solidFill>
                  <a:schemeClr val="tx2"/>
                </a:solidFill>
              </a:rPr>
              <a:t>сўнгги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йилларда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юқори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маошли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раҳбарлар</a:t>
            </a:r>
            <a:r>
              <a:rPr lang="ru-RU" dirty="0">
                <a:solidFill>
                  <a:schemeClr val="tx2"/>
                </a:solidFill>
              </a:rPr>
              <a:t>/</a:t>
            </a:r>
            <a:r>
              <a:rPr lang="ru-RU" dirty="0" err="1">
                <a:solidFill>
                  <a:schemeClr val="tx2"/>
                </a:solidFill>
              </a:rPr>
              <a:t>давлат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хизматчилари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ўзларининг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иш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ҳақидан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ўн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баравар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кам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миқдордаги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қоидабузарликларни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содир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этган</a:t>
            </a:r>
            <a:r>
              <a:rPr lang="ru-RU" dirty="0">
                <a:solidFill>
                  <a:schemeClr val="tx2"/>
                </a:solidFill>
              </a:rPr>
              <a:t> (</a:t>
            </a:r>
            <a:r>
              <a:rPr lang="ru-RU" dirty="0" err="1">
                <a:solidFill>
                  <a:schemeClr val="tx2"/>
                </a:solidFill>
              </a:rPr>
              <a:t>яъни</a:t>
            </a:r>
            <a:r>
              <a:rPr lang="ru-RU" dirty="0">
                <a:solidFill>
                  <a:schemeClr val="tx2"/>
                </a:solidFill>
              </a:rPr>
              <a:t>, </a:t>
            </a:r>
            <a:r>
              <a:rPr lang="ru-RU" dirty="0" err="1">
                <a:solidFill>
                  <a:schemeClr val="tx2"/>
                </a:solidFill>
              </a:rPr>
              <a:t>босим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омили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бўлмаган</a:t>
            </a:r>
            <a:r>
              <a:rPr lang="ru-RU" dirty="0">
                <a:solidFill>
                  <a:schemeClr val="tx2"/>
                </a:solidFill>
              </a:rPr>
              <a:t>) </a:t>
            </a:r>
            <a:r>
              <a:rPr lang="ru-RU" dirty="0" err="1">
                <a:solidFill>
                  <a:schemeClr val="tx2"/>
                </a:solidFill>
              </a:rPr>
              <a:t>кўп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сонли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қонунбузарликларни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тушунтиришга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қодир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эмас</a:t>
            </a:r>
            <a:r>
              <a:rPr lang="ru-RU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2" name="Freeform 6">
            <a:extLst>
              <a:ext uri="{FF2B5EF4-FFF2-40B4-BE49-F238E27FC236}">
                <a16:creationId xmlns:a16="http://schemas.microsoft.com/office/drawing/2014/main" id="{B4E44AD9-42BD-40AA-B4EB-50F836E8708B}"/>
              </a:ext>
            </a:extLst>
          </p:cNvPr>
          <p:cNvSpPr>
            <a:spLocks noChangeAspect="1"/>
          </p:cNvSpPr>
          <p:nvPr/>
        </p:nvSpPr>
        <p:spPr bwMode="gray">
          <a:xfrm>
            <a:off x="431998" y="3068419"/>
            <a:ext cx="4358081" cy="3364131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rgbClr val="49A9F6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964477F-68ED-4F7A-B8EE-DE7CF38B945F}"/>
              </a:ext>
            </a:extLst>
          </p:cNvPr>
          <p:cNvSpPr txBox="1"/>
          <p:nvPr/>
        </p:nvSpPr>
        <p:spPr>
          <a:xfrm>
            <a:off x="1261273" y="4287206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000" dirty="0"/>
          </a:p>
        </p:txBody>
      </p:sp>
      <p:sp>
        <p:nvSpPr>
          <p:cNvPr id="14" name="Freeform 6">
            <a:extLst>
              <a:ext uri="{FF2B5EF4-FFF2-40B4-BE49-F238E27FC236}">
                <a16:creationId xmlns:a16="http://schemas.microsoft.com/office/drawing/2014/main" id="{465AEE88-0B81-4DBC-8941-185178626507}"/>
              </a:ext>
            </a:extLst>
          </p:cNvPr>
          <p:cNvSpPr>
            <a:spLocks noChangeAspect="1"/>
          </p:cNvSpPr>
          <p:nvPr/>
        </p:nvSpPr>
        <p:spPr bwMode="gray">
          <a:xfrm>
            <a:off x="1672127" y="3325770"/>
            <a:ext cx="1877825" cy="1449550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rgbClr val="1BD7D3"/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5" name="Freeform 6">
            <a:extLst>
              <a:ext uri="{FF2B5EF4-FFF2-40B4-BE49-F238E27FC236}">
                <a16:creationId xmlns:a16="http://schemas.microsoft.com/office/drawing/2014/main" id="{DD6F80AE-55A3-4E49-AC6B-633F73C45D78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1661302" y="4826946"/>
            <a:ext cx="1899477" cy="1466262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6" name="Freeform 6">
            <a:extLst>
              <a:ext uri="{FF2B5EF4-FFF2-40B4-BE49-F238E27FC236}">
                <a16:creationId xmlns:a16="http://schemas.microsoft.com/office/drawing/2014/main" id="{890412DA-9803-4491-8FB1-51DB2523EBA5}"/>
              </a:ext>
            </a:extLst>
          </p:cNvPr>
          <p:cNvSpPr>
            <a:spLocks noChangeAspect="1"/>
          </p:cNvSpPr>
          <p:nvPr/>
        </p:nvSpPr>
        <p:spPr bwMode="gray">
          <a:xfrm>
            <a:off x="2662292" y="4826946"/>
            <a:ext cx="1899477" cy="1466262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rgbClr val="1BD7D3"/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BD003A6E-B71E-4F65-996F-39BD78B1FFDF}"/>
              </a:ext>
            </a:extLst>
          </p:cNvPr>
          <p:cNvSpPr>
            <a:spLocks noChangeAspect="1"/>
          </p:cNvSpPr>
          <p:nvPr/>
        </p:nvSpPr>
        <p:spPr bwMode="gray">
          <a:xfrm>
            <a:off x="667424" y="4826946"/>
            <a:ext cx="1899477" cy="1466262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rgbClr val="1BD7D3"/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18" name="Text Box 8">
            <a:extLst>
              <a:ext uri="{FF2B5EF4-FFF2-40B4-BE49-F238E27FC236}">
                <a16:creationId xmlns:a16="http://schemas.microsoft.com/office/drawing/2014/main" id="{08CD2176-1A75-4C9B-9AC0-35F4B79C0DA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661306" y="4115505"/>
            <a:ext cx="1930185" cy="50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488" tIns="67488" rIns="53991" bIns="67488">
            <a:spAutoFit/>
          </a:bodyPr>
          <a:lstStyle/>
          <a:p>
            <a:pPr algn="ctr" defTabSz="601281"/>
            <a:r>
              <a:rPr lang="ru-RU" sz="1200" b="1" dirty="0">
                <a:solidFill>
                  <a:prstClr val="white"/>
                </a:solidFill>
                <a:cs typeface="Arial" charset="0"/>
              </a:rPr>
              <a:t>Мотив/ </a:t>
            </a:r>
          </a:p>
          <a:p>
            <a:pPr algn="ctr" defTabSz="601281">
              <a:spcAft>
                <a:spcPts val="225"/>
              </a:spcAft>
            </a:pPr>
            <a:r>
              <a:rPr lang="ru-RU" sz="1200" b="1" dirty="0" err="1">
                <a:solidFill>
                  <a:prstClr val="white"/>
                </a:solidFill>
                <a:cs typeface="Arial" charset="0"/>
              </a:rPr>
              <a:t>Босим</a:t>
            </a:r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19" name="Text Box 16">
            <a:extLst>
              <a:ext uri="{FF2B5EF4-FFF2-40B4-BE49-F238E27FC236}">
                <a16:creationId xmlns:a16="http://schemas.microsoft.com/office/drawing/2014/main" id="{70D41AED-DF0B-4227-90B3-59DC62100CA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871126" y="5924585"/>
            <a:ext cx="1460759" cy="320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488" tIns="67488" rIns="53991" bIns="67488">
            <a:spAutoFit/>
          </a:bodyPr>
          <a:lstStyle/>
          <a:p>
            <a:pPr algn="ctr" defTabSz="601281">
              <a:spcBef>
                <a:spcPct val="20000"/>
              </a:spcBef>
              <a:spcAft>
                <a:spcPts val="450"/>
              </a:spcAft>
            </a:pPr>
            <a:r>
              <a:rPr lang="ru-RU" sz="1200" b="1" dirty="0" err="1">
                <a:solidFill>
                  <a:prstClr val="white"/>
                </a:solidFill>
                <a:cs typeface="Arial" charset="0"/>
              </a:rPr>
              <a:t>Асос</a:t>
            </a:r>
            <a:endParaRPr lang="ru-RU" sz="1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20" name="Text Box 10">
            <a:extLst>
              <a:ext uri="{FF2B5EF4-FFF2-40B4-BE49-F238E27FC236}">
                <a16:creationId xmlns:a16="http://schemas.microsoft.com/office/drawing/2014/main" id="{05DF4E69-5A91-4D92-8752-5D50881A945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90480" y="5930044"/>
            <a:ext cx="1322453" cy="320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488" tIns="67488" rIns="53991" bIns="67488">
            <a:spAutoFit/>
          </a:bodyPr>
          <a:lstStyle/>
          <a:p>
            <a:pPr algn="ctr" defTabSz="601281">
              <a:spcBef>
                <a:spcPct val="20000"/>
              </a:spcBef>
              <a:spcAft>
                <a:spcPts val="450"/>
              </a:spcAft>
            </a:pPr>
            <a:r>
              <a:rPr lang="ru-RU" sz="1200" b="1" dirty="0" err="1">
                <a:solidFill>
                  <a:prstClr val="white"/>
                </a:solidFill>
                <a:cs typeface="Arial" charset="0"/>
              </a:rPr>
              <a:t>Имконият</a:t>
            </a:r>
            <a:endParaRPr lang="ru-RU" sz="1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01E9E0E-E3FF-4F4A-9FEA-CF0D575AE1E5}"/>
              </a:ext>
            </a:extLst>
          </p:cNvPr>
          <p:cNvSpPr/>
          <p:nvPr/>
        </p:nvSpPr>
        <p:spPr>
          <a:xfrm>
            <a:off x="1542312" y="4750485"/>
            <a:ext cx="2160570" cy="91582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875" tIns="43875" rIns="43875" bIns="43875" rtlCol="0" anchor="ctr"/>
          <a:lstStyle/>
          <a:p>
            <a:pPr algn="ctr" defTabSz="601281"/>
            <a:r>
              <a:rPr lang="ru-RU" sz="1050" b="1" dirty="0" err="1">
                <a:solidFill>
                  <a:schemeClr val="bg1"/>
                </a:solidFill>
                <a:cs typeface="Arial" charset="0"/>
              </a:rPr>
              <a:t>Фирибгарликнинг</a:t>
            </a:r>
            <a:r>
              <a:rPr lang="ru-RU" sz="1050" b="1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ru-RU" sz="1050" b="1" dirty="0" err="1">
                <a:solidFill>
                  <a:schemeClr val="bg1"/>
                </a:solidFill>
                <a:cs typeface="Arial" charset="0"/>
              </a:rPr>
              <a:t>одатий</a:t>
            </a:r>
            <a:r>
              <a:rPr lang="ru-RU" sz="1050" b="1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ru-RU" sz="1050" b="1" dirty="0" err="1">
                <a:solidFill>
                  <a:schemeClr val="bg1"/>
                </a:solidFill>
                <a:cs typeface="Arial" charset="0"/>
              </a:rPr>
              <a:t>учбурчаги</a:t>
            </a:r>
            <a:endParaRPr lang="ru-RU" sz="1050" b="1" dirty="0">
              <a:solidFill>
                <a:schemeClr val="bg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D291CEE-41EF-45A2-B623-871761DFA8B3}"/>
              </a:ext>
            </a:extLst>
          </p:cNvPr>
          <p:cNvGrpSpPr/>
          <p:nvPr/>
        </p:nvGrpSpPr>
        <p:grpSpPr>
          <a:xfrm>
            <a:off x="2389234" y="3627172"/>
            <a:ext cx="466725" cy="504825"/>
            <a:chOff x="2924969" y="3636169"/>
            <a:chExt cx="466725" cy="504825"/>
          </a:xfrm>
          <a:solidFill>
            <a:schemeClr val="bg1"/>
          </a:solidFill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06AED29-BEA3-43F8-BAF4-B9373279DC97}"/>
                </a:ext>
              </a:extLst>
            </p:cNvPr>
            <p:cNvSpPr/>
            <p:nvPr/>
          </p:nvSpPr>
          <p:spPr>
            <a:xfrm>
              <a:off x="2924969" y="3636169"/>
              <a:ext cx="247650" cy="504825"/>
            </a:xfrm>
            <a:custGeom>
              <a:avLst/>
              <a:gdLst>
                <a:gd name="connsiteX0" fmla="*/ 178594 w 247650"/>
                <a:gd name="connsiteY0" fmla="*/ 7144 h 504825"/>
                <a:gd name="connsiteX1" fmla="*/ 132016 w 247650"/>
                <a:gd name="connsiteY1" fmla="*/ 26194 h 504825"/>
                <a:gd name="connsiteX2" fmla="*/ 65627 w 247650"/>
                <a:gd name="connsiteY2" fmla="*/ 79724 h 504825"/>
                <a:gd name="connsiteX3" fmla="*/ 26194 w 247650"/>
                <a:gd name="connsiteY3" fmla="*/ 140494 h 504825"/>
                <a:gd name="connsiteX4" fmla="*/ 31147 w 247650"/>
                <a:gd name="connsiteY4" fmla="*/ 165545 h 504825"/>
                <a:gd name="connsiteX5" fmla="*/ 7144 w 247650"/>
                <a:gd name="connsiteY5" fmla="*/ 216694 h 504825"/>
                <a:gd name="connsiteX6" fmla="*/ 19145 w 247650"/>
                <a:gd name="connsiteY6" fmla="*/ 254794 h 504825"/>
                <a:gd name="connsiteX7" fmla="*/ 7144 w 247650"/>
                <a:gd name="connsiteY7" fmla="*/ 292894 h 504825"/>
                <a:gd name="connsiteX8" fmla="*/ 28575 w 247650"/>
                <a:gd name="connsiteY8" fmla="*/ 341852 h 504825"/>
                <a:gd name="connsiteX9" fmla="*/ 26194 w 247650"/>
                <a:gd name="connsiteY9" fmla="*/ 359569 h 504825"/>
                <a:gd name="connsiteX10" fmla="*/ 64389 w 247650"/>
                <a:gd name="connsiteY10" fmla="*/ 419767 h 504825"/>
                <a:gd name="connsiteX11" fmla="*/ 130969 w 247650"/>
                <a:gd name="connsiteY11" fmla="*/ 483394 h 504825"/>
                <a:gd name="connsiteX12" fmla="*/ 132016 w 247650"/>
                <a:gd name="connsiteY12" fmla="*/ 483394 h 504825"/>
                <a:gd name="connsiteX13" fmla="*/ 178594 w 247650"/>
                <a:gd name="connsiteY13" fmla="*/ 502444 h 504825"/>
                <a:gd name="connsiteX14" fmla="*/ 245269 w 247650"/>
                <a:gd name="connsiteY14" fmla="*/ 435769 h 504825"/>
                <a:gd name="connsiteX15" fmla="*/ 245269 w 247650"/>
                <a:gd name="connsiteY15" fmla="*/ 73819 h 504825"/>
                <a:gd name="connsiteX16" fmla="*/ 178594 w 247650"/>
                <a:gd name="connsiteY16" fmla="*/ 7144 h 504825"/>
                <a:gd name="connsiteX17" fmla="*/ 226219 w 247650"/>
                <a:gd name="connsiteY17" fmla="*/ 207169 h 504825"/>
                <a:gd name="connsiteX18" fmla="*/ 178594 w 247650"/>
                <a:gd name="connsiteY18" fmla="*/ 254794 h 504825"/>
                <a:gd name="connsiteX19" fmla="*/ 169069 w 247650"/>
                <a:gd name="connsiteY19" fmla="*/ 264319 h 504825"/>
                <a:gd name="connsiteX20" fmla="*/ 178594 w 247650"/>
                <a:gd name="connsiteY20" fmla="*/ 273844 h 504825"/>
                <a:gd name="connsiteX21" fmla="*/ 226219 w 247650"/>
                <a:gd name="connsiteY21" fmla="*/ 253746 h 504825"/>
                <a:gd name="connsiteX22" fmla="*/ 226219 w 247650"/>
                <a:gd name="connsiteY22" fmla="*/ 435769 h 504825"/>
                <a:gd name="connsiteX23" fmla="*/ 178594 w 247650"/>
                <a:gd name="connsiteY23" fmla="*/ 483394 h 504825"/>
                <a:gd name="connsiteX24" fmla="*/ 142970 w 247650"/>
                <a:gd name="connsiteY24" fmla="*/ 467296 h 504825"/>
                <a:gd name="connsiteX25" fmla="*/ 142685 w 247650"/>
                <a:gd name="connsiteY25" fmla="*/ 467011 h 504825"/>
                <a:gd name="connsiteX26" fmla="*/ 142589 w 247650"/>
                <a:gd name="connsiteY26" fmla="*/ 466820 h 504825"/>
                <a:gd name="connsiteX27" fmla="*/ 130873 w 247650"/>
                <a:gd name="connsiteY27" fmla="*/ 436436 h 504825"/>
                <a:gd name="connsiteX28" fmla="*/ 122206 w 247650"/>
                <a:gd name="connsiteY28" fmla="*/ 426148 h 504825"/>
                <a:gd name="connsiteX29" fmla="*/ 111919 w 247650"/>
                <a:gd name="connsiteY29" fmla="*/ 434816 h 504825"/>
                <a:gd name="connsiteX30" fmla="*/ 116396 w 247650"/>
                <a:gd name="connsiteY30" fmla="*/ 461867 h 504825"/>
                <a:gd name="connsiteX31" fmla="*/ 83248 w 247650"/>
                <a:gd name="connsiteY31" fmla="*/ 416719 h 504825"/>
                <a:gd name="connsiteX32" fmla="*/ 83248 w 247650"/>
                <a:gd name="connsiteY32" fmla="*/ 415004 h 504825"/>
                <a:gd name="connsiteX33" fmla="*/ 83248 w 247650"/>
                <a:gd name="connsiteY33" fmla="*/ 414052 h 504825"/>
                <a:gd name="connsiteX34" fmla="*/ 76962 w 247650"/>
                <a:gd name="connsiteY34" fmla="*/ 404527 h 504825"/>
                <a:gd name="connsiteX35" fmla="*/ 45053 w 247650"/>
                <a:gd name="connsiteY35" fmla="*/ 359664 h 504825"/>
                <a:gd name="connsiteX36" fmla="*/ 48387 w 247650"/>
                <a:gd name="connsiteY36" fmla="*/ 342233 h 504825"/>
                <a:gd name="connsiteX37" fmla="*/ 45244 w 247650"/>
                <a:gd name="connsiteY37" fmla="*/ 331089 h 504825"/>
                <a:gd name="connsiteX38" fmla="*/ 26003 w 247650"/>
                <a:gd name="connsiteY38" fmla="*/ 292989 h 504825"/>
                <a:gd name="connsiteX39" fmla="*/ 38195 w 247650"/>
                <a:gd name="connsiteY39" fmla="*/ 261271 h 504825"/>
                <a:gd name="connsiteX40" fmla="*/ 38195 w 247650"/>
                <a:gd name="connsiteY40" fmla="*/ 248507 h 504825"/>
                <a:gd name="connsiteX41" fmla="*/ 26003 w 247650"/>
                <a:gd name="connsiteY41" fmla="*/ 216789 h 504825"/>
                <a:gd name="connsiteX42" fmla="*/ 48006 w 247650"/>
                <a:gd name="connsiteY42" fmla="*/ 176689 h 504825"/>
                <a:gd name="connsiteX43" fmla="*/ 51149 w 247650"/>
                <a:gd name="connsiteY43" fmla="*/ 164021 h 504825"/>
                <a:gd name="connsiteX44" fmla="*/ 44958 w 247650"/>
                <a:gd name="connsiteY44" fmla="*/ 140684 h 504825"/>
                <a:gd name="connsiteX45" fmla="*/ 77057 w 247650"/>
                <a:gd name="connsiteY45" fmla="*/ 95726 h 504825"/>
                <a:gd name="connsiteX46" fmla="*/ 83439 w 247650"/>
                <a:gd name="connsiteY46" fmla="*/ 87725 h 504825"/>
                <a:gd name="connsiteX47" fmla="*/ 130778 w 247650"/>
                <a:gd name="connsiteY47" fmla="*/ 45434 h 504825"/>
                <a:gd name="connsiteX48" fmla="*/ 134874 w 247650"/>
                <a:gd name="connsiteY48" fmla="*/ 45625 h 504825"/>
                <a:gd name="connsiteX49" fmla="*/ 142780 w 247650"/>
                <a:gd name="connsiteY49" fmla="*/ 42481 h 504825"/>
                <a:gd name="connsiteX50" fmla="*/ 178403 w 247650"/>
                <a:gd name="connsiteY50" fmla="*/ 26384 h 504825"/>
                <a:gd name="connsiteX51" fmla="*/ 226028 w 247650"/>
                <a:gd name="connsiteY51" fmla="*/ 74009 h 504825"/>
                <a:gd name="connsiteX52" fmla="*/ 226028 w 247650"/>
                <a:gd name="connsiteY52" fmla="*/ 207359 h 504825"/>
                <a:gd name="connsiteX53" fmla="*/ 197644 w 247650"/>
                <a:gd name="connsiteY53" fmla="*/ 64294 h 504825"/>
                <a:gd name="connsiteX54" fmla="*/ 132874 w 247650"/>
                <a:gd name="connsiteY54" fmla="*/ 115348 h 504825"/>
                <a:gd name="connsiteX55" fmla="*/ 111919 w 247650"/>
                <a:gd name="connsiteY55" fmla="*/ 111919 h 504825"/>
                <a:gd name="connsiteX56" fmla="*/ 102394 w 247650"/>
                <a:gd name="connsiteY56" fmla="*/ 121444 h 504825"/>
                <a:gd name="connsiteX57" fmla="*/ 111919 w 247650"/>
                <a:gd name="connsiteY57" fmla="*/ 130969 h 504825"/>
                <a:gd name="connsiteX58" fmla="*/ 159544 w 247650"/>
                <a:gd name="connsiteY58" fmla="*/ 178594 h 504825"/>
                <a:gd name="connsiteX59" fmla="*/ 169069 w 247650"/>
                <a:gd name="connsiteY59" fmla="*/ 188119 h 504825"/>
                <a:gd name="connsiteX60" fmla="*/ 178594 w 247650"/>
                <a:gd name="connsiteY60" fmla="*/ 178594 h 504825"/>
                <a:gd name="connsiteX61" fmla="*/ 150781 w 247650"/>
                <a:gd name="connsiteY61" fmla="*/ 124492 h 504825"/>
                <a:gd name="connsiteX62" fmla="*/ 197644 w 247650"/>
                <a:gd name="connsiteY62" fmla="*/ 83344 h 504825"/>
                <a:gd name="connsiteX63" fmla="*/ 207169 w 247650"/>
                <a:gd name="connsiteY63" fmla="*/ 73819 h 504825"/>
                <a:gd name="connsiteX64" fmla="*/ 197644 w 247650"/>
                <a:gd name="connsiteY64" fmla="*/ 64294 h 504825"/>
                <a:gd name="connsiteX65" fmla="*/ 90583 w 247650"/>
                <a:gd name="connsiteY65" fmla="*/ 249936 h 504825"/>
                <a:gd name="connsiteX66" fmla="*/ 97346 w 247650"/>
                <a:gd name="connsiteY66" fmla="*/ 247174 h 504825"/>
                <a:gd name="connsiteX67" fmla="*/ 97346 w 247650"/>
                <a:gd name="connsiteY67" fmla="*/ 233744 h 504825"/>
                <a:gd name="connsiteX68" fmla="*/ 83439 w 247650"/>
                <a:gd name="connsiteY68" fmla="*/ 200025 h 504825"/>
                <a:gd name="connsiteX69" fmla="*/ 97346 w 247650"/>
                <a:gd name="connsiteY69" fmla="*/ 166306 h 504825"/>
                <a:gd name="connsiteX70" fmla="*/ 97346 w 247650"/>
                <a:gd name="connsiteY70" fmla="*/ 152876 h 504825"/>
                <a:gd name="connsiteX71" fmla="*/ 83915 w 247650"/>
                <a:gd name="connsiteY71" fmla="*/ 152876 h 504825"/>
                <a:gd name="connsiteX72" fmla="*/ 64389 w 247650"/>
                <a:gd name="connsiteY72" fmla="*/ 200025 h 504825"/>
                <a:gd name="connsiteX73" fmla="*/ 83915 w 247650"/>
                <a:gd name="connsiteY73" fmla="*/ 247174 h 504825"/>
                <a:gd name="connsiteX74" fmla="*/ 90678 w 247650"/>
                <a:gd name="connsiteY74" fmla="*/ 249936 h 504825"/>
                <a:gd name="connsiteX75" fmla="*/ 121444 w 247650"/>
                <a:gd name="connsiteY75" fmla="*/ 369094 h 504825"/>
                <a:gd name="connsiteX76" fmla="*/ 111919 w 247650"/>
                <a:gd name="connsiteY76" fmla="*/ 378619 h 504825"/>
                <a:gd name="connsiteX77" fmla="*/ 121444 w 247650"/>
                <a:gd name="connsiteY77" fmla="*/ 388144 h 504825"/>
                <a:gd name="connsiteX78" fmla="*/ 169069 w 247650"/>
                <a:gd name="connsiteY78" fmla="*/ 435769 h 504825"/>
                <a:gd name="connsiteX79" fmla="*/ 178594 w 247650"/>
                <a:gd name="connsiteY79" fmla="*/ 445294 h 504825"/>
                <a:gd name="connsiteX80" fmla="*/ 188119 w 247650"/>
                <a:gd name="connsiteY80" fmla="*/ 435769 h 504825"/>
                <a:gd name="connsiteX81" fmla="*/ 121444 w 247650"/>
                <a:gd name="connsiteY81" fmla="*/ 369094 h 504825"/>
                <a:gd name="connsiteX82" fmla="*/ 130969 w 247650"/>
                <a:gd name="connsiteY82" fmla="*/ 264319 h 504825"/>
                <a:gd name="connsiteX83" fmla="*/ 144875 w 247650"/>
                <a:gd name="connsiteY83" fmla="*/ 234696 h 504825"/>
                <a:gd name="connsiteX84" fmla="*/ 149066 w 247650"/>
                <a:gd name="connsiteY84" fmla="*/ 221932 h 504825"/>
                <a:gd name="connsiteX85" fmla="*/ 136303 w 247650"/>
                <a:gd name="connsiteY85" fmla="*/ 217646 h 504825"/>
                <a:gd name="connsiteX86" fmla="*/ 112014 w 247650"/>
                <a:gd name="connsiteY86" fmla="*/ 264223 h 504825"/>
                <a:gd name="connsiteX87" fmla="*/ 120205 w 247650"/>
                <a:gd name="connsiteY87" fmla="*/ 296132 h 504825"/>
                <a:gd name="connsiteX88" fmla="*/ 73914 w 247650"/>
                <a:gd name="connsiteY88" fmla="*/ 359473 h 504825"/>
                <a:gd name="connsiteX89" fmla="*/ 83439 w 247650"/>
                <a:gd name="connsiteY89" fmla="*/ 368998 h 504825"/>
                <a:gd name="connsiteX90" fmla="*/ 92964 w 247650"/>
                <a:gd name="connsiteY90" fmla="*/ 359473 h 504825"/>
                <a:gd name="connsiteX91" fmla="*/ 133064 w 247650"/>
                <a:gd name="connsiteY91" fmla="*/ 312706 h 504825"/>
                <a:gd name="connsiteX92" fmla="*/ 178689 w 247650"/>
                <a:gd name="connsiteY92" fmla="*/ 330898 h 504825"/>
                <a:gd name="connsiteX93" fmla="*/ 188214 w 247650"/>
                <a:gd name="connsiteY93" fmla="*/ 321373 h 504825"/>
                <a:gd name="connsiteX94" fmla="*/ 178689 w 247650"/>
                <a:gd name="connsiteY94" fmla="*/ 311848 h 504825"/>
                <a:gd name="connsiteX95" fmla="*/ 131064 w 247650"/>
                <a:gd name="connsiteY95" fmla="*/ 264223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247650" h="504825">
                  <a:moveTo>
                    <a:pt x="178594" y="7144"/>
                  </a:moveTo>
                  <a:cubicBezTo>
                    <a:pt x="161163" y="7144"/>
                    <a:pt x="144399" y="14002"/>
                    <a:pt x="132016" y="26194"/>
                  </a:cubicBezTo>
                  <a:cubicBezTo>
                    <a:pt x="99822" y="25622"/>
                    <a:pt x="71819" y="48482"/>
                    <a:pt x="65627" y="79724"/>
                  </a:cubicBezTo>
                  <a:cubicBezTo>
                    <a:pt x="41815" y="90392"/>
                    <a:pt x="26194" y="114110"/>
                    <a:pt x="26194" y="140494"/>
                  </a:cubicBezTo>
                  <a:cubicBezTo>
                    <a:pt x="26194" y="149066"/>
                    <a:pt x="27908" y="157639"/>
                    <a:pt x="31147" y="165545"/>
                  </a:cubicBezTo>
                  <a:cubicBezTo>
                    <a:pt x="16002" y="178118"/>
                    <a:pt x="7144" y="196691"/>
                    <a:pt x="7144" y="216694"/>
                  </a:cubicBezTo>
                  <a:cubicBezTo>
                    <a:pt x="7144" y="230410"/>
                    <a:pt x="11335" y="243649"/>
                    <a:pt x="19145" y="254794"/>
                  </a:cubicBezTo>
                  <a:cubicBezTo>
                    <a:pt x="11335" y="265938"/>
                    <a:pt x="7144" y="279178"/>
                    <a:pt x="7144" y="292894"/>
                  </a:cubicBezTo>
                  <a:cubicBezTo>
                    <a:pt x="7144" y="311753"/>
                    <a:pt x="14859" y="329279"/>
                    <a:pt x="28575" y="341852"/>
                  </a:cubicBezTo>
                  <a:cubicBezTo>
                    <a:pt x="26956" y="347663"/>
                    <a:pt x="26194" y="353568"/>
                    <a:pt x="26194" y="359569"/>
                  </a:cubicBezTo>
                  <a:cubicBezTo>
                    <a:pt x="26194" y="385477"/>
                    <a:pt x="41243" y="408813"/>
                    <a:pt x="64389" y="419767"/>
                  </a:cubicBezTo>
                  <a:cubicBezTo>
                    <a:pt x="66008" y="455105"/>
                    <a:pt x="95250" y="483394"/>
                    <a:pt x="130969" y="483394"/>
                  </a:cubicBezTo>
                  <a:cubicBezTo>
                    <a:pt x="131350" y="483394"/>
                    <a:pt x="131636" y="483394"/>
                    <a:pt x="132016" y="483394"/>
                  </a:cubicBezTo>
                  <a:cubicBezTo>
                    <a:pt x="144399" y="495586"/>
                    <a:pt x="161163" y="502444"/>
                    <a:pt x="178594" y="502444"/>
                  </a:cubicBezTo>
                  <a:cubicBezTo>
                    <a:pt x="215360" y="502444"/>
                    <a:pt x="245269" y="472535"/>
                    <a:pt x="245269" y="435769"/>
                  </a:cubicBezTo>
                  <a:lnTo>
                    <a:pt x="245269" y="73819"/>
                  </a:lnTo>
                  <a:cubicBezTo>
                    <a:pt x="245269" y="37052"/>
                    <a:pt x="215360" y="7144"/>
                    <a:pt x="178594" y="7144"/>
                  </a:cubicBezTo>
                  <a:close/>
                  <a:moveTo>
                    <a:pt x="226219" y="207169"/>
                  </a:moveTo>
                  <a:cubicBezTo>
                    <a:pt x="226219" y="233458"/>
                    <a:pt x="204883" y="254794"/>
                    <a:pt x="178594" y="254794"/>
                  </a:cubicBezTo>
                  <a:cubicBezTo>
                    <a:pt x="173355" y="254794"/>
                    <a:pt x="169069" y="259080"/>
                    <a:pt x="169069" y="264319"/>
                  </a:cubicBezTo>
                  <a:cubicBezTo>
                    <a:pt x="169069" y="269557"/>
                    <a:pt x="173355" y="273844"/>
                    <a:pt x="178594" y="273844"/>
                  </a:cubicBezTo>
                  <a:cubicBezTo>
                    <a:pt x="197263" y="273844"/>
                    <a:pt x="214122" y="266129"/>
                    <a:pt x="226219" y="253746"/>
                  </a:cubicBezTo>
                  <a:lnTo>
                    <a:pt x="226219" y="435769"/>
                  </a:lnTo>
                  <a:cubicBezTo>
                    <a:pt x="226219" y="462058"/>
                    <a:pt x="204883" y="483394"/>
                    <a:pt x="178594" y="483394"/>
                  </a:cubicBezTo>
                  <a:cubicBezTo>
                    <a:pt x="165068" y="483394"/>
                    <a:pt x="152019" y="477488"/>
                    <a:pt x="142970" y="467296"/>
                  </a:cubicBezTo>
                  <a:cubicBezTo>
                    <a:pt x="142970" y="467201"/>
                    <a:pt x="142780" y="467106"/>
                    <a:pt x="142685" y="467011"/>
                  </a:cubicBezTo>
                  <a:cubicBezTo>
                    <a:pt x="142685" y="467011"/>
                    <a:pt x="142685" y="466915"/>
                    <a:pt x="142589" y="466820"/>
                  </a:cubicBezTo>
                  <a:cubicBezTo>
                    <a:pt x="134017" y="458248"/>
                    <a:pt x="129921" y="447675"/>
                    <a:pt x="130873" y="436436"/>
                  </a:cubicBezTo>
                  <a:cubicBezTo>
                    <a:pt x="131350" y="431197"/>
                    <a:pt x="127445" y="426530"/>
                    <a:pt x="122206" y="426148"/>
                  </a:cubicBezTo>
                  <a:cubicBezTo>
                    <a:pt x="116777" y="425577"/>
                    <a:pt x="112300" y="429578"/>
                    <a:pt x="111919" y="434816"/>
                  </a:cubicBezTo>
                  <a:cubicBezTo>
                    <a:pt x="111157" y="444246"/>
                    <a:pt x="112776" y="453390"/>
                    <a:pt x="116396" y="461867"/>
                  </a:cubicBezTo>
                  <a:cubicBezTo>
                    <a:pt x="97250" y="455676"/>
                    <a:pt x="83248" y="437864"/>
                    <a:pt x="83248" y="416719"/>
                  </a:cubicBezTo>
                  <a:cubicBezTo>
                    <a:pt x="83248" y="416147"/>
                    <a:pt x="83248" y="415576"/>
                    <a:pt x="83248" y="415004"/>
                  </a:cubicBezTo>
                  <a:lnTo>
                    <a:pt x="83248" y="414052"/>
                  </a:lnTo>
                  <a:cubicBezTo>
                    <a:pt x="83534" y="409765"/>
                    <a:pt x="80963" y="405860"/>
                    <a:pt x="76962" y="404527"/>
                  </a:cubicBezTo>
                  <a:cubicBezTo>
                    <a:pt x="57912" y="397859"/>
                    <a:pt x="45053" y="379762"/>
                    <a:pt x="45053" y="359664"/>
                  </a:cubicBezTo>
                  <a:cubicBezTo>
                    <a:pt x="45053" y="353759"/>
                    <a:pt x="46196" y="347853"/>
                    <a:pt x="48387" y="342233"/>
                  </a:cubicBezTo>
                  <a:cubicBezTo>
                    <a:pt x="49911" y="338233"/>
                    <a:pt x="48673" y="333661"/>
                    <a:pt x="45244" y="331089"/>
                  </a:cubicBezTo>
                  <a:cubicBezTo>
                    <a:pt x="33052" y="321945"/>
                    <a:pt x="26003" y="308038"/>
                    <a:pt x="26003" y="292989"/>
                  </a:cubicBezTo>
                  <a:cubicBezTo>
                    <a:pt x="26003" y="281273"/>
                    <a:pt x="30385" y="270034"/>
                    <a:pt x="38195" y="261271"/>
                  </a:cubicBezTo>
                  <a:cubicBezTo>
                    <a:pt x="41434" y="257651"/>
                    <a:pt x="41434" y="252127"/>
                    <a:pt x="38195" y="248507"/>
                  </a:cubicBezTo>
                  <a:cubicBezTo>
                    <a:pt x="30289" y="239744"/>
                    <a:pt x="26003" y="228505"/>
                    <a:pt x="26003" y="216789"/>
                  </a:cubicBezTo>
                  <a:cubicBezTo>
                    <a:pt x="26003" y="200501"/>
                    <a:pt x="34290" y="185452"/>
                    <a:pt x="48006" y="176689"/>
                  </a:cubicBezTo>
                  <a:cubicBezTo>
                    <a:pt x="52292" y="173927"/>
                    <a:pt x="53626" y="168402"/>
                    <a:pt x="51149" y="164021"/>
                  </a:cubicBezTo>
                  <a:cubicBezTo>
                    <a:pt x="47149" y="156877"/>
                    <a:pt x="44958" y="148780"/>
                    <a:pt x="44958" y="140684"/>
                  </a:cubicBezTo>
                  <a:cubicBezTo>
                    <a:pt x="44958" y="120396"/>
                    <a:pt x="57817" y="102394"/>
                    <a:pt x="77057" y="95726"/>
                  </a:cubicBezTo>
                  <a:cubicBezTo>
                    <a:pt x="80581" y="94488"/>
                    <a:pt x="82963" y="91440"/>
                    <a:pt x="83439" y="87725"/>
                  </a:cubicBezTo>
                  <a:cubicBezTo>
                    <a:pt x="86106" y="63627"/>
                    <a:pt x="106394" y="45434"/>
                    <a:pt x="130778" y="45434"/>
                  </a:cubicBezTo>
                  <a:cubicBezTo>
                    <a:pt x="132112" y="45434"/>
                    <a:pt x="133540" y="45529"/>
                    <a:pt x="134874" y="45625"/>
                  </a:cubicBezTo>
                  <a:cubicBezTo>
                    <a:pt x="137922" y="45911"/>
                    <a:pt x="140779" y="44672"/>
                    <a:pt x="142780" y="42481"/>
                  </a:cubicBezTo>
                  <a:cubicBezTo>
                    <a:pt x="151829" y="32290"/>
                    <a:pt x="164782" y="26384"/>
                    <a:pt x="178403" y="26384"/>
                  </a:cubicBezTo>
                  <a:cubicBezTo>
                    <a:pt x="204692" y="26384"/>
                    <a:pt x="226028" y="47720"/>
                    <a:pt x="226028" y="74009"/>
                  </a:cubicBezTo>
                  <a:lnTo>
                    <a:pt x="226028" y="207359"/>
                  </a:lnTo>
                  <a:close/>
                  <a:moveTo>
                    <a:pt x="197644" y="64294"/>
                  </a:moveTo>
                  <a:cubicBezTo>
                    <a:pt x="166116" y="64294"/>
                    <a:pt x="139827" y="85820"/>
                    <a:pt x="132874" y="115348"/>
                  </a:cubicBezTo>
                  <a:cubicBezTo>
                    <a:pt x="126302" y="113157"/>
                    <a:pt x="119253" y="111919"/>
                    <a:pt x="111919" y="111919"/>
                  </a:cubicBezTo>
                  <a:cubicBezTo>
                    <a:pt x="106680" y="111919"/>
                    <a:pt x="102394" y="116205"/>
                    <a:pt x="102394" y="121444"/>
                  </a:cubicBezTo>
                  <a:cubicBezTo>
                    <a:pt x="102394" y="126682"/>
                    <a:pt x="106680" y="130969"/>
                    <a:pt x="111919" y="130969"/>
                  </a:cubicBezTo>
                  <a:cubicBezTo>
                    <a:pt x="138208" y="130969"/>
                    <a:pt x="159544" y="152305"/>
                    <a:pt x="159544" y="178594"/>
                  </a:cubicBezTo>
                  <a:cubicBezTo>
                    <a:pt x="159544" y="183832"/>
                    <a:pt x="163830" y="188119"/>
                    <a:pt x="169069" y="188119"/>
                  </a:cubicBezTo>
                  <a:cubicBezTo>
                    <a:pt x="174307" y="188119"/>
                    <a:pt x="178594" y="183832"/>
                    <a:pt x="178594" y="178594"/>
                  </a:cubicBezTo>
                  <a:cubicBezTo>
                    <a:pt x="178594" y="156305"/>
                    <a:pt x="167545" y="136588"/>
                    <a:pt x="150781" y="124492"/>
                  </a:cubicBezTo>
                  <a:cubicBezTo>
                    <a:pt x="153924" y="101060"/>
                    <a:pt x="173546" y="83344"/>
                    <a:pt x="197644" y="83344"/>
                  </a:cubicBezTo>
                  <a:cubicBezTo>
                    <a:pt x="202882" y="83344"/>
                    <a:pt x="207169" y="79057"/>
                    <a:pt x="207169" y="73819"/>
                  </a:cubicBezTo>
                  <a:cubicBezTo>
                    <a:pt x="207169" y="68580"/>
                    <a:pt x="202882" y="64294"/>
                    <a:pt x="197644" y="64294"/>
                  </a:cubicBezTo>
                  <a:close/>
                  <a:moveTo>
                    <a:pt x="90583" y="249936"/>
                  </a:moveTo>
                  <a:cubicBezTo>
                    <a:pt x="93059" y="249936"/>
                    <a:pt x="95440" y="248984"/>
                    <a:pt x="97346" y="247174"/>
                  </a:cubicBezTo>
                  <a:cubicBezTo>
                    <a:pt x="101060" y="243459"/>
                    <a:pt x="101060" y="237458"/>
                    <a:pt x="97346" y="233744"/>
                  </a:cubicBezTo>
                  <a:cubicBezTo>
                    <a:pt x="88392" y="224790"/>
                    <a:pt x="83439" y="212788"/>
                    <a:pt x="83439" y="200025"/>
                  </a:cubicBezTo>
                  <a:cubicBezTo>
                    <a:pt x="83439" y="187262"/>
                    <a:pt x="88392" y="175355"/>
                    <a:pt x="97346" y="166306"/>
                  </a:cubicBezTo>
                  <a:cubicBezTo>
                    <a:pt x="101060" y="162592"/>
                    <a:pt x="101060" y="156591"/>
                    <a:pt x="97346" y="152876"/>
                  </a:cubicBezTo>
                  <a:cubicBezTo>
                    <a:pt x="93631" y="149162"/>
                    <a:pt x="87630" y="149162"/>
                    <a:pt x="83915" y="152876"/>
                  </a:cubicBezTo>
                  <a:cubicBezTo>
                    <a:pt x="71342" y="165449"/>
                    <a:pt x="64389" y="182213"/>
                    <a:pt x="64389" y="200025"/>
                  </a:cubicBezTo>
                  <a:cubicBezTo>
                    <a:pt x="64389" y="217837"/>
                    <a:pt x="71342" y="234601"/>
                    <a:pt x="83915" y="247174"/>
                  </a:cubicBezTo>
                  <a:cubicBezTo>
                    <a:pt x="85820" y="249079"/>
                    <a:pt x="88202" y="249936"/>
                    <a:pt x="90678" y="249936"/>
                  </a:cubicBezTo>
                  <a:close/>
                  <a:moveTo>
                    <a:pt x="121444" y="369094"/>
                  </a:moveTo>
                  <a:cubicBezTo>
                    <a:pt x="116205" y="369094"/>
                    <a:pt x="111919" y="373380"/>
                    <a:pt x="111919" y="378619"/>
                  </a:cubicBezTo>
                  <a:cubicBezTo>
                    <a:pt x="111919" y="383857"/>
                    <a:pt x="116205" y="388144"/>
                    <a:pt x="121444" y="388144"/>
                  </a:cubicBezTo>
                  <a:cubicBezTo>
                    <a:pt x="147733" y="388144"/>
                    <a:pt x="169069" y="409480"/>
                    <a:pt x="169069" y="435769"/>
                  </a:cubicBezTo>
                  <a:cubicBezTo>
                    <a:pt x="169069" y="441007"/>
                    <a:pt x="173355" y="445294"/>
                    <a:pt x="178594" y="445294"/>
                  </a:cubicBezTo>
                  <a:cubicBezTo>
                    <a:pt x="183832" y="445294"/>
                    <a:pt x="188119" y="441007"/>
                    <a:pt x="188119" y="435769"/>
                  </a:cubicBezTo>
                  <a:cubicBezTo>
                    <a:pt x="188119" y="399002"/>
                    <a:pt x="158210" y="369094"/>
                    <a:pt x="121444" y="369094"/>
                  </a:cubicBezTo>
                  <a:close/>
                  <a:moveTo>
                    <a:pt x="130969" y="264319"/>
                  </a:moveTo>
                  <a:cubicBezTo>
                    <a:pt x="130969" y="242602"/>
                    <a:pt x="144113" y="235077"/>
                    <a:pt x="144875" y="234696"/>
                  </a:cubicBezTo>
                  <a:cubicBezTo>
                    <a:pt x="149543" y="232315"/>
                    <a:pt x="151352" y="226600"/>
                    <a:pt x="149066" y="221932"/>
                  </a:cubicBezTo>
                  <a:cubicBezTo>
                    <a:pt x="146685" y="217265"/>
                    <a:pt x="140970" y="215360"/>
                    <a:pt x="136303" y="217646"/>
                  </a:cubicBezTo>
                  <a:cubicBezTo>
                    <a:pt x="135350" y="218122"/>
                    <a:pt x="112014" y="230219"/>
                    <a:pt x="112014" y="264223"/>
                  </a:cubicBezTo>
                  <a:cubicBezTo>
                    <a:pt x="112014" y="275749"/>
                    <a:pt x="114967" y="286703"/>
                    <a:pt x="120205" y="296132"/>
                  </a:cubicBezTo>
                  <a:cubicBezTo>
                    <a:pt x="93345" y="304800"/>
                    <a:pt x="73914" y="330137"/>
                    <a:pt x="73914" y="359473"/>
                  </a:cubicBezTo>
                  <a:cubicBezTo>
                    <a:pt x="73914" y="364712"/>
                    <a:pt x="78200" y="368998"/>
                    <a:pt x="83439" y="368998"/>
                  </a:cubicBezTo>
                  <a:cubicBezTo>
                    <a:pt x="88678" y="368998"/>
                    <a:pt x="92964" y="364712"/>
                    <a:pt x="92964" y="359473"/>
                  </a:cubicBezTo>
                  <a:cubicBezTo>
                    <a:pt x="92964" y="336042"/>
                    <a:pt x="110299" y="316421"/>
                    <a:pt x="133064" y="312706"/>
                  </a:cubicBezTo>
                  <a:cubicBezTo>
                    <a:pt x="144971" y="323945"/>
                    <a:pt x="161068" y="330898"/>
                    <a:pt x="178689" y="330898"/>
                  </a:cubicBezTo>
                  <a:cubicBezTo>
                    <a:pt x="183928" y="330898"/>
                    <a:pt x="188214" y="326612"/>
                    <a:pt x="188214" y="321373"/>
                  </a:cubicBezTo>
                  <a:cubicBezTo>
                    <a:pt x="188214" y="316135"/>
                    <a:pt x="183928" y="311848"/>
                    <a:pt x="178689" y="311848"/>
                  </a:cubicBezTo>
                  <a:cubicBezTo>
                    <a:pt x="152400" y="311848"/>
                    <a:pt x="131064" y="290513"/>
                    <a:pt x="131064" y="26422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6B2BEA22-85CA-49B0-9BE0-75EC3D9F71F5}"/>
                </a:ext>
              </a:extLst>
            </p:cNvPr>
            <p:cNvSpPr/>
            <p:nvPr/>
          </p:nvSpPr>
          <p:spPr>
            <a:xfrm>
              <a:off x="3144044" y="3636169"/>
              <a:ext cx="247650" cy="504825"/>
            </a:xfrm>
            <a:custGeom>
              <a:avLst/>
              <a:gdLst>
                <a:gd name="connsiteX0" fmla="*/ 233267 w 247650"/>
                <a:gd name="connsiteY0" fmla="*/ 254794 h 504825"/>
                <a:gd name="connsiteX1" fmla="*/ 245269 w 247650"/>
                <a:gd name="connsiteY1" fmla="*/ 216694 h 504825"/>
                <a:gd name="connsiteX2" fmla="*/ 221266 w 247650"/>
                <a:gd name="connsiteY2" fmla="*/ 165545 h 504825"/>
                <a:gd name="connsiteX3" fmla="*/ 226219 w 247650"/>
                <a:gd name="connsiteY3" fmla="*/ 140494 h 504825"/>
                <a:gd name="connsiteX4" fmla="*/ 186785 w 247650"/>
                <a:gd name="connsiteY4" fmla="*/ 79724 h 504825"/>
                <a:gd name="connsiteX5" fmla="*/ 120396 w 247650"/>
                <a:gd name="connsiteY5" fmla="*/ 26194 h 504825"/>
                <a:gd name="connsiteX6" fmla="*/ 73819 w 247650"/>
                <a:gd name="connsiteY6" fmla="*/ 7144 h 504825"/>
                <a:gd name="connsiteX7" fmla="*/ 7144 w 247650"/>
                <a:gd name="connsiteY7" fmla="*/ 73819 h 504825"/>
                <a:gd name="connsiteX8" fmla="*/ 7144 w 247650"/>
                <a:gd name="connsiteY8" fmla="*/ 435769 h 504825"/>
                <a:gd name="connsiteX9" fmla="*/ 73819 w 247650"/>
                <a:gd name="connsiteY9" fmla="*/ 502444 h 504825"/>
                <a:gd name="connsiteX10" fmla="*/ 120396 w 247650"/>
                <a:gd name="connsiteY10" fmla="*/ 483394 h 504825"/>
                <a:gd name="connsiteX11" fmla="*/ 121444 w 247650"/>
                <a:gd name="connsiteY11" fmla="*/ 483394 h 504825"/>
                <a:gd name="connsiteX12" fmla="*/ 188023 w 247650"/>
                <a:gd name="connsiteY12" fmla="*/ 419767 h 504825"/>
                <a:gd name="connsiteX13" fmla="*/ 226219 w 247650"/>
                <a:gd name="connsiteY13" fmla="*/ 359569 h 504825"/>
                <a:gd name="connsiteX14" fmla="*/ 223838 w 247650"/>
                <a:gd name="connsiteY14" fmla="*/ 341852 h 504825"/>
                <a:gd name="connsiteX15" fmla="*/ 245269 w 247650"/>
                <a:gd name="connsiteY15" fmla="*/ 292894 h 504825"/>
                <a:gd name="connsiteX16" fmla="*/ 233267 w 247650"/>
                <a:gd name="connsiteY16" fmla="*/ 254794 h 504825"/>
                <a:gd name="connsiteX17" fmla="*/ 214027 w 247650"/>
                <a:gd name="connsiteY17" fmla="*/ 261176 h 504825"/>
                <a:gd name="connsiteX18" fmla="*/ 226219 w 247650"/>
                <a:gd name="connsiteY18" fmla="*/ 292894 h 504825"/>
                <a:gd name="connsiteX19" fmla="*/ 206978 w 247650"/>
                <a:gd name="connsiteY19" fmla="*/ 330994 h 504825"/>
                <a:gd name="connsiteX20" fmla="*/ 203835 w 247650"/>
                <a:gd name="connsiteY20" fmla="*/ 342138 h 504825"/>
                <a:gd name="connsiteX21" fmla="*/ 207169 w 247650"/>
                <a:gd name="connsiteY21" fmla="*/ 359569 h 504825"/>
                <a:gd name="connsiteX22" fmla="*/ 175260 w 247650"/>
                <a:gd name="connsiteY22" fmla="*/ 404431 h 504825"/>
                <a:gd name="connsiteX23" fmla="*/ 168878 w 247650"/>
                <a:gd name="connsiteY23" fmla="*/ 413956 h 504825"/>
                <a:gd name="connsiteX24" fmla="*/ 168878 w 247650"/>
                <a:gd name="connsiteY24" fmla="*/ 414909 h 504825"/>
                <a:gd name="connsiteX25" fmla="*/ 169069 w 247650"/>
                <a:gd name="connsiteY25" fmla="*/ 416623 h 504825"/>
                <a:gd name="connsiteX26" fmla="*/ 135922 w 247650"/>
                <a:gd name="connsiteY26" fmla="*/ 461772 h 504825"/>
                <a:gd name="connsiteX27" fmla="*/ 140398 w 247650"/>
                <a:gd name="connsiteY27" fmla="*/ 434721 h 504825"/>
                <a:gd name="connsiteX28" fmla="*/ 130112 w 247650"/>
                <a:gd name="connsiteY28" fmla="*/ 426053 h 504825"/>
                <a:gd name="connsiteX29" fmla="*/ 121444 w 247650"/>
                <a:gd name="connsiteY29" fmla="*/ 436340 h 504825"/>
                <a:gd name="connsiteX30" fmla="*/ 109728 w 247650"/>
                <a:gd name="connsiteY30" fmla="*/ 466725 h 504825"/>
                <a:gd name="connsiteX31" fmla="*/ 109633 w 247650"/>
                <a:gd name="connsiteY31" fmla="*/ 466915 h 504825"/>
                <a:gd name="connsiteX32" fmla="*/ 109347 w 247650"/>
                <a:gd name="connsiteY32" fmla="*/ 467201 h 504825"/>
                <a:gd name="connsiteX33" fmla="*/ 73723 w 247650"/>
                <a:gd name="connsiteY33" fmla="*/ 483298 h 504825"/>
                <a:gd name="connsiteX34" fmla="*/ 26098 w 247650"/>
                <a:gd name="connsiteY34" fmla="*/ 435673 h 504825"/>
                <a:gd name="connsiteX35" fmla="*/ 26098 w 247650"/>
                <a:gd name="connsiteY35" fmla="*/ 253651 h 504825"/>
                <a:gd name="connsiteX36" fmla="*/ 73723 w 247650"/>
                <a:gd name="connsiteY36" fmla="*/ 273748 h 504825"/>
                <a:gd name="connsiteX37" fmla="*/ 83248 w 247650"/>
                <a:gd name="connsiteY37" fmla="*/ 264223 h 504825"/>
                <a:gd name="connsiteX38" fmla="*/ 73723 w 247650"/>
                <a:gd name="connsiteY38" fmla="*/ 254698 h 504825"/>
                <a:gd name="connsiteX39" fmla="*/ 26098 w 247650"/>
                <a:gd name="connsiteY39" fmla="*/ 207073 h 504825"/>
                <a:gd name="connsiteX40" fmla="*/ 26098 w 247650"/>
                <a:gd name="connsiteY40" fmla="*/ 73723 h 504825"/>
                <a:gd name="connsiteX41" fmla="*/ 73723 w 247650"/>
                <a:gd name="connsiteY41" fmla="*/ 26098 h 504825"/>
                <a:gd name="connsiteX42" fmla="*/ 109347 w 247650"/>
                <a:gd name="connsiteY42" fmla="*/ 42196 h 504825"/>
                <a:gd name="connsiteX43" fmla="*/ 117253 w 247650"/>
                <a:gd name="connsiteY43" fmla="*/ 45339 h 504825"/>
                <a:gd name="connsiteX44" fmla="*/ 121348 w 247650"/>
                <a:gd name="connsiteY44" fmla="*/ 45148 h 504825"/>
                <a:gd name="connsiteX45" fmla="*/ 168688 w 247650"/>
                <a:gd name="connsiteY45" fmla="*/ 87439 h 504825"/>
                <a:gd name="connsiteX46" fmla="*/ 175070 w 247650"/>
                <a:gd name="connsiteY46" fmla="*/ 95440 h 504825"/>
                <a:gd name="connsiteX47" fmla="*/ 207169 w 247650"/>
                <a:gd name="connsiteY47" fmla="*/ 140398 h 504825"/>
                <a:gd name="connsiteX48" fmla="*/ 200978 w 247650"/>
                <a:gd name="connsiteY48" fmla="*/ 163735 h 504825"/>
                <a:gd name="connsiteX49" fmla="*/ 204121 w 247650"/>
                <a:gd name="connsiteY49" fmla="*/ 176403 h 504825"/>
                <a:gd name="connsiteX50" fmla="*/ 226123 w 247650"/>
                <a:gd name="connsiteY50" fmla="*/ 216503 h 504825"/>
                <a:gd name="connsiteX51" fmla="*/ 213931 w 247650"/>
                <a:gd name="connsiteY51" fmla="*/ 248221 h 504825"/>
                <a:gd name="connsiteX52" fmla="*/ 213931 w 247650"/>
                <a:gd name="connsiteY52" fmla="*/ 260985 h 504825"/>
                <a:gd name="connsiteX53" fmla="*/ 130969 w 247650"/>
                <a:gd name="connsiteY53" fmla="*/ 369094 h 504825"/>
                <a:gd name="connsiteX54" fmla="*/ 64294 w 247650"/>
                <a:gd name="connsiteY54" fmla="*/ 435769 h 504825"/>
                <a:gd name="connsiteX55" fmla="*/ 73819 w 247650"/>
                <a:gd name="connsiteY55" fmla="*/ 445294 h 504825"/>
                <a:gd name="connsiteX56" fmla="*/ 83344 w 247650"/>
                <a:gd name="connsiteY56" fmla="*/ 435769 h 504825"/>
                <a:gd name="connsiteX57" fmla="*/ 130969 w 247650"/>
                <a:gd name="connsiteY57" fmla="*/ 388144 h 504825"/>
                <a:gd name="connsiteX58" fmla="*/ 140494 w 247650"/>
                <a:gd name="connsiteY58" fmla="*/ 378619 h 504825"/>
                <a:gd name="connsiteX59" fmla="*/ 130969 w 247650"/>
                <a:gd name="connsiteY59" fmla="*/ 369094 h 504825"/>
                <a:gd name="connsiteX60" fmla="*/ 155162 w 247650"/>
                <a:gd name="connsiteY60" fmla="*/ 152781 h 504825"/>
                <a:gd name="connsiteX61" fmla="*/ 155162 w 247650"/>
                <a:gd name="connsiteY61" fmla="*/ 166211 h 504825"/>
                <a:gd name="connsiteX62" fmla="*/ 169069 w 247650"/>
                <a:gd name="connsiteY62" fmla="*/ 199930 h 504825"/>
                <a:gd name="connsiteX63" fmla="*/ 155162 w 247650"/>
                <a:gd name="connsiteY63" fmla="*/ 233648 h 504825"/>
                <a:gd name="connsiteX64" fmla="*/ 155162 w 247650"/>
                <a:gd name="connsiteY64" fmla="*/ 247079 h 504825"/>
                <a:gd name="connsiteX65" fmla="*/ 161925 w 247650"/>
                <a:gd name="connsiteY65" fmla="*/ 249841 h 504825"/>
                <a:gd name="connsiteX66" fmla="*/ 168688 w 247650"/>
                <a:gd name="connsiteY66" fmla="*/ 247079 h 504825"/>
                <a:gd name="connsiteX67" fmla="*/ 188214 w 247650"/>
                <a:gd name="connsiteY67" fmla="*/ 199930 h 504825"/>
                <a:gd name="connsiteX68" fmla="*/ 168688 w 247650"/>
                <a:gd name="connsiteY68" fmla="*/ 152781 h 504825"/>
                <a:gd name="connsiteX69" fmla="*/ 155257 w 247650"/>
                <a:gd name="connsiteY69" fmla="*/ 152781 h 504825"/>
                <a:gd name="connsiteX70" fmla="*/ 132397 w 247650"/>
                <a:gd name="connsiteY70" fmla="*/ 296228 h 504825"/>
                <a:gd name="connsiteX71" fmla="*/ 140589 w 247650"/>
                <a:gd name="connsiteY71" fmla="*/ 264319 h 504825"/>
                <a:gd name="connsiteX72" fmla="*/ 131064 w 247650"/>
                <a:gd name="connsiteY72" fmla="*/ 254794 h 504825"/>
                <a:gd name="connsiteX73" fmla="*/ 121539 w 247650"/>
                <a:gd name="connsiteY73" fmla="*/ 264319 h 504825"/>
                <a:gd name="connsiteX74" fmla="*/ 73914 w 247650"/>
                <a:gd name="connsiteY74" fmla="*/ 311944 h 504825"/>
                <a:gd name="connsiteX75" fmla="*/ 64389 w 247650"/>
                <a:gd name="connsiteY75" fmla="*/ 321469 h 504825"/>
                <a:gd name="connsiteX76" fmla="*/ 73914 w 247650"/>
                <a:gd name="connsiteY76" fmla="*/ 330994 h 504825"/>
                <a:gd name="connsiteX77" fmla="*/ 119539 w 247650"/>
                <a:gd name="connsiteY77" fmla="*/ 312801 h 504825"/>
                <a:gd name="connsiteX78" fmla="*/ 159639 w 247650"/>
                <a:gd name="connsiteY78" fmla="*/ 359569 h 504825"/>
                <a:gd name="connsiteX79" fmla="*/ 169164 w 247650"/>
                <a:gd name="connsiteY79" fmla="*/ 369094 h 504825"/>
                <a:gd name="connsiteX80" fmla="*/ 178689 w 247650"/>
                <a:gd name="connsiteY80" fmla="*/ 359569 h 504825"/>
                <a:gd name="connsiteX81" fmla="*/ 132397 w 247650"/>
                <a:gd name="connsiteY81" fmla="*/ 296228 h 504825"/>
                <a:gd name="connsiteX82" fmla="*/ 98203 w 247650"/>
                <a:gd name="connsiteY82" fmla="*/ 225171 h 504825"/>
                <a:gd name="connsiteX83" fmla="*/ 102394 w 247650"/>
                <a:gd name="connsiteY83" fmla="*/ 226123 h 504825"/>
                <a:gd name="connsiteX84" fmla="*/ 110776 w 247650"/>
                <a:gd name="connsiteY84" fmla="*/ 220980 h 504825"/>
                <a:gd name="connsiteX85" fmla="*/ 106775 w 247650"/>
                <a:gd name="connsiteY85" fmla="*/ 208216 h 504825"/>
                <a:gd name="connsiteX86" fmla="*/ 92869 w 247650"/>
                <a:gd name="connsiteY86" fmla="*/ 178594 h 504825"/>
                <a:gd name="connsiteX87" fmla="*/ 140494 w 247650"/>
                <a:gd name="connsiteY87" fmla="*/ 130969 h 504825"/>
                <a:gd name="connsiteX88" fmla="*/ 150019 w 247650"/>
                <a:gd name="connsiteY88" fmla="*/ 121444 h 504825"/>
                <a:gd name="connsiteX89" fmla="*/ 140494 w 247650"/>
                <a:gd name="connsiteY89" fmla="*/ 111919 h 504825"/>
                <a:gd name="connsiteX90" fmla="*/ 119539 w 247650"/>
                <a:gd name="connsiteY90" fmla="*/ 115348 h 504825"/>
                <a:gd name="connsiteX91" fmla="*/ 54769 w 247650"/>
                <a:gd name="connsiteY91" fmla="*/ 64294 h 504825"/>
                <a:gd name="connsiteX92" fmla="*/ 45244 w 247650"/>
                <a:gd name="connsiteY92" fmla="*/ 73819 h 504825"/>
                <a:gd name="connsiteX93" fmla="*/ 54769 w 247650"/>
                <a:gd name="connsiteY93" fmla="*/ 83344 h 504825"/>
                <a:gd name="connsiteX94" fmla="*/ 101632 w 247650"/>
                <a:gd name="connsiteY94" fmla="*/ 124492 h 504825"/>
                <a:gd name="connsiteX95" fmla="*/ 73819 w 247650"/>
                <a:gd name="connsiteY95" fmla="*/ 178594 h 504825"/>
                <a:gd name="connsiteX96" fmla="*/ 98107 w 247650"/>
                <a:gd name="connsiteY96" fmla="*/ 225171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247650" h="504825">
                  <a:moveTo>
                    <a:pt x="233267" y="254794"/>
                  </a:moveTo>
                  <a:cubicBezTo>
                    <a:pt x="241078" y="243649"/>
                    <a:pt x="245269" y="230410"/>
                    <a:pt x="245269" y="216694"/>
                  </a:cubicBezTo>
                  <a:cubicBezTo>
                    <a:pt x="245269" y="196691"/>
                    <a:pt x="236411" y="178118"/>
                    <a:pt x="221266" y="165545"/>
                  </a:cubicBezTo>
                  <a:cubicBezTo>
                    <a:pt x="224504" y="157639"/>
                    <a:pt x="226219" y="149066"/>
                    <a:pt x="226219" y="140494"/>
                  </a:cubicBezTo>
                  <a:cubicBezTo>
                    <a:pt x="226219" y="114110"/>
                    <a:pt x="210598" y="90297"/>
                    <a:pt x="186785" y="79724"/>
                  </a:cubicBezTo>
                  <a:cubicBezTo>
                    <a:pt x="180594" y="48482"/>
                    <a:pt x="153162" y="25622"/>
                    <a:pt x="120396" y="26194"/>
                  </a:cubicBezTo>
                  <a:cubicBezTo>
                    <a:pt x="108013" y="14002"/>
                    <a:pt x="91249" y="7144"/>
                    <a:pt x="73819" y="7144"/>
                  </a:cubicBezTo>
                  <a:cubicBezTo>
                    <a:pt x="37052" y="7144"/>
                    <a:pt x="7144" y="37052"/>
                    <a:pt x="7144" y="73819"/>
                  </a:cubicBezTo>
                  <a:lnTo>
                    <a:pt x="7144" y="435769"/>
                  </a:lnTo>
                  <a:cubicBezTo>
                    <a:pt x="7144" y="472535"/>
                    <a:pt x="37052" y="502444"/>
                    <a:pt x="73819" y="502444"/>
                  </a:cubicBezTo>
                  <a:cubicBezTo>
                    <a:pt x="91249" y="502444"/>
                    <a:pt x="108013" y="495586"/>
                    <a:pt x="120396" y="483394"/>
                  </a:cubicBezTo>
                  <a:cubicBezTo>
                    <a:pt x="120777" y="483394"/>
                    <a:pt x="121063" y="483394"/>
                    <a:pt x="121444" y="483394"/>
                  </a:cubicBezTo>
                  <a:cubicBezTo>
                    <a:pt x="157163" y="483394"/>
                    <a:pt x="186404" y="455105"/>
                    <a:pt x="188023" y="419767"/>
                  </a:cubicBezTo>
                  <a:cubicBezTo>
                    <a:pt x="211074" y="408813"/>
                    <a:pt x="226219" y="385477"/>
                    <a:pt x="226219" y="359569"/>
                  </a:cubicBezTo>
                  <a:cubicBezTo>
                    <a:pt x="226219" y="353568"/>
                    <a:pt x="225362" y="347663"/>
                    <a:pt x="223838" y="341852"/>
                  </a:cubicBezTo>
                  <a:cubicBezTo>
                    <a:pt x="237554" y="329279"/>
                    <a:pt x="245269" y="311753"/>
                    <a:pt x="245269" y="292894"/>
                  </a:cubicBezTo>
                  <a:cubicBezTo>
                    <a:pt x="245269" y="279178"/>
                    <a:pt x="241078" y="265938"/>
                    <a:pt x="233267" y="254794"/>
                  </a:cubicBezTo>
                  <a:close/>
                  <a:moveTo>
                    <a:pt x="214027" y="261176"/>
                  </a:moveTo>
                  <a:cubicBezTo>
                    <a:pt x="221932" y="269938"/>
                    <a:pt x="226219" y="281178"/>
                    <a:pt x="226219" y="292894"/>
                  </a:cubicBezTo>
                  <a:cubicBezTo>
                    <a:pt x="226219" y="308038"/>
                    <a:pt x="219170" y="321945"/>
                    <a:pt x="206978" y="330994"/>
                  </a:cubicBezTo>
                  <a:cubicBezTo>
                    <a:pt x="203549" y="333565"/>
                    <a:pt x="202216" y="338138"/>
                    <a:pt x="203835" y="342138"/>
                  </a:cubicBezTo>
                  <a:cubicBezTo>
                    <a:pt x="206026" y="347758"/>
                    <a:pt x="207169" y="353568"/>
                    <a:pt x="207169" y="359569"/>
                  </a:cubicBezTo>
                  <a:cubicBezTo>
                    <a:pt x="207169" y="379762"/>
                    <a:pt x="194310" y="397764"/>
                    <a:pt x="175260" y="404431"/>
                  </a:cubicBezTo>
                  <a:cubicBezTo>
                    <a:pt x="171260" y="405860"/>
                    <a:pt x="168688" y="409765"/>
                    <a:pt x="168878" y="413956"/>
                  </a:cubicBezTo>
                  <a:lnTo>
                    <a:pt x="168878" y="414909"/>
                  </a:lnTo>
                  <a:cubicBezTo>
                    <a:pt x="168973" y="415480"/>
                    <a:pt x="169069" y="416052"/>
                    <a:pt x="169069" y="416623"/>
                  </a:cubicBezTo>
                  <a:cubicBezTo>
                    <a:pt x="169069" y="437769"/>
                    <a:pt x="155067" y="455581"/>
                    <a:pt x="135922" y="461772"/>
                  </a:cubicBezTo>
                  <a:cubicBezTo>
                    <a:pt x="139637" y="453295"/>
                    <a:pt x="141256" y="444151"/>
                    <a:pt x="140398" y="434721"/>
                  </a:cubicBezTo>
                  <a:cubicBezTo>
                    <a:pt x="139922" y="429482"/>
                    <a:pt x="135446" y="425482"/>
                    <a:pt x="130112" y="426053"/>
                  </a:cubicBezTo>
                  <a:cubicBezTo>
                    <a:pt x="124873" y="426530"/>
                    <a:pt x="120968" y="431102"/>
                    <a:pt x="121444" y="436340"/>
                  </a:cubicBezTo>
                  <a:cubicBezTo>
                    <a:pt x="122396" y="447675"/>
                    <a:pt x="118396" y="458153"/>
                    <a:pt x="109728" y="466725"/>
                  </a:cubicBezTo>
                  <a:cubicBezTo>
                    <a:pt x="109728" y="466725"/>
                    <a:pt x="109728" y="466820"/>
                    <a:pt x="109633" y="466915"/>
                  </a:cubicBezTo>
                  <a:cubicBezTo>
                    <a:pt x="109633" y="467011"/>
                    <a:pt x="109442" y="467106"/>
                    <a:pt x="109347" y="467201"/>
                  </a:cubicBezTo>
                  <a:cubicBezTo>
                    <a:pt x="100298" y="477393"/>
                    <a:pt x="87344" y="483298"/>
                    <a:pt x="73723" y="483298"/>
                  </a:cubicBezTo>
                  <a:cubicBezTo>
                    <a:pt x="47435" y="483298"/>
                    <a:pt x="26098" y="461963"/>
                    <a:pt x="26098" y="435673"/>
                  </a:cubicBezTo>
                  <a:lnTo>
                    <a:pt x="26098" y="253651"/>
                  </a:lnTo>
                  <a:cubicBezTo>
                    <a:pt x="38195" y="266033"/>
                    <a:pt x="55054" y="273748"/>
                    <a:pt x="73723" y="273748"/>
                  </a:cubicBezTo>
                  <a:cubicBezTo>
                    <a:pt x="78962" y="273748"/>
                    <a:pt x="83248" y="269462"/>
                    <a:pt x="83248" y="264223"/>
                  </a:cubicBezTo>
                  <a:cubicBezTo>
                    <a:pt x="83248" y="258985"/>
                    <a:pt x="78962" y="254698"/>
                    <a:pt x="73723" y="254698"/>
                  </a:cubicBezTo>
                  <a:cubicBezTo>
                    <a:pt x="47435" y="254698"/>
                    <a:pt x="26098" y="233363"/>
                    <a:pt x="26098" y="207073"/>
                  </a:cubicBezTo>
                  <a:lnTo>
                    <a:pt x="26098" y="73723"/>
                  </a:lnTo>
                  <a:cubicBezTo>
                    <a:pt x="26098" y="47435"/>
                    <a:pt x="47435" y="26098"/>
                    <a:pt x="73723" y="26098"/>
                  </a:cubicBezTo>
                  <a:cubicBezTo>
                    <a:pt x="87249" y="26098"/>
                    <a:pt x="100298" y="32004"/>
                    <a:pt x="109347" y="42196"/>
                  </a:cubicBezTo>
                  <a:cubicBezTo>
                    <a:pt x="111347" y="44482"/>
                    <a:pt x="114300" y="45720"/>
                    <a:pt x="117253" y="45339"/>
                  </a:cubicBezTo>
                  <a:cubicBezTo>
                    <a:pt x="118586" y="45244"/>
                    <a:pt x="119920" y="45148"/>
                    <a:pt x="121348" y="45148"/>
                  </a:cubicBezTo>
                  <a:cubicBezTo>
                    <a:pt x="145637" y="45148"/>
                    <a:pt x="166021" y="63341"/>
                    <a:pt x="168688" y="87439"/>
                  </a:cubicBezTo>
                  <a:cubicBezTo>
                    <a:pt x="169069" y="91059"/>
                    <a:pt x="171545" y="94202"/>
                    <a:pt x="175070" y="95440"/>
                  </a:cubicBezTo>
                  <a:cubicBezTo>
                    <a:pt x="194215" y="102108"/>
                    <a:pt x="207169" y="120110"/>
                    <a:pt x="207169" y="140398"/>
                  </a:cubicBezTo>
                  <a:cubicBezTo>
                    <a:pt x="207169" y="148590"/>
                    <a:pt x="205073" y="156686"/>
                    <a:pt x="200978" y="163735"/>
                  </a:cubicBezTo>
                  <a:cubicBezTo>
                    <a:pt x="198501" y="168116"/>
                    <a:pt x="199835" y="173736"/>
                    <a:pt x="204121" y="176403"/>
                  </a:cubicBezTo>
                  <a:cubicBezTo>
                    <a:pt x="217932" y="185261"/>
                    <a:pt x="226123" y="200215"/>
                    <a:pt x="226123" y="216503"/>
                  </a:cubicBezTo>
                  <a:cubicBezTo>
                    <a:pt x="226123" y="228219"/>
                    <a:pt x="221742" y="239459"/>
                    <a:pt x="213931" y="248221"/>
                  </a:cubicBezTo>
                  <a:cubicBezTo>
                    <a:pt x="210693" y="251841"/>
                    <a:pt x="210693" y="257365"/>
                    <a:pt x="213931" y="260985"/>
                  </a:cubicBezTo>
                  <a:close/>
                  <a:moveTo>
                    <a:pt x="130969" y="369094"/>
                  </a:moveTo>
                  <a:cubicBezTo>
                    <a:pt x="94202" y="369094"/>
                    <a:pt x="64294" y="399002"/>
                    <a:pt x="64294" y="435769"/>
                  </a:cubicBezTo>
                  <a:cubicBezTo>
                    <a:pt x="64294" y="441007"/>
                    <a:pt x="68580" y="445294"/>
                    <a:pt x="73819" y="445294"/>
                  </a:cubicBezTo>
                  <a:cubicBezTo>
                    <a:pt x="79057" y="445294"/>
                    <a:pt x="83344" y="441007"/>
                    <a:pt x="83344" y="435769"/>
                  </a:cubicBezTo>
                  <a:cubicBezTo>
                    <a:pt x="83344" y="409480"/>
                    <a:pt x="104680" y="388144"/>
                    <a:pt x="130969" y="388144"/>
                  </a:cubicBezTo>
                  <a:cubicBezTo>
                    <a:pt x="136207" y="388144"/>
                    <a:pt x="140494" y="383857"/>
                    <a:pt x="140494" y="378619"/>
                  </a:cubicBezTo>
                  <a:cubicBezTo>
                    <a:pt x="140494" y="373380"/>
                    <a:pt x="136207" y="369094"/>
                    <a:pt x="130969" y="369094"/>
                  </a:cubicBezTo>
                  <a:close/>
                  <a:moveTo>
                    <a:pt x="155162" y="152781"/>
                  </a:moveTo>
                  <a:cubicBezTo>
                    <a:pt x="151447" y="156496"/>
                    <a:pt x="151447" y="162496"/>
                    <a:pt x="155162" y="166211"/>
                  </a:cubicBezTo>
                  <a:cubicBezTo>
                    <a:pt x="164116" y="175165"/>
                    <a:pt x="169069" y="187166"/>
                    <a:pt x="169069" y="199930"/>
                  </a:cubicBezTo>
                  <a:cubicBezTo>
                    <a:pt x="169069" y="212693"/>
                    <a:pt x="164116" y="224599"/>
                    <a:pt x="155162" y="233648"/>
                  </a:cubicBezTo>
                  <a:cubicBezTo>
                    <a:pt x="151447" y="237363"/>
                    <a:pt x="151447" y="243364"/>
                    <a:pt x="155162" y="247079"/>
                  </a:cubicBezTo>
                  <a:cubicBezTo>
                    <a:pt x="157067" y="248984"/>
                    <a:pt x="159448" y="249841"/>
                    <a:pt x="161925" y="249841"/>
                  </a:cubicBezTo>
                  <a:cubicBezTo>
                    <a:pt x="164402" y="249841"/>
                    <a:pt x="166783" y="248888"/>
                    <a:pt x="168688" y="247079"/>
                  </a:cubicBezTo>
                  <a:cubicBezTo>
                    <a:pt x="181261" y="234505"/>
                    <a:pt x="188214" y="217741"/>
                    <a:pt x="188214" y="199930"/>
                  </a:cubicBezTo>
                  <a:cubicBezTo>
                    <a:pt x="188214" y="182118"/>
                    <a:pt x="181261" y="165354"/>
                    <a:pt x="168688" y="152781"/>
                  </a:cubicBezTo>
                  <a:cubicBezTo>
                    <a:pt x="164973" y="149066"/>
                    <a:pt x="158972" y="149066"/>
                    <a:pt x="155257" y="152781"/>
                  </a:cubicBezTo>
                  <a:close/>
                  <a:moveTo>
                    <a:pt x="132397" y="296228"/>
                  </a:moveTo>
                  <a:cubicBezTo>
                    <a:pt x="137636" y="286703"/>
                    <a:pt x="140589" y="275844"/>
                    <a:pt x="140589" y="264319"/>
                  </a:cubicBezTo>
                  <a:cubicBezTo>
                    <a:pt x="140589" y="259080"/>
                    <a:pt x="136303" y="254794"/>
                    <a:pt x="131064" y="254794"/>
                  </a:cubicBezTo>
                  <a:cubicBezTo>
                    <a:pt x="125825" y="254794"/>
                    <a:pt x="121539" y="259080"/>
                    <a:pt x="121539" y="264319"/>
                  </a:cubicBezTo>
                  <a:cubicBezTo>
                    <a:pt x="121539" y="290608"/>
                    <a:pt x="100203" y="311944"/>
                    <a:pt x="73914" y="311944"/>
                  </a:cubicBezTo>
                  <a:cubicBezTo>
                    <a:pt x="68675" y="311944"/>
                    <a:pt x="64389" y="316230"/>
                    <a:pt x="64389" y="321469"/>
                  </a:cubicBezTo>
                  <a:cubicBezTo>
                    <a:pt x="64389" y="326707"/>
                    <a:pt x="68675" y="330994"/>
                    <a:pt x="73914" y="330994"/>
                  </a:cubicBezTo>
                  <a:cubicBezTo>
                    <a:pt x="91535" y="330994"/>
                    <a:pt x="107632" y="324040"/>
                    <a:pt x="119539" y="312801"/>
                  </a:cubicBezTo>
                  <a:cubicBezTo>
                    <a:pt x="142304" y="316421"/>
                    <a:pt x="159639" y="336137"/>
                    <a:pt x="159639" y="359569"/>
                  </a:cubicBezTo>
                  <a:cubicBezTo>
                    <a:pt x="159639" y="364807"/>
                    <a:pt x="163925" y="369094"/>
                    <a:pt x="169164" y="369094"/>
                  </a:cubicBezTo>
                  <a:cubicBezTo>
                    <a:pt x="174403" y="369094"/>
                    <a:pt x="178689" y="364807"/>
                    <a:pt x="178689" y="359569"/>
                  </a:cubicBezTo>
                  <a:cubicBezTo>
                    <a:pt x="178689" y="330232"/>
                    <a:pt x="159353" y="304895"/>
                    <a:pt x="132397" y="296228"/>
                  </a:cubicBezTo>
                  <a:close/>
                  <a:moveTo>
                    <a:pt x="98203" y="225171"/>
                  </a:moveTo>
                  <a:cubicBezTo>
                    <a:pt x="99536" y="225838"/>
                    <a:pt x="100965" y="226123"/>
                    <a:pt x="102394" y="226123"/>
                  </a:cubicBezTo>
                  <a:cubicBezTo>
                    <a:pt x="105823" y="226123"/>
                    <a:pt x="109156" y="224219"/>
                    <a:pt x="110776" y="220980"/>
                  </a:cubicBezTo>
                  <a:cubicBezTo>
                    <a:pt x="113157" y="216408"/>
                    <a:pt x="111347" y="210598"/>
                    <a:pt x="106775" y="208216"/>
                  </a:cubicBezTo>
                  <a:cubicBezTo>
                    <a:pt x="106204" y="207931"/>
                    <a:pt x="92869" y="200501"/>
                    <a:pt x="92869" y="178594"/>
                  </a:cubicBezTo>
                  <a:cubicBezTo>
                    <a:pt x="92869" y="152305"/>
                    <a:pt x="114205" y="130969"/>
                    <a:pt x="140494" y="130969"/>
                  </a:cubicBezTo>
                  <a:cubicBezTo>
                    <a:pt x="145732" y="130969"/>
                    <a:pt x="150019" y="126682"/>
                    <a:pt x="150019" y="121444"/>
                  </a:cubicBezTo>
                  <a:cubicBezTo>
                    <a:pt x="150019" y="116205"/>
                    <a:pt x="145732" y="111919"/>
                    <a:pt x="140494" y="111919"/>
                  </a:cubicBezTo>
                  <a:cubicBezTo>
                    <a:pt x="133160" y="111919"/>
                    <a:pt x="126111" y="113157"/>
                    <a:pt x="119539" y="115348"/>
                  </a:cubicBezTo>
                  <a:cubicBezTo>
                    <a:pt x="112586" y="85820"/>
                    <a:pt x="86296" y="64294"/>
                    <a:pt x="54769" y="64294"/>
                  </a:cubicBezTo>
                  <a:cubicBezTo>
                    <a:pt x="49530" y="64294"/>
                    <a:pt x="45244" y="68580"/>
                    <a:pt x="45244" y="73819"/>
                  </a:cubicBezTo>
                  <a:cubicBezTo>
                    <a:pt x="45244" y="79057"/>
                    <a:pt x="49530" y="83344"/>
                    <a:pt x="54769" y="83344"/>
                  </a:cubicBezTo>
                  <a:cubicBezTo>
                    <a:pt x="78962" y="83344"/>
                    <a:pt x="98488" y="101060"/>
                    <a:pt x="101632" y="124492"/>
                  </a:cubicBezTo>
                  <a:cubicBezTo>
                    <a:pt x="84772" y="136588"/>
                    <a:pt x="73819" y="156305"/>
                    <a:pt x="73819" y="178594"/>
                  </a:cubicBezTo>
                  <a:cubicBezTo>
                    <a:pt x="73819" y="212693"/>
                    <a:pt x="97155" y="224695"/>
                    <a:pt x="98107" y="2251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8DA0855-B71E-4FB3-AAFB-0C5BFBC8689B}"/>
              </a:ext>
            </a:extLst>
          </p:cNvPr>
          <p:cNvGrpSpPr/>
          <p:nvPr/>
        </p:nvGrpSpPr>
        <p:grpSpPr>
          <a:xfrm>
            <a:off x="1408116" y="5416771"/>
            <a:ext cx="504825" cy="504825"/>
            <a:chOff x="3706115" y="2836164"/>
            <a:chExt cx="504825" cy="504825"/>
          </a:xfrm>
          <a:solidFill>
            <a:schemeClr val="bg1"/>
          </a:solidFill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4B9C67D-3594-467C-AF96-50AD1C902B2D}"/>
                </a:ext>
              </a:extLst>
            </p:cNvPr>
            <p:cNvSpPr/>
            <p:nvPr/>
          </p:nvSpPr>
          <p:spPr>
            <a:xfrm>
              <a:off x="3877469" y="3007519"/>
              <a:ext cx="95250" cy="95250"/>
            </a:xfrm>
            <a:custGeom>
              <a:avLst/>
              <a:gdLst>
                <a:gd name="connsiteX0" fmla="*/ 16669 w 95250"/>
                <a:gd name="connsiteY0" fmla="*/ 92869 h 95250"/>
                <a:gd name="connsiteX1" fmla="*/ 7144 w 95250"/>
                <a:gd name="connsiteY1" fmla="*/ 83344 h 95250"/>
                <a:gd name="connsiteX2" fmla="*/ 83344 w 95250"/>
                <a:gd name="connsiteY2" fmla="*/ 7144 h 95250"/>
                <a:gd name="connsiteX3" fmla="*/ 92869 w 95250"/>
                <a:gd name="connsiteY3" fmla="*/ 16669 h 95250"/>
                <a:gd name="connsiteX4" fmla="*/ 83344 w 95250"/>
                <a:gd name="connsiteY4" fmla="*/ 26194 h 95250"/>
                <a:gd name="connsiteX5" fmla="*/ 26194 w 95250"/>
                <a:gd name="connsiteY5" fmla="*/ 83344 h 95250"/>
                <a:gd name="connsiteX6" fmla="*/ 16669 w 95250"/>
                <a:gd name="connsiteY6" fmla="*/ 92869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95250">
                  <a:moveTo>
                    <a:pt x="16669" y="92869"/>
                  </a:moveTo>
                  <a:cubicBezTo>
                    <a:pt x="11430" y="92869"/>
                    <a:pt x="7144" y="88582"/>
                    <a:pt x="7144" y="83344"/>
                  </a:cubicBezTo>
                  <a:cubicBezTo>
                    <a:pt x="7144" y="41338"/>
                    <a:pt x="41338" y="7144"/>
                    <a:pt x="83344" y="7144"/>
                  </a:cubicBezTo>
                  <a:cubicBezTo>
                    <a:pt x="88582" y="7144"/>
                    <a:pt x="92869" y="11430"/>
                    <a:pt x="92869" y="16669"/>
                  </a:cubicBezTo>
                  <a:cubicBezTo>
                    <a:pt x="92869" y="21907"/>
                    <a:pt x="88582" y="26194"/>
                    <a:pt x="83344" y="26194"/>
                  </a:cubicBezTo>
                  <a:cubicBezTo>
                    <a:pt x="51816" y="26194"/>
                    <a:pt x="26194" y="51816"/>
                    <a:pt x="26194" y="83344"/>
                  </a:cubicBezTo>
                  <a:cubicBezTo>
                    <a:pt x="26194" y="88582"/>
                    <a:pt x="21907" y="92869"/>
                    <a:pt x="16669" y="928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3E49FC4-746F-4D9F-92A7-34746C714D57}"/>
                </a:ext>
              </a:extLst>
            </p:cNvPr>
            <p:cNvSpPr/>
            <p:nvPr/>
          </p:nvSpPr>
          <p:spPr>
            <a:xfrm>
              <a:off x="3706115" y="2836164"/>
              <a:ext cx="504825" cy="504825"/>
            </a:xfrm>
            <a:custGeom>
              <a:avLst/>
              <a:gdLst>
                <a:gd name="connsiteX0" fmla="*/ 280988 w 504825"/>
                <a:gd name="connsiteY0" fmla="*/ 502349 h 504825"/>
                <a:gd name="connsiteX1" fmla="*/ 226123 w 504825"/>
                <a:gd name="connsiteY1" fmla="*/ 502349 h 504825"/>
                <a:gd name="connsiteX2" fmla="*/ 207073 w 504825"/>
                <a:gd name="connsiteY2" fmla="*/ 480155 h 504825"/>
                <a:gd name="connsiteX3" fmla="*/ 207073 w 504825"/>
                <a:gd name="connsiteY3" fmla="*/ 450723 h 504825"/>
                <a:gd name="connsiteX4" fmla="*/ 205073 w 504825"/>
                <a:gd name="connsiteY4" fmla="*/ 448532 h 504825"/>
                <a:gd name="connsiteX5" fmla="*/ 152781 w 504825"/>
                <a:gd name="connsiteY5" fmla="*/ 426815 h 504825"/>
                <a:gd name="connsiteX6" fmla="*/ 149733 w 504825"/>
                <a:gd name="connsiteY6" fmla="*/ 427006 h 504825"/>
                <a:gd name="connsiteX7" fmla="*/ 128302 w 504825"/>
                <a:gd name="connsiteY7" fmla="*/ 448437 h 504825"/>
                <a:gd name="connsiteX8" fmla="*/ 98107 w 504825"/>
                <a:gd name="connsiteY8" fmla="*/ 448437 h 504825"/>
                <a:gd name="connsiteX9" fmla="*/ 60960 w 504825"/>
                <a:gd name="connsiteY9" fmla="*/ 411290 h 504825"/>
                <a:gd name="connsiteX10" fmla="*/ 63151 w 504825"/>
                <a:gd name="connsiteY10" fmla="*/ 378905 h 504825"/>
                <a:gd name="connsiteX11" fmla="*/ 82487 w 504825"/>
                <a:gd name="connsiteY11" fmla="*/ 359569 h 504825"/>
                <a:gd name="connsiteX12" fmla="*/ 82677 w 504825"/>
                <a:gd name="connsiteY12" fmla="*/ 356616 h 504825"/>
                <a:gd name="connsiteX13" fmla="*/ 60960 w 504825"/>
                <a:gd name="connsiteY13" fmla="*/ 304324 h 504825"/>
                <a:gd name="connsiteX14" fmla="*/ 58674 w 504825"/>
                <a:gd name="connsiteY14" fmla="*/ 302324 h 504825"/>
                <a:gd name="connsiteX15" fmla="*/ 28480 w 504825"/>
                <a:gd name="connsiteY15" fmla="*/ 302324 h 504825"/>
                <a:gd name="connsiteX16" fmla="*/ 7144 w 504825"/>
                <a:gd name="connsiteY16" fmla="*/ 280988 h 504825"/>
                <a:gd name="connsiteX17" fmla="*/ 7144 w 504825"/>
                <a:gd name="connsiteY17" fmla="*/ 228409 h 504825"/>
                <a:gd name="connsiteX18" fmla="*/ 31528 w 504825"/>
                <a:gd name="connsiteY18" fmla="*/ 207074 h 504825"/>
                <a:gd name="connsiteX19" fmla="*/ 58769 w 504825"/>
                <a:gd name="connsiteY19" fmla="*/ 207074 h 504825"/>
                <a:gd name="connsiteX20" fmla="*/ 60960 w 504825"/>
                <a:gd name="connsiteY20" fmla="*/ 205073 h 504825"/>
                <a:gd name="connsiteX21" fmla="*/ 82677 w 504825"/>
                <a:gd name="connsiteY21" fmla="*/ 152781 h 504825"/>
                <a:gd name="connsiteX22" fmla="*/ 82487 w 504825"/>
                <a:gd name="connsiteY22" fmla="*/ 149733 h 504825"/>
                <a:gd name="connsiteX23" fmla="*/ 61055 w 504825"/>
                <a:gd name="connsiteY23" fmla="*/ 128302 h 504825"/>
                <a:gd name="connsiteX24" fmla="*/ 61055 w 504825"/>
                <a:gd name="connsiteY24" fmla="*/ 98108 h 504825"/>
                <a:gd name="connsiteX25" fmla="*/ 98203 w 504825"/>
                <a:gd name="connsiteY25" fmla="*/ 60960 h 504825"/>
                <a:gd name="connsiteX26" fmla="*/ 130588 w 504825"/>
                <a:gd name="connsiteY26" fmla="*/ 63151 h 504825"/>
                <a:gd name="connsiteX27" fmla="*/ 149923 w 504825"/>
                <a:gd name="connsiteY27" fmla="*/ 82487 h 504825"/>
                <a:gd name="connsiteX28" fmla="*/ 152876 w 504825"/>
                <a:gd name="connsiteY28" fmla="*/ 82677 h 504825"/>
                <a:gd name="connsiteX29" fmla="*/ 205168 w 504825"/>
                <a:gd name="connsiteY29" fmla="*/ 60960 h 504825"/>
                <a:gd name="connsiteX30" fmla="*/ 207169 w 504825"/>
                <a:gd name="connsiteY30" fmla="*/ 58674 h 504825"/>
                <a:gd name="connsiteX31" fmla="*/ 207169 w 504825"/>
                <a:gd name="connsiteY31" fmla="*/ 28480 h 504825"/>
                <a:gd name="connsiteX32" fmla="*/ 228505 w 504825"/>
                <a:gd name="connsiteY32" fmla="*/ 7144 h 504825"/>
                <a:gd name="connsiteX33" fmla="*/ 281083 w 504825"/>
                <a:gd name="connsiteY33" fmla="*/ 7144 h 504825"/>
                <a:gd name="connsiteX34" fmla="*/ 302419 w 504825"/>
                <a:gd name="connsiteY34" fmla="*/ 31528 h 504825"/>
                <a:gd name="connsiteX35" fmla="*/ 302419 w 504825"/>
                <a:gd name="connsiteY35" fmla="*/ 58769 h 504825"/>
                <a:gd name="connsiteX36" fmla="*/ 304419 w 504825"/>
                <a:gd name="connsiteY36" fmla="*/ 60960 h 504825"/>
                <a:gd name="connsiteX37" fmla="*/ 356711 w 504825"/>
                <a:gd name="connsiteY37" fmla="*/ 82677 h 504825"/>
                <a:gd name="connsiteX38" fmla="*/ 359759 w 504825"/>
                <a:gd name="connsiteY38" fmla="*/ 82487 h 504825"/>
                <a:gd name="connsiteX39" fmla="*/ 381190 w 504825"/>
                <a:gd name="connsiteY39" fmla="*/ 61055 h 504825"/>
                <a:gd name="connsiteX40" fmla="*/ 411385 w 504825"/>
                <a:gd name="connsiteY40" fmla="*/ 61055 h 504825"/>
                <a:gd name="connsiteX41" fmla="*/ 448532 w 504825"/>
                <a:gd name="connsiteY41" fmla="*/ 98203 h 504825"/>
                <a:gd name="connsiteX42" fmla="*/ 446341 w 504825"/>
                <a:gd name="connsiteY42" fmla="*/ 130588 h 504825"/>
                <a:gd name="connsiteX43" fmla="*/ 427006 w 504825"/>
                <a:gd name="connsiteY43" fmla="*/ 149924 h 504825"/>
                <a:gd name="connsiteX44" fmla="*/ 426815 w 504825"/>
                <a:gd name="connsiteY44" fmla="*/ 152876 h 504825"/>
                <a:gd name="connsiteX45" fmla="*/ 448532 w 504825"/>
                <a:gd name="connsiteY45" fmla="*/ 205168 h 504825"/>
                <a:gd name="connsiteX46" fmla="*/ 450818 w 504825"/>
                <a:gd name="connsiteY46" fmla="*/ 207169 h 504825"/>
                <a:gd name="connsiteX47" fmla="*/ 481013 w 504825"/>
                <a:gd name="connsiteY47" fmla="*/ 207169 h 504825"/>
                <a:gd name="connsiteX48" fmla="*/ 502348 w 504825"/>
                <a:gd name="connsiteY48" fmla="*/ 228505 h 504825"/>
                <a:gd name="connsiteX49" fmla="*/ 502348 w 504825"/>
                <a:gd name="connsiteY49" fmla="*/ 281083 h 504825"/>
                <a:gd name="connsiteX50" fmla="*/ 477964 w 504825"/>
                <a:gd name="connsiteY50" fmla="*/ 302419 h 504825"/>
                <a:gd name="connsiteX51" fmla="*/ 450723 w 504825"/>
                <a:gd name="connsiteY51" fmla="*/ 302419 h 504825"/>
                <a:gd name="connsiteX52" fmla="*/ 448532 w 504825"/>
                <a:gd name="connsiteY52" fmla="*/ 304419 h 504825"/>
                <a:gd name="connsiteX53" fmla="*/ 435864 w 504825"/>
                <a:gd name="connsiteY53" fmla="*/ 339376 h 504825"/>
                <a:gd name="connsiteX54" fmla="*/ 423196 w 504825"/>
                <a:gd name="connsiteY54" fmla="*/ 343948 h 504825"/>
                <a:gd name="connsiteX55" fmla="*/ 418624 w 504825"/>
                <a:gd name="connsiteY55" fmla="*/ 331280 h 504825"/>
                <a:gd name="connsiteX56" fmla="*/ 430054 w 504825"/>
                <a:gd name="connsiteY56" fmla="*/ 299657 h 504825"/>
                <a:gd name="connsiteX57" fmla="*/ 450723 w 504825"/>
                <a:gd name="connsiteY57" fmla="*/ 283369 h 504825"/>
                <a:gd name="connsiteX58" fmla="*/ 477964 w 504825"/>
                <a:gd name="connsiteY58" fmla="*/ 283369 h 504825"/>
                <a:gd name="connsiteX59" fmla="*/ 483298 w 504825"/>
                <a:gd name="connsiteY59" fmla="*/ 281083 h 504825"/>
                <a:gd name="connsiteX60" fmla="*/ 483298 w 504825"/>
                <a:gd name="connsiteY60" fmla="*/ 228505 h 504825"/>
                <a:gd name="connsiteX61" fmla="*/ 481013 w 504825"/>
                <a:gd name="connsiteY61" fmla="*/ 226219 h 504825"/>
                <a:gd name="connsiteX62" fmla="*/ 450818 w 504825"/>
                <a:gd name="connsiteY62" fmla="*/ 226219 h 504825"/>
                <a:gd name="connsiteX63" fmla="*/ 430149 w 504825"/>
                <a:gd name="connsiteY63" fmla="*/ 209931 h 504825"/>
                <a:gd name="connsiteX64" fmla="*/ 410527 w 504825"/>
                <a:gd name="connsiteY64" fmla="*/ 162592 h 504825"/>
                <a:gd name="connsiteX65" fmla="*/ 413575 w 504825"/>
                <a:gd name="connsiteY65" fmla="*/ 136398 h 504825"/>
                <a:gd name="connsiteX66" fmla="*/ 432911 w 504825"/>
                <a:gd name="connsiteY66" fmla="*/ 117062 h 504825"/>
                <a:gd name="connsiteX67" fmla="*/ 435102 w 504825"/>
                <a:gd name="connsiteY67" fmla="*/ 111633 h 504825"/>
                <a:gd name="connsiteX68" fmla="*/ 397955 w 504825"/>
                <a:gd name="connsiteY68" fmla="*/ 74485 h 504825"/>
                <a:gd name="connsiteX69" fmla="*/ 394716 w 504825"/>
                <a:gd name="connsiteY69" fmla="*/ 74485 h 504825"/>
                <a:gd name="connsiteX70" fmla="*/ 373285 w 504825"/>
                <a:gd name="connsiteY70" fmla="*/ 95917 h 504825"/>
                <a:gd name="connsiteX71" fmla="*/ 347091 w 504825"/>
                <a:gd name="connsiteY71" fmla="*/ 98965 h 504825"/>
                <a:gd name="connsiteX72" fmla="*/ 299847 w 504825"/>
                <a:gd name="connsiteY72" fmla="*/ 79343 h 504825"/>
                <a:gd name="connsiteX73" fmla="*/ 283559 w 504825"/>
                <a:gd name="connsiteY73" fmla="*/ 58674 h 504825"/>
                <a:gd name="connsiteX74" fmla="*/ 283559 w 504825"/>
                <a:gd name="connsiteY74" fmla="*/ 31433 h 504825"/>
                <a:gd name="connsiteX75" fmla="*/ 281273 w 504825"/>
                <a:gd name="connsiteY75" fmla="*/ 26099 h 504825"/>
                <a:gd name="connsiteX76" fmla="*/ 228695 w 504825"/>
                <a:gd name="connsiteY76" fmla="*/ 26099 h 504825"/>
                <a:gd name="connsiteX77" fmla="*/ 226409 w 504825"/>
                <a:gd name="connsiteY77" fmla="*/ 28385 h 504825"/>
                <a:gd name="connsiteX78" fmla="*/ 226409 w 504825"/>
                <a:gd name="connsiteY78" fmla="*/ 58579 h 504825"/>
                <a:gd name="connsiteX79" fmla="*/ 210121 w 504825"/>
                <a:gd name="connsiteY79" fmla="*/ 79248 h 504825"/>
                <a:gd name="connsiteX80" fmla="*/ 162782 w 504825"/>
                <a:gd name="connsiteY80" fmla="*/ 98870 h 504825"/>
                <a:gd name="connsiteX81" fmla="*/ 136588 w 504825"/>
                <a:gd name="connsiteY81" fmla="*/ 95822 h 504825"/>
                <a:gd name="connsiteX82" fmla="*/ 117348 w 504825"/>
                <a:gd name="connsiteY82" fmla="*/ 76581 h 504825"/>
                <a:gd name="connsiteX83" fmla="*/ 111919 w 504825"/>
                <a:gd name="connsiteY83" fmla="*/ 74390 h 504825"/>
                <a:gd name="connsiteX84" fmla="*/ 74771 w 504825"/>
                <a:gd name="connsiteY84" fmla="*/ 111538 h 504825"/>
                <a:gd name="connsiteX85" fmla="*/ 74104 w 504825"/>
                <a:gd name="connsiteY85" fmla="*/ 113157 h 504825"/>
                <a:gd name="connsiteX86" fmla="*/ 74771 w 504825"/>
                <a:gd name="connsiteY86" fmla="*/ 114776 h 504825"/>
                <a:gd name="connsiteX87" fmla="*/ 96202 w 504825"/>
                <a:gd name="connsiteY87" fmla="*/ 136208 h 504825"/>
                <a:gd name="connsiteX88" fmla="*/ 99346 w 504825"/>
                <a:gd name="connsiteY88" fmla="*/ 162401 h 504825"/>
                <a:gd name="connsiteX89" fmla="*/ 79724 w 504825"/>
                <a:gd name="connsiteY89" fmla="*/ 209645 h 504825"/>
                <a:gd name="connsiteX90" fmla="*/ 59055 w 504825"/>
                <a:gd name="connsiteY90" fmla="*/ 225933 h 504825"/>
                <a:gd name="connsiteX91" fmla="*/ 31813 w 504825"/>
                <a:gd name="connsiteY91" fmla="*/ 225933 h 504825"/>
                <a:gd name="connsiteX92" fmla="*/ 26479 w 504825"/>
                <a:gd name="connsiteY92" fmla="*/ 228219 h 504825"/>
                <a:gd name="connsiteX93" fmla="*/ 26479 w 504825"/>
                <a:gd name="connsiteY93" fmla="*/ 280797 h 504825"/>
                <a:gd name="connsiteX94" fmla="*/ 28765 w 504825"/>
                <a:gd name="connsiteY94" fmla="*/ 283083 h 504825"/>
                <a:gd name="connsiteX95" fmla="*/ 58960 w 504825"/>
                <a:gd name="connsiteY95" fmla="*/ 283083 h 504825"/>
                <a:gd name="connsiteX96" fmla="*/ 79629 w 504825"/>
                <a:gd name="connsiteY96" fmla="*/ 299371 h 504825"/>
                <a:gd name="connsiteX97" fmla="*/ 99250 w 504825"/>
                <a:gd name="connsiteY97" fmla="*/ 346710 h 504825"/>
                <a:gd name="connsiteX98" fmla="*/ 96202 w 504825"/>
                <a:gd name="connsiteY98" fmla="*/ 372904 h 504825"/>
                <a:gd name="connsiteX99" fmla="*/ 76867 w 504825"/>
                <a:gd name="connsiteY99" fmla="*/ 392240 h 504825"/>
                <a:gd name="connsiteX100" fmla="*/ 74676 w 504825"/>
                <a:gd name="connsiteY100" fmla="*/ 397669 h 504825"/>
                <a:gd name="connsiteX101" fmla="*/ 111823 w 504825"/>
                <a:gd name="connsiteY101" fmla="*/ 434816 h 504825"/>
                <a:gd name="connsiteX102" fmla="*/ 115062 w 504825"/>
                <a:gd name="connsiteY102" fmla="*/ 434816 h 504825"/>
                <a:gd name="connsiteX103" fmla="*/ 136493 w 504825"/>
                <a:gd name="connsiteY103" fmla="*/ 413385 h 504825"/>
                <a:gd name="connsiteX104" fmla="*/ 162687 w 504825"/>
                <a:gd name="connsiteY104" fmla="*/ 410242 h 504825"/>
                <a:gd name="connsiteX105" fmla="*/ 209931 w 504825"/>
                <a:gd name="connsiteY105" fmla="*/ 429863 h 504825"/>
                <a:gd name="connsiteX106" fmla="*/ 226219 w 504825"/>
                <a:gd name="connsiteY106" fmla="*/ 450533 h 504825"/>
                <a:gd name="connsiteX107" fmla="*/ 226219 w 504825"/>
                <a:gd name="connsiteY107" fmla="*/ 479965 h 504825"/>
                <a:gd name="connsiteX108" fmla="*/ 226885 w 504825"/>
                <a:gd name="connsiteY108" fmla="*/ 483394 h 504825"/>
                <a:gd name="connsiteX109" fmla="*/ 281083 w 504825"/>
                <a:gd name="connsiteY109" fmla="*/ 483013 h 504825"/>
                <a:gd name="connsiteX110" fmla="*/ 283369 w 504825"/>
                <a:gd name="connsiteY110" fmla="*/ 480727 h 504825"/>
                <a:gd name="connsiteX111" fmla="*/ 283369 w 504825"/>
                <a:gd name="connsiteY111" fmla="*/ 450533 h 504825"/>
                <a:gd name="connsiteX112" fmla="*/ 299656 w 504825"/>
                <a:gd name="connsiteY112" fmla="*/ 429863 h 504825"/>
                <a:gd name="connsiteX113" fmla="*/ 331280 w 504825"/>
                <a:gd name="connsiteY113" fmla="*/ 418433 h 504825"/>
                <a:gd name="connsiteX114" fmla="*/ 343948 w 504825"/>
                <a:gd name="connsiteY114" fmla="*/ 423005 h 504825"/>
                <a:gd name="connsiteX115" fmla="*/ 339376 w 504825"/>
                <a:gd name="connsiteY115" fmla="*/ 435674 h 504825"/>
                <a:gd name="connsiteX116" fmla="*/ 304419 w 504825"/>
                <a:gd name="connsiteY116" fmla="*/ 448342 h 504825"/>
                <a:gd name="connsiteX117" fmla="*/ 302419 w 504825"/>
                <a:gd name="connsiteY117" fmla="*/ 450628 h 504825"/>
                <a:gd name="connsiteX118" fmla="*/ 302419 w 504825"/>
                <a:gd name="connsiteY118" fmla="*/ 480822 h 504825"/>
                <a:gd name="connsiteX119" fmla="*/ 281083 w 504825"/>
                <a:gd name="connsiteY119" fmla="*/ 502158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504825" h="504825">
                  <a:moveTo>
                    <a:pt x="280988" y="502349"/>
                  </a:moveTo>
                  <a:lnTo>
                    <a:pt x="226123" y="502349"/>
                  </a:lnTo>
                  <a:cubicBezTo>
                    <a:pt x="216979" y="502349"/>
                    <a:pt x="207073" y="495395"/>
                    <a:pt x="207073" y="480155"/>
                  </a:cubicBezTo>
                  <a:lnTo>
                    <a:pt x="207073" y="450723"/>
                  </a:lnTo>
                  <a:cubicBezTo>
                    <a:pt x="207073" y="449485"/>
                    <a:pt x="206026" y="448723"/>
                    <a:pt x="205073" y="448532"/>
                  </a:cubicBezTo>
                  <a:cubicBezTo>
                    <a:pt x="186785" y="443865"/>
                    <a:pt x="169164" y="436531"/>
                    <a:pt x="152781" y="426815"/>
                  </a:cubicBezTo>
                  <a:cubicBezTo>
                    <a:pt x="151924" y="426339"/>
                    <a:pt x="150685" y="426149"/>
                    <a:pt x="149733" y="427006"/>
                  </a:cubicBezTo>
                  <a:lnTo>
                    <a:pt x="128302" y="448437"/>
                  </a:lnTo>
                  <a:cubicBezTo>
                    <a:pt x="120015" y="456724"/>
                    <a:pt x="106489" y="456724"/>
                    <a:pt x="98107" y="448437"/>
                  </a:cubicBezTo>
                  <a:lnTo>
                    <a:pt x="60960" y="411290"/>
                  </a:lnTo>
                  <a:cubicBezTo>
                    <a:pt x="53435" y="403765"/>
                    <a:pt x="51816" y="390239"/>
                    <a:pt x="63151" y="378905"/>
                  </a:cubicBezTo>
                  <a:lnTo>
                    <a:pt x="82487" y="359569"/>
                  </a:lnTo>
                  <a:cubicBezTo>
                    <a:pt x="83344" y="358712"/>
                    <a:pt x="83153" y="357378"/>
                    <a:pt x="82677" y="356616"/>
                  </a:cubicBezTo>
                  <a:cubicBezTo>
                    <a:pt x="72962" y="340233"/>
                    <a:pt x="65627" y="322612"/>
                    <a:pt x="60960" y="304324"/>
                  </a:cubicBezTo>
                  <a:cubicBezTo>
                    <a:pt x="60674" y="303371"/>
                    <a:pt x="59912" y="302324"/>
                    <a:pt x="58674" y="302324"/>
                  </a:cubicBezTo>
                  <a:lnTo>
                    <a:pt x="28480" y="302324"/>
                  </a:lnTo>
                  <a:cubicBezTo>
                    <a:pt x="16669" y="302324"/>
                    <a:pt x="7144" y="292703"/>
                    <a:pt x="7144" y="280988"/>
                  </a:cubicBezTo>
                  <a:lnTo>
                    <a:pt x="7144" y="228409"/>
                  </a:lnTo>
                  <a:cubicBezTo>
                    <a:pt x="7144" y="217837"/>
                    <a:pt x="15526" y="207074"/>
                    <a:pt x="31528" y="207074"/>
                  </a:cubicBezTo>
                  <a:lnTo>
                    <a:pt x="58769" y="207074"/>
                  </a:lnTo>
                  <a:cubicBezTo>
                    <a:pt x="60007" y="207074"/>
                    <a:pt x="60770" y="206026"/>
                    <a:pt x="60960" y="205073"/>
                  </a:cubicBezTo>
                  <a:cubicBezTo>
                    <a:pt x="65627" y="186785"/>
                    <a:pt x="72962" y="169164"/>
                    <a:pt x="82677" y="152781"/>
                  </a:cubicBezTo>
                  <a:cubicBezTo>
                    <a:pt x="83153" y="151924"/>
                    <a:pt x="83344" y="150590"/>
                    <a:pt x="82487" y="149733"/>
                  </a:cubicBezTo>
                  <a:lnTo>
                    <a:pt x="61055" y="128302"/>
                  </a:lnTo>
                  <a:cubicBezTo>
                    <a:pt x="52768" y="120015"/>
                    <a:pt x="52768" y="106490"/>
                    <a:pt x="61055" y="98108"/>
                  </a:cubicBezTo>
                  <a:lnTo>
                    <a:pt x="98203" y="60960"/>
                  </a:lnTo>
                  <a:cubicBezTo>
                    <a:pt x="105727" y="53435"/>
                    <a:pt x="119253" y="51816"/>
                    <a:pt x="130588" y="63151"/>
                  </a:cubicBezTo>
                  <a:lnTo>
                    <a:pt x="149923" y="82487"/>
                  </a:lnTo>
                  <a:cubicBezTo>
                    <a:pt x="150781" y="83344"/>
                    <a:pt x="152114" y="83153"/>
                    <a:pt x="152876" y="82677"/>
                  </a:cubicBezTo>
                  <a:cubicBezTo>
                    <a:pt x="169259" y="72962"/>
                    <a:pt x="186880" y="65627"/>
                    <a:pt x="205168" y="60960"/>
                  </a:cubicBezTo>
                  <a:cubicBezTo>
                    <a:pt x="206121" y="60674"/>
                    <a:pt x="207169" y="59912"/>
                    <a:pt x="207169" y="58674"/>
                  </a:cubicBezTo>
                  <a:lnTo>
                    <a:pt x="207169" y="28480"/>
                  </a:lnTo>
                  <a:cubicBezTo>
                    <a:pt x="207169" y="16669"/>
                    <a:pt x="216789" y="7144"/>
                    <a:pt x="228505" y="7144"/>
                  </a:cubicBezTo>
                  <a:lnTo>
                    <a:pt x="281083" y="7144"/>
                  </a:lnTo>
                  <a:cubicBezTo>
                    <a:pt x="291655" y="7144"/>
                    <a:pt x="302419" y="15526"/>
                    <a:pt x="302419" y="31528"/>
                  </a:cubicBezTo>
                  <a:lnTo>
                    <a:pt x="302419" y="58769"/>
                  </a:lnTo>
                  <a:cubicBezTo>
                    <a:pt x="302419" y="60008"/>
                    <a:pt x="303466" y="60770"/>
                    <a:pt x="304419" y="60960"/>
                  </a:cubicBezTo>
                  <a:cubicBezTo>
                    <a:pt x="322707" y="65627"/>
                    <a:pt x="340328" y="72962"/>
                    <a:pt x="356711" y="82677"/>
                  </a:cubicBezTo>
                  <a:cubicBezTo>
                    <a:pt x="357568" y="83153"/>
                    <a:pt x="358902" y="83344"/>
                    <a:pt x="359759" y="82487"/>
                  </a:cubicBezTo>
                  <a:lnTo>
                    <a:pt x="381190" y="61055"/>
                  </a:lnTo>
                  <a:cubicBezTo>
                    <a:pt x="389477" y="52768"/>
                    <a:pt x="403098" y="52768"/>
                    <a:pt x="411385" y="61055"/>
                  </a:cubicBezTo>
                  <a:lnTo>
                    <a:pt x="448532" y="98203"/>
                  </a:lnTo>
                  <a:cubicBezTo>
                    <a:pt x="456057" y="105727"/>
                    <a:pt x="457676" y="119253"/>
                    <a:pt x="446341" y="130588"/>
                  </a:cubicBezTo>
                  <a:lnTo>
                    <a:pt x="427006" y="149924"/>
                  </a:lnTo>
                  <a:cubicBezTo>
                    <a:pt x="426148" y="150781"/>
                    <a:pt x="426339" y="152114"/>
                    <a:pt x="426815" y="152876"/>
                  </a:cubicBezTo>
                  <a:cubicBezTo>
                    <a:pt x="436531" y="169259"/>
                    <a:pt x="443865" y="186881"/>
                    <a:pt x="448532" y="205168"/>
                  </a:cubicBezTo>
                  <a:cubicBezTo>
                    <a:pt x="448818" y="206121"/>
                    <a:pt x="449580" y="207169"/>
                    <a:pt x="450818" y="207169"/>
                  </a:cubicBezTo>
                  <a:lnTo>
                    <a:pt x="481013" y="207169"/>
                  </a:lnTo>
                  <a:cubicBezTo>
                    <a:pt x="492823" y="207169"/>
                    <a:pt x="502348" y="216789"/>
                    <a:pt x="502348" y="228505"/>
                  </a:cubicBezTo>
                  <a:lnTo>
                    <a:pt x="502348" y="281083"/>
                  </a:lnTo>
                  <a:cubicBezTo>
                    <a:pt x="502348" y="291656"/>
                    <a:pt x="493966" y="302419"/>
                    <a:pt x="477964" y="302419"/>
                  </a:cubicBezTo>
                  <a:lnTo>
                    <a:pt x="450723" y="302419"/>
                  </a:lnTo>
                  <a:cubicBezTo>
                    <a:pt x="449485" y="302419"/>
                    <a:pt x="448723" y="303467"/>
                    <a:pt x="448532" y="304419"/>
                  </a:cubicBezTo>
                  <a:cubicBezTo>
                    <a:pt x="445580" y="315944"/>
                    <a:pt x="441293" y="327755"/>
                    <a:pt x="435864" y="339376"/>
                  </a:cubicBezTo>
                  <a:cubicBezTo>
                    <a:pt x="433673" y="344138"/>
                    <a:pt x="427958" y="346234"/>
                    <a:pt x="423196" y="343948"/>
                  </a:cubicBezTo>
                  <a:cubicBezTo>
                    <a:pt x="418433" y="341757"/>
                    <a:pt x="416433" y="336042"/>
                    <a:pt x="418624" y="331280"/>
                  </a:cubicBezTo>
                  <a:cubicBezTo>
                    <a:pt x="423577" y="320707"/>
                    <a:pt x="427387" y="310134"/>
                    <a:pt x="430054" y="299657"/>
                  </a:cubicBezTo>
                  <a:cubicBezTo>
                    <a:pt x="432530" y="290036"/>
                    <a:pt x="441007" y="283369"/>
                    <a:pt x="450723" y="283369"/>
                  </a:cubicBezTo>
                  <a:lnTo>
                    <a:pt x="477964" y="283369"/>
                  </a:lnTo>
                  <a:cubicBezTo>
                    <a:pt x="477964" y="283369"/>
                    <a:pt x="483298" y="283369"/>
                    <a:pt x="483298" y="281083"/>
                  </a:cubicBezTo>
                  <a:lnTo>
                    <a:pt x="483298" y="228505"/>
                  </a:lnTo>
                  <a:cubicBezTo>
                    <a:pt x="483298" y="227267"/>
                    <a:pt x="482251" y="226219"/>
                    <a:pt x="481013" y="226219"/>
                  </a:cubicBezTo>
                  <a:lnTo>
                    <a:pt x="450818" y="226219"/>
                  </a:lnTo>
                  <a:cubicBezTo>
                    <a:pt x="441103" y="226219"/>
                    <a:pt x="432530" y="219551"/>
                    <a:pt x="430149" y="209931"/>
                  </a:cubicBezTo>
                  <a:cubicBezTo>
                    <a:pt x="425958" y="193358"/>
                    <a:pt x="419290" y="177451"/>
                    <a:pt x="410527" y="162592"/>
                  </a:cubicBezTo>
                  <a:cubicBezTo>
                    <a:pt x="405479" y="154115"/>
                    <a:pt x="406717" y="143351"/>
                    <a:pt x="413575" y="136398"/>
                  </a:cubicBezTo>
                  <a:lnTo>
                    <a:pt x="432911" y="117062"/>
                  </a:lnTo>
                  <a:cubicBezTo>
                    <a:pt x="432911" y="117062"/>
                    <a:pt x="436721" y="113252"/>
                    <a:pt x="435102" y="111633"/>
                  </a:cubicBezTo>
                  <a:lnTo>
                    <a:pt x="397955" y="74485"/>
                  </a:lnTo>
                  <a:cubicBezTo>
                    <a:pt x="396812" y="73438"/>
                    <a:pt x="395859" y="73342"/>
                    <a:pt x="394716" y="74485"/>
                  </a:cubicBezTo>
                  <a:lnTo>
                    <a:pt x="373285" y="95917"/>
                  </a:lnTo>
                  <a:cubicBezTo>
                    <a:pt x="366427" y="102870"/>
                    <a:pt x="355568" y="104108"/>
                    <a:pt x="347091" y="98965"/>
                  </a:cubicBezTo>
                  <a:cubicBezTo>
                    <a:pt x="332232" y="90202"/>
                    <a:pt x="316325" y="83534"/>
                    <a:pt x="299847" y="79343"/>
                  </a:cubicBezTo>
                  <a:cubicBezTo>
                    <a:pt x="290227" y="76867"/>
                    <a:pt x="283559" y="68390"/>
                    <a:pt x="283559" y="58674"/>
                  </a:cubicBezTo>
                  <a:lnTo>
                    <a:pt x="283559" y="31433"/>
                  </a:lnTo>
                  <a:cubicBezTo>
                    <a:pt x="283559" y="31433"/>
                    <a:pt x="283559" y="26099"/>
                    <a:pt x="281273" y="26099"/>
                  </a:cubicBezTo>
                  <a:lnTo>
                    <a:pt x="228695" y="26099"/>
                  </a:lnTo>
                  <a:cubicBezTo>
                    <a:pt x="227457" y="26099"/>
                    <a:pt x="226409" y="27146"/>
                    <a:pt x="226409" y="28385"/>
                  </a:cubicBezTo>
                  <a:lnTo>
                    <a:pt x="226409" y="58579"/>
                  </a:lnTo>
                  <a:cubicBezTo>
                    <a:pt x="226409" y="68294"/>
                    <a:pt x="219742" y="76867"/>
                    <a:pt x="210121" y="79248"/>
                  </a:cubicBezTo>
                  <a:cubicBezTo>
                    <a:pt x="193548" y="83439"/>
                    <a:pt x="177641" y="90107"/>
                    <a:pt x="162782" y="98870"/>
                  </a:cubicBezTo>
                  <a:cubicBezTo>
                    <a:pt x="154210" y="103918"/>
                    <a:pt x="143446" y="102680"/>
                    <a:pt x="136588" y="95822"/>
                  </a:cubicBezTo>
                  <a:lnTo>
                    <a:pt x="117348" y="76581"/>
                  </a:lnTo>
                  <a:cubicBezTo>
                    <a:pt x="117348" y="76581"/>
                    <a:pt x="113538" y="72771"/>
                    <a:pt x="111919" y="74390"/>
                  </a:cubicBezTo>
                  <a:lnTo>
                    <a:pt x="74771" y="111538"/>
                  </a:lnTo>
                  <a:cubicBezTo>
                    <a:pt x="74200" y="112109"/>
                    <a:pt x="74104" y="112681"/>
                    <a:pt x="74104" y="113157"/>
                  </a:cubicBezTo>
                  <a:cubicBezTo>
                    <a:pt x="74104" y="113633"/>
                    <a:pt x="74200" y="114205"/>
                    <a:pt x="74771" y="114776"/>
                  </a:cubicBezTo>
                  <a:lnTo>
                    <a:pt x="96202" y="136208"/>
                  </a:lnTo>
                  <a:cubicBezTo>
                    <a:pt x="103060" y="143161"/>
                    <a:pt x="104394" y="153924"/>
                    <a:pt x="99346" y="162401"/>
                  </a:cubicBezTo>
                  <a:cubicBezTo>
                    <a:pt x="90583" y="177260"/>
                    <a:pt x="83915" y="193167"/>
                    <a:pt x="79724" y="209645"/>
                  </a:cubicBezTo>
                  <a:cubicBezTo>
                    <a:pt x="77248" y="219266"/>
                    <a:pt x="68771" y="225933"/>
                    <a:pt x="59055" y="225933"/>
                  </a:cubicBezTo>
                  <a:lnTo>
                    <a:pt x="31813" y="225933"/>
                  </a:lnTo>
                  <a:cubicBezTo>
                    <a:pt x="31813" y="225933"/>
                    <a:pt x="26479" y="225933"/>
                    <a:pt x="26479" y="228219"/>
                  </a:cubicBezTo>
                  <a:lnTo>
                    <a:pt x="26479" y="280797"/>
                  </a:lnTo>
                  <a:cubicBezTo>
                    <a:pt x="26479" y="282035"/>
                    <a:pt x="27527" y="283083"/>
                    <a:pt x="28765" y="283083"/>
                  </a:cubicBezTo>
                  <a:lnTo>
                    <a:pt x="58960" y="283083"/>
                  </a:lnTo>
                  <a:cubicBezTo>
                    <a:pt x="68675" y="283083"/>
                    <a:pt x="77248" y="289750"/>
                    <a:pt x="79629" y="299371"/>
                  </a:cubicBezTo>
                  <a:cubicBezTo>
                    <a:pt x="83820" y="315944"/>
                    <a:pt x="90488" y="331851"/>
                    <a:pt x="99250" y="346710"/>
                  </a:cubicBezTo>
                  <a:cubicBezTo>
                    <a:pt x="104299" y="355283"/>
                    <a:pt x="103060" y="366046"/>
                    <a:pt x="96202" y="372904"/>
                  </a:cubicBezTo>
                  <a:lnTo>
                    <a:pt x="76867" y="392240"/>
                  </a:lnTo>
                  <a:cubicBezTo>
                    <a:pt x="76867" y="392240"/>
                    <a:pt x="73057" y="396050"/>
                    <a:pt x="74676" y="397669"/>
                  </a:cubicBezTo>
                  <a:lnTo>
                    <a:pt x="111823" y="434816"/>
                  </a:lnTo>
                  <a:cubicBezTo>
                    <a:pt x="112966" y="435864"/>
                    <a:pt x="113919" y="435959"/>
                    <a:pt x="115062" y="434816"/>
                  </a:cubicBezTo>
                  <a:lnTo>
                    <a:pt x="136493" y="413385"/>
                  </a:lnTo>
                  <a:cubicBezTo>
                    <a:pt x="143351" y="406527"/>
                    <a:pt x="154210" y="405193"/>
                    <a:pt x="162687" y="410242"/>
                  </a:cubicBezTo>
                  <a:cubicBezTo>
                    <a:pt x="177546" y="419005"/>
                    <a:pt x="193453" y="425672"/>
                    <a:pt x="209931" y="429863"/>
                  </a:cubicBezTo>
                  <a:cubicBezTo>
                    <a:pt x="219551" y="432340"/>
                    <a:pt x="226219" y="440817"/>
                    <a:pt x="226219" y="450533"/>
                  </a:cubicBezTo>
                  <a:lnTo>
                    <a:pt x="226219" y="479965"/>
                  </a:lnTo>
                  <a:cubicBezTo>
                    <a:pt x="226219" y="482537"/>
                    <a:pt x="226885" y="483394"/>
                    <a:pt x="226885" y="483394"/>
                  </a:cubicBezTo>
                  <a:lnTo>
                    <a:pt x="281083" y="483013"/>
                  </a:lnTo>
                  <a:cubicBezTo>
                    <a:pt x="282321" y="483013"/>
                    <a:pt x="283369" y="481965"/>
                    <a:pt x="283369" y="480727"/>
                  </a:cubicBezTo>
                  <a:lnTo>
                    <a:pt x="283369" y="450533"/>
                  </a:lnTo>
                  <a:cubicBezTo>
                    <a:pt x="283369" y="440817"/>
                    <a:pt x="290036" y="432245"/>
                    <a:pt x="299656" y="429863"/>
                  </a:cubicBezTo>
                  <a:cubicBezTo>
                    <a:pt x="310134" y="427196"/>
                    <a:pt x="320707" y="423386"/>
                    <a:pt x="331280" y="418433"/>
                  </a:cubicBezTo>
                  <a:cubicBezTo>
                    <a:pt x="336042" y="416147"/>
                    <a:pt x="341757" y="418243"/>
                    <a:pt x="343948" y="423005"/>
                  </a:cubicBezTo>
                  <a:cubicBezTo>
                    <a:pt x="346138" y="427768"/>
                    <a:pt x="344138" y="433483"/>
                    <a:pt x="339376" y="435674"/>
                  </a:cubicBezTo>
                  <a:cubicBezTo>
                    <a:pt x="327755" y="441103"/>
                    <a:pt x="316039" y="445389"/>
                    <a:pt x="304419" y="448342"/>
                  </a:cubicBezTo>
                  <a:cubicBezTo>
                    <a:pt x="303466" y="448627"/>
                    <a:pt x="302419" y="449390"/>
                    <a:pt x="302419" y="450628"/>
                  </a:cubicBezTo>
                  <a:lnTo>
                    <a:pt x="302419" y="480822"/>
                  </a:lnTo>
                  <a:cubicBezTo>
                    <a:pt x="302419" y="492633"/>
                    <a:pt x="292798" y="502158"/>
                    <a:pt x="281083" y="502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DC3E33A-FA03-470B-A5BA-934E1A1C9EF8}"/>
                </a:ext>
              </a:extLst>
            </p:cNvPr>
            <p:cNvSpPr/>
            <p:nvPr/>
          </p:nvSpPr>
          <p:spPr>
            <a:xfrm>
              <a:off x="3820319" y="2950369"/>
              <a:ext cx="352425" cy="352425"/>
            </a:xfrm>
            <a:custGeom>
              <a:avLst/>
              <a:gdLst>
                <a:gd name="connsiteX0" fmla="*/ 339376 w 352425"/>
                <a:gd name="connsiteY0" fmla="*/ 287846 h 352425"/>
                <a:gd name="connsiteX1" fmla="*/ 256889 w 352425"/>
                <a:gd name="connsiteY1" fmla="*/ 205359 h 352425"/>
                <a:gd name="connsiteX2" fmla="*/ 273844 w 352425"/>
                <a:gd name="connsiteY2" fmla="*/ 140494 h 352425"/>
                <a:gd name="connsiteX3" fmla="*/ 140494 w 352425"/>
                <a:gd name="connsiteY3" fmla="*/ 7144 h 352425"/>
                <a:gd name="connsiteX4" fmla="*/ 7144 w 352425"/>
                <a:gd name="connsiteY4" fmla="*/ 140494 h 352425"/>
                <a:gd name="connsiteX5" fmla="*/ 140494 w 352425"/>
                <a:gd name="connsiteY5" fmla="*/ 273844 h 352425"/>
                <a:gd name="connsiteX6" fmla="*/ 205359 w 352425"/>
                <a:gd name="connsiteY6" fmla="*/ 256889 h 352425"/>
                <a:gd name="connsiteX7" fmla="*/ 287846 w 352425"/>
                <a:gd name="connsiteY7" fmla="*/ 339376 h 352425"/>
                <a:gd name="connsiteX8" fmla="*/ 313563 w 352425"/>
                <a:gd name="connsiteY8" fmla="*/ 350044 h 352425"/>
                <a:gd name="connsiteX9" fmla="*/ 339376 w 352425"/>
                <a:gd name="connsiteY9" fmla="*/ 339376 h 352425"/>
                <a:gd name="connsiteX10" fmla="*/ 339376 w 352425"/>
                <a:gd name="connsiteY10" fmla="*/ 287846 h 352425"/>
                <a:gd name="connsiteX11" fmla="*/ 26194 w 352425"/>
                <a:gd name="connsiteY11" fmla="*/ 140494 h 352425"/>
                <a:gd name="connsiteX12" fmla="*/ 140494 w 352425"/>
                <a:gd name="connsiteY12" fmla="*/ 26194 h 352425"/>
                <a:gd name="connsiteX13" fmla="*/ 254794 w 352425"/>
                <a:gd name="connsiteY13" fmla="*/ 140494 h 352425"/>
                <a:gd name="connsiteX14" fmla="*/ 140494 w 352425"/>
                <a:gd name="connsiteY14" fmla="*/ 254794 h 352425"/>
                <a:gd name="connsiteX15" fmla="*/ 26194 w 352425"/>
                <a:gd name="connsiteY15" fmla="*/ 140494 h 352425"/>
                <a:gd name="connsiteX16" fmla="*/ 325946 w 352425"/>
                <a:gd name="connsiteY16" fmla="*/ 325946 h 352425"/>
                <a:gd name="connsiteX17" fmla="*/ 301371 w 352425"/>
                <a:gd name="connsiteY17" fmla="*/ 325946 h 352425"/>
                <a:gd name="connsiteX18" fmla="*/ 221552 w 352425"/>
                <a:gd name="connsiteY18" fmla="*/ 246221 h 352425"/>
                <a:gd name="connsiteX19" fmla="*/ 246221 w 352425"/>
                <a:gd name="connsiteY19" fmla="*/ 221552 h 352425"/>
                <a:gd name="connsiteX20" fmla="*/ 325946 w 352425"/>
                <a:gd name="connsiteY20" fmla="*/ 301371 h 352425"/>
                <a:gd name="connsiteX21" fmla="*/ 325946 w 352425"/>
                <a:gd name="connsiteY21" fmla="*/ 325946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2425" h="352425">
                  <a:moveTo>
                    <a:pt x="339376" y="287846"/>
                  </a:moveTo>
                  <a:lnTo>
                    <a:pt x="256889" y="205359"/>
                  </a:lnTo>
                  <a:cubicBezTo>
                    <a:pt x="267653" y="186119"/>
                    <a:pt x="273844" y="164021"/>
                    <a:pt x="273844" y="140494"/>
                  </a:cubicBezTo>
                  <a:cubicBezTo>
                    <a:pt x="273844" y="66961"/>
                    <a:pt x="214027" y="7144"/>
                    <a:pt x="140494" y="7144"/>
                  </a:cubicBezTo>
                  <a:cubicBezTo>
                    <a:pt x="66961" y="7144"/>
                    <a:pt x="7144" y="66961"/>
                    <a:pt x="7144" y="140494"/>
                  </a:cubicBezTo>
                  <a:cubicBezTo>
                    <a:pt x="7144" y="214027"/>
                    <a:pt x="66961" y="273844"/>
                    <a:pt x="140494" y="273844"/>
                  </a:cubicBezTo>
                  <a:cubicBezTo>
                    <a:pt x="164021" y="273844"/>
                    <a:pt x="186119" y="267653"/>
                    <a:pt x="205359" y="256889"/>
                  </a:cubicBezTo>
                  <a:lnTo>
                    <a:pt x="287846" y="339376"/>
                  </a:lnTo>
                  <a:cubicBezTo>
                    <a:pt x="294989" y="346520"/>
                    <a:pt x="304229" y="350044"/>
                    <a:pt x="313563" y="350044"/>
                  </a:cubicBezTo>
                  <a:cubicBezTo>
                    <a:pt x="322897" y="350044"/>
                    <a:pt x="332232" y="346520"/>
                    <a:pt x="339376" y="339376"/>
                  </a:cubicBezTo>
                  <a:cubicBezTo>
                    <a:pt x="353568" y="325184"/>
                    <a:pt x="353568" y="302038"/>
                    <a:pt x="339376" y="287846"/>
                  </a:cubicBezTo>
                  <a:close/>
                  <a:moveTo>
                    <a:pt x="26194" y="140494"/>
                  </a:moveTo>
                  <a:cubicBezTo>
                    <a:pt x="26194" y="77438"/>
                    <a:pt x="77438" y="26194"/>
                    <a:pt x="140494" y="26194"/>
                  </a:cubicBezTo>
                  <a:cubicBezTo>
                    <a:pt x="203549" y="26194"/>
                    <a:pt x="254794" y="77438"/>
                    <a:pt x="254794" y="140494"/>
                  </a:cubicBezTo>
                  <a:cubicBezTo>
                    <a:pt x="254794" y="203549"/>
                    <a:pt x="203549" y="254794"/>
                    <a:pt x="140494" y="254794"/>
                  </a:cubicBezTo>
                  <a:cubicBezTo>
                    <a:pt x="77438" y="254794"/>
                    <a:pt x="26194" y="203549"/>
                    <a:pt x="26194" y="140494"/>
                  </a:cubicBezTo>
                  <a:close/>
                  <a:moveTo>
                    <a:pt x="325946" y="325946"/>
                  </a:moveTo>
                  <a:cubicBezTo>
                    <a:pt x="319183" y="332708"/>
                    <a:pt x="308134" y="332708"/>
                    <a:pt x="301371" y="325946"/>
                  </a:cubicBezTo>
                  <a:lnTo>
                    <a:pt x="221552" y="246221"/>
                  </a:lnTo>
                  <a:cubicBezTo>
                    <a:pt x="230791" y="239078"/>
                    <a:pt x="239078" y="230886"/>
                    <a:pt x="246221" y="221552"/>
                  </a:cubicBezTo>
                  <a:lnTo>
                    <a:pt x="325946" y="301371"/>
                  </a:lnTo>
                  <a:cubicBezTo>
                    <a:pt x="332708" y="308134"/>
                    <a:pt x="332708" y="319183"/>
                    <a:pt x="325946" y="3259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29" name="Graphic 28">
            <a:extLst>
              <a:ext uri="{FF2B5EF4-FFF2-40B4-BE49-F238E27FC236}">
                <a16:creationId xmlns:a16="http://schemas.microsoft.com/office/drawing/2014/main" id="{22977473-45AB-4361-88F7-A12B53E9F4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15933" y="5491360"/>
            <a:ext cx="457200" cy="457200"/>
          </a:xfrm>
          <a:prstGeom prst="rect">
            <a:avLst/>
          </a:prstGeom>
        </p:spPr>
      </p:pic>
      <p:sp>
        <p:nvSpPr>
          <p:cNvPr id="30" name="Freeform 6">
            <a:extLst>
              <a:ext uri="{FF2B5EF4-FFF2-40B4-BE49-F238E27FC236}">
                <a16:creationId xmlns:a16="http://schemas.microsoft.com/office/drawing/2014/main" id="{D5A165BF-E1F6-4070-997C-A24EBADF77CC}"/>
              </a:ext>
            </a:extLst>
          </p:cNvPr>
          <p:cNvSpPr>
            <a:spLocks noChangeAspect="1"/>
          </p:cNvSpPr>
          <p:nvPr/>
        </p:nvSpPr>
        <p:spPr bwMode="gray">
          <a:xfrm>
            <a:off x="5098328" y="3063311"/>
            <a:ext cx="4358081" cy="3364131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rgbClr val="49A9F6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0811BB9-9816-462F-975C-D62002874DE6}"/>
              </a:ext>
            </a:extLst>
          </p:cNvPr>
          <p:cNvSpPr txBox="1"/>
          <p:nvPr/>
        </p:nvSpPr>
        <p:spPr>
          <a:xfrm>
            <a:off x="5927603" y="4282098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000" dirty="0"/>
          </a:p>
        </p:txBody>
      </p:sp>
      <p:sp>
        <p:nvSpPr>
          <p:cNvPr id="32" name="Freeform 6">
            <a:extLst>
              <a:ext uri="{FF2B5EF4-FFF2-40B4-BE49-F238E27FC236}">
                <a16:creationId xmlns:a16="http://schemas.microsoft.com/office/drawing/2014/main" id="{043E557B-A97B-4D87-A294-4D1576DAE933}"/>
              </a:ext>
            </a:extLst>
          </p:cNvPr>
          <p:cNvSpPr>
            <a:spLocks noChangeAspect="1"/>
          </p:cNvSpPr>
          <p:nvPr/>
        </p:nvSpPr>
        <p:spPr bwMode="gray">
          <a:xfrm>
            <a:off x="6338457" y="3320662"/>
            <a:ext cx="1877825" cy="1449550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rgbClr val="49A9F6"/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3" name="Freeform 6">
            <a:extLst>
              <a:ext uri="{FF2B5EF4-FFF2-40B4-BE49-F238E27FC236}">
                <a16:creationId xmlns:a16="http://schemas.microsoft.com/office/drawing/2014/main" id="{DF655D2F-BF9A-4204-ADE3-D831B4672F00}"/>
              </a:ext>
            </a:extLst>
          </p:cNvPr>
          <p:cNvSpPr>
            <a:spLocks noChangeAspect="1"/>
          </p:cNvSpPr>
          <p:nvPr/>
        </p:nvSpPr>
        <p:spPr bwMode="gray">
          <a:xfrm rot="10800000">
            <a:off x="6327632" y="4821838"/>
            <a:ext cx="1899477" cy="1466262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rgbClr val="C00000"/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4" name="Freeform 6">
            <a:extLst>
              <a:ext uri="{FF2B5EF4-FFF2-40B4-BE49-F238E27FC236}">
                <a16:creationId xmlns:a16="http://schemas.microsoft.com/office/drawing/2014/main" id="{E9CE7074-7197-499E-884C-2C720AE78680}"/>
              </a:ext>
            </a:extLst>
          </p:cNvPr>
          <p:cNvSpPr>
            <a:spLocks noChangeAspect="1"/>
          </p:cNvSpPr>
          <p:nvPr/>
        </p:nvSpPr>
        <p:spPr bwMode="gray">
          <a:xfrm>
            <a:off x="7328622" y="4821838"/>
            <a:ext cx="1899477" cy="1466262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rgbClr val="49A9F6"/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5" name="Freeform 6">
            <a:extLst>
              <a:ext uri="{FF2B5EF4-FFF2-40B4-BE49-F238E27FC236}">
                <a16:creationId xmlns:a16="http://schemas.microsoft.com/office/drawing/2014/main" id="{FFF6595D-6A2D-4FB7-B2F6-B8F4D3E3416C}"/>
              </a:ext>
            </a:extLst>
          </p:cNvPr>
          <p:cNvSpPr>
            <a:spLocks noChangeAspect="1"/>
          </p:cNvSpPr>
          <p:nvPr/>
        </p:nvSpPr>
        <p:spPr bwMode="gray">
          <a:xfrm>
            <a:off x="5333754" y="4821838"/>
            <a:ext cx="1899477" cy="1466262"/>
          </a:xfrm>
          <a:custGeom>
            <a:avLst/>
            <a:gdLst>
              <a:gd name="T0" fmla="*/ 766825518 w 4489"/>
              <a:gd name="T1" fmla="*/ 0 h 3885"/>
              <a:gd name="T2" fmla="*/ 0 w 4489"/>
              <a:gd name="T3" fmla="*/ 1056179641 h 3885"/>
              <a:gd name="T4" fmla="*/ 1533992426 w 4489"/>
              <a:gd name="T5" fmla="*/ 1056179641 h 3885"/>
              <a:gd name="T6" fmla="*/ 766825518 w 4489"/>
              <a:gd name="T7" fmla="*/ 0 h 3885"/>
              <a:gd name="T8" fmla="*/ 0 60000 65536"/>
              <a:gd name="T9" fmla="*/ 0 60000 65536"/>
              <a:gd name="T10" fmla="*/ 0 60000 65536"/>
              <a:gd name="T11" fmla="*/ 0 60000 65536"/>
              <a:gd name="T12" fmla="*/ 0 w 4489"/>
              <a:gd name="T13" fmla="*/ 0 h 3885"/>
              <a:gd name="T14" fmla="*/ 4489 w 4489"/>
              <a:gd name="T15" fmla="*/ 3885 h 38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489" h="3885">
                <a:moveTo>
                  <a:pt x="2244" y="0"/>
                </a:moveTo>
                <a:lnTo>
                  <a:pt x="0" y="3885"/>
                </a:lnTo>
                <a:lnTo>
                  <a:pt x="4489" y="3885"/>
                </a:lnTo>
                <a:lnTo>
                  <a:pt x="2244" y="0"/>
                </a:lnTo>
                <a:close/>
              </a:path>
            </a:pathLst>
          </a:custGeom>
          <a:solidFill>
            <a:srgbClr val="49A9F6"/>
          </a:solidFill>
          <a:ln w="317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36" name="Text Box 8">
            <a:extLst>
              <a:ext uri="{FF2B5EF4-FFF2-40B4-BE49-F238E27FC236}">
                <a16:creationId xmlns:a16="http://schemas.microsoft.com/office/drawing/2014/main" id="{D607DEE4-445A-429F-883D-DE465C0E3DB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348175" y="4264586"/>
            <a:ext cx="1930185" cy="320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488" tIns="67488" rIns="53991" bIns="67488">
            <a:spAutoFit/>
          </a:bodyPr>
          <a:lstStyle/>
          <a:p>
            <a:pPr algn="ctr" defTabSz="601281"/>
            <a:r>
              <a:rPr lang="ru-RU" sz="1200" b="1" dirty="0">
                <a:solidFill>
                  <a:prstClr val="white"/>
                </a:solidFill>
                <a:cs typeface="Arial" charset="0"/>
              </a:rPr>
              <a:t>Криминал </a:t>
            </a:r>
            <a:r>
              <a:rPr lang="ru-RU" sz="1200" b="1" dirty="0" err="1">
                <a:solidFill>
                  <a:prstClr val="white"/>
                </a:solidFill>
                <a:cs typeface="Arial" charset="0"/>
              </a:rPr>
              <a:t>тафаккур</a:t>
            </a:r>
            <a:endParaRPr lang="ru-RU" sz="1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7" name="Text Box 16">
            <a:extLst>
              <a:ext uri="{FF2B5EF4-FFF2-40B4-BE49-F238E27FC236}">
                <a16:creationId xmlns:a16="http://schemas.microsoft.com/office/drawing/2014/main" id="{C7D1E3EC-581F-40E3-9D89-9F9713D4DFA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559623" y="5921596"/>
            <a:ext cx="1460759" cy="320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488" tIns="67488" rIns="53991" bIns="67488">
            <a:spAutoFit/>
          </a:bodyPr>
          <a:lstStyle/>
          <a:p>
            <a:pPr algn="ctr" defTabSz="601281">
              <a:spcBef>
                <a:spcPct val="20000"/>
              </a:spcBef>
              <a:spcAft>
                <a:spcPts val="450"/>
              </a:spcAft>
            </a:pPr>
            <a:r>
              <a:rPr lang="ru-RU" sz="1200" b="1" dirty="0" err="1">
                <a:solidFill>
                  <a:prstClr val="white"/>
                </a:solidFill>
                <a:cs typeface="Arial" charset="0"/>
              </a:rPr>
              <a:t>Такаббурлик</a:t>
            </a:r>
            <a:endParaRPr lang="ru-RU" sz="1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8" name="Text Box 10">
            <a:extLst>
              <a:ext uri="{FF2B5EF4-FFF2-40B4-BE49-F238E27FC236}">
                <a16:creationId xmlns:a16="http://schemas.microsoft.com/office/drawing/2014/main" id="{37300E9F-0FB1-467F-903E-7B234DB23A5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665631" y="5924585"/>
            <a:ext cx="1322453" cy="320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488" tIns="67488" rIns="53991" bIns="67488">
            <a:spAutoFit/>
          </a:bodyPr>
          <a:lstStyle/>
          <a:p>
            <a:pPr algn="ctr" defTabSz="601281">
              <a:spcBef>
                <a:spcPct val="20000"/>
              </a:spcBef>
              <a:spcAft>
                <a:spcPts val="450"/>
              </a:spcAft>
            </a:pPr>
            <a:r>
              <a:rPr lang="ru-RU" sz="1200" b="1" dirty="0" err="1">
                <a:solidFill>
                  <a:prstClr val="white"/>
                </a:solidFill>
                <a:cs typeface="Arial" charset="0"/>
              </a:rPr>
              <a:t>Имконият</a:t>
            </a:r>
            <a:endParaRPr lang="ru-RU" sz="1200" b="1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5F083811-23B1-4B13-8076-C6FE0DA23BC6}"/>
              </a:ext>
            </a:extLst>
          </p:cNvPr>
          <p:cNvSpPr/>
          <p:nvPr/>
        </p:nvSpPr>
        <p:spPr>
          <a:xfrm>
            <a:off x="6208642" y="4745377"/>
            <a:ext cx="2160570" cy="91582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875" tIns="43875" rIns="43875" bIns="43875" rtlCol="0" anchor="ctr"/>
          <a:lstStyle/>
          <a:p>
            <a:pPr algn="ctr" defTabSz="601281"/>
            <a:r>
              <a:rPr lang="ru-RU" sz="1050" b="1" dirty="0" err="1">
                <a:solidFill>
                  <a:schemeClr val="bg1"/>
                </a:solidFill>
                <a:cs typeface="Arial" charset="0"/>
              </a:rPr>
              <a:t>Фирибгарликнинг</a:t>
            </a:r>
            <a:r>
              <a:rPr lang="ru-RU" sz="1050" b="1" dirty="0">
                <a:solidFill>
                  <a:schemeClr val="bg1"/>
                </a:solidFill>
                <a:cs typeface="Arial" charset="0"/>
              </a:rPr>
              <a:t> «</a:t>
            </a:r>
            <a:r>
              <a:rPr lang="ru-RU" sz="1050" b="1" dirty="0" err="1">
                <a:solidFill>
                  <a:schemeClr val="bg1"/>
                </a:solidFill>
                <a:cs typeface="Arial" charset="0"/>
              </a:rPr>
              <a:t>йиртқичлар</a:t>
            </a:r>
            <a:r>
              <a:rPr lang="ru-RU" sz="1050" b="1" dirty="0">
                <a:solidFill>
                  <a:schemeClr val="bg1"/>
                </a:solidFill>
                <a:cs typeface="Arial" charset="0"/>
              </a:rPr>
              <a:t>» </a:t>
            </a:r>
            <a:r>
              <a:rPr lang="ru-RU" sz="1050" b="1" dirty="0" err="1">
                <a:solidFill>
                  <a:schemeClr val="bg1"/>
                </a:solidFill>
                <a:cs typeface="Arial" charset="0"/>
              </a:rPr>
              <a:t>учун</a:t>
            </a:r>
            <a:r>
              <a:rPr lang="ru-RU" sz="1050" b="1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ru-RU" sz="1050" b="1" dirty="0" err="1">
                <a:solidFill>
                  <a:schemeClr val="bg1"/>
                </a:solidFill>
                <a:cs typeface="Arial" charset="0"/>
              </a:rPr>
              <a:t>учбурчаги</a:t>
            </a:r>
            <a:endParaRPr lang="ru-RU" sz="1050" b="1" dirty="0">
              <a:solidFill>
                <a:schemeClr val="bg1"/>
              </a:solidFill>
              <a:cs typeface="Arial" charset="0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86BA807-26D0-48B6-A45B-9C2D111559F4}"/>
              </a:ext>
            </a:extLst>
          </p:cNvPr>
          <p:cNvGrpSpPr/>
          <p:nvPr/>
        </p:nvGrpSpPr>
        <p:grpSpPr>
          <a:xfrm>
            <a:off x="6041838" y="5404372"/>
            <a:ext cx="504825" cy="504825"/>
            <a:chOff x="3706115" y="2836164"/>
            <a:chExt cx="504825" cy="504825"/>
          </a:xfrm>
          <a:solidFill>
            <a:schemeClr val="bg1"/>
          </a:solidFill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0445B01-89AE-46E3-B0DB-F8E396EFE0B9}"/>
                </a:ext>
              </a:extLst>
            </p:cNvPr>
            <p:cNvSpPr/>
            <p:nvPr/>
          </p:nvSpPr>
          <p:spPr>
            <a:xfrm>
              <a:off x="3877469" y="3007519"/>
              <a:ext cx="95250" cy="95250"/>
            </a:xfrm>
            <a:custGeom>
              <a:avLst/>
              <a:gdLst>
                <a:gd name="connsiteX0" fmla="*/ 16669 w 95250"/>
                <a:gd name="connsiteY0" fmla="*/ 92869 h 95250"/>
                <a:gd name="connsiteX1" fmla="*/ 7144 w 95250"/>
                <a:gd name="connsiteY1" fmla="*/ 83344 h 95250"/>
                <a:gd name="connsiteX2" fmla="*/ 83344 w 95250"/>
                <a:gd name="connsiteY2" fmla="*/ 7144 h 95250"/>
                <a:gd name="connsiteX3" fmla="*/ 92869 w 95250"/>
                <a:gd name="connsiteY3" fmla="*/ 16669 h 95250"/>
                <a:gd name="connsiteX4" fmla="*/ 83344 w 95250"/>
                <a:gd name="connsiteY4" fmla="*/ 26194 h 95250"/>
                <a:gd name="connsiteX5" fmla="*/ 26194 w 95250"/>
                <a:gd name="connsiteY5" fmla="*/ 83344 h 95250"/>
                <a:gd name="connsiteX6" fmla="*/ 16669 w 95250"/>
                <a:gd name="connsiteY6" fmla="*/ 92869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250" h="95250">
                  <a:moveTo>
                    <a:pt x="16669" y="92869"/>
                  </a:moveTo>
                  <a:cubicBezTo>
                    <a:pt x="11430" y="92869"/>
                    <a:pt x="7144" y="88582"/>
                    <a:pt x="7144" y="83344"/>
                  </a:cubicBezTo>
                  <a:cubicBezTo>
                    <a:pt x="7144" y="41338"/>
                    <a:pt x="41338" y="7144"/>
                    <a:pt x="83344" y="7144"/>
                  </a:cubicBezTo>
                  <a:cubicBezTo>
                    <a:pt x="88582" y="7144"/>
                    <a:pt x="92869" y="11430"/>
                    <a:pt x="92869" y="16669"/>
                  </a:cubicBezTo>
                  <a:cubicBezTo>
                    <a:pt x="92869" y="21907"/>
                    <a:pt x="88582" y="26194"/>
                    <a:pt x="83344" y="26194"/>
                  </a:cubicBezTo>
                  <a:cubicBezTo>
                    <a:pt x="51816" y="26194"/>
                    <a:pt x="26194" y="51816"/>
                    <a:pt x="26194" y="83344"/>
                  </a:cubicBezTo>
                  <a:cubicBezTo>
                    <a:pt x="26194" y="88582"/>
                    <a:pt x="21907" y="92869"/>
                    <a:pt x="16669" y="9286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B909425-52AD-4EDC-9EF1-EE351A942E5A}"/>
                </a:ext>
              </a:extLst>
            </p:cNvPr>
            <p:cNvSpPr/>
            <p:nvPr/>
          </p:nvSpPr>
          <p:spPr>
            <a:xfrm>
              <a:off x="3706115" y="2836164"/>
              <a:ext cx="504825" cy="504825"/>
            </a:xfrm>
            <a:custGeom>
              <a:avLst/>
              <a:gdLst>
                <a:gd name="connsiteX0" fmla="*/ 280988 w 504825"/>
                <a:gd name="connsiteY0" fmla="*/ 502349 h 504825"/>
                <a:gd name="connsiteX1" fmla="*/ 226123 w 504825"/>
                <a:gd name="connsiteY1" fmla="*/ 502349 h 504825"/>
                <a:gd name="connsiteX2" fmla="*/ 207073 w 504825"/>
                <a:gd name="connsiteY2" fmla="*/ 480155 h 504825"/>
                <a:gd name="connsiteX3" fmla="*/ 207073 w 504825"/>
                <a:gd name="connsiteY3" fmla="*/ 450723 h 504825"/>
                <a:gd name="connsiteX4" fmla="*/ 205073 w 504825"/>
                <a:gd name="connsiteY4" fmla="*/ 448532 h 504825"/>
                <a:gd name="connsiteX5" fmla="*/ 152781 w 504825"/>
                <a:gd name="connsiteY5" fmla="*/ 426815 h 504825"/>
                <a:gd name="connsiteX6" fmla="*/ 149733 w 504825"/>
                <a:gd name="connsiteY6" fmla="*/ 427006 h 504825"/>
                <a:gd name="connsiteX7" fmla="*/ 128302 w 504825"/>
                <a:gd name="connsiteY7" fmla="*/ 448437 h 504825"/>
                <a:gd name="connsiteX8" fmla="*/ 98107 w 504825"/>
                <a:gd name="connsiteY8" fmla="*/ 448437 h 504825"/>
                <a:gd name="connsiteX9" fmla="*/ 60960 w 504825"/>
                <a:gd name="connsiteY9" fmla="*/ 411290 h 504825"/>
                <a:gd name="connsiteX10" fmla="*/ 63151 w 504825"/>
                <a:gd name="connsiteY10" fmla="*/ 378905 h 504825"/>
                <a:gd name="connsiteX11" fmla="*/ 82487 w 504825"/>
                <a:gd name="connsiteY11" fmla="*/ 359569 h 504825"/>
                <a:gd name="connsiteX12" fmla="*/ 82677 w 504825"/>
                <a:gd name="connsiteY12" fmla="*/ 356616 h 504825"/>
                <a:gd name="connsiteX13" fmla="*/ 60960 w 504825"/>
                <a:gd name="connsiteY13" fmla="*/ 304324 h 504825"/>
                <a:gd name="connsiteX14" fmla="*/ 58674 w 504825"/>
                <a:gd name="connsiteY14" fmla="*/ 302324 h 504825"/>
                <a:gd name="connsiteX15" fmla="*/ 28480 w 504825"/>
                <a:gd name="connsiteY15" fmla="*/ 302324 h 504825"/>
                <a:gd name="connsiteX16" fmla="*/ 7144 w 504825"/>
                <a:gd name="connsiteY16" fmla="*/ 280988 h 504825"/>
                <a:gd name="connsiteX17" fmla="*/ 7144 w 504825"/>
                <a:gd name="connsiteY17" fmla="*/ 228409 h 504825"/>
                <a:gd name="connsiteX18" fmla="*/ 31528 w 504825"/>
                <a:gd name="connsiteY18" fmla="*/ 207074 h 504825"/>
                <a:gd name="connsiteX19" fmla="*/ 58769 w 504825"/>
                <a:gd name="connsiteY19" fmla="*/ 207074 h 504825"/>
                <a:gd name="connsiteX20" fmla="*/ 60960 w 504825"/>
                <a:gd name="connsiteY20" fmla="*/ 205073 h 504825"/>
                <a:gd name="connsiteX21" fmla="*/ 82677 w 504825"/>
                <a:gd name="connsiteY21" fmla="*/ 152781 h 504825"/>
                <a:gd name="connsiteX22" fmla="*/ 82487 w 504825"/>
                <a:gd name="connsiteY22" fmla="*/ 149733 h 504825"/>
                <a:gd name="connsiteX23" fmla="*/ 61055 w 504825"/>
                <a:gd name="connsiteY23" fmla="*/ 128302 h 504825"/>
                <a:gd name="connsiteX24" fmla="*/ 61055 w 504825"/>
                <a:gd name="connsiteY24" fmla="*/ 98108 h 504825"/>
                <a:gd name="connsiteX25" fmla="*/ 98203 w 504825"/>
                <a:gd name="connsiteY25" fmla="*/ 60960 h 504825"/>
                <a:gd name="connsiteX26" fmla="*/ 130588 w 504825"/>
                <a:gd name="connsiteY26" fmla="*/ 63151 h 504825"/>
                <a:gd name="connsiteX27" fmla="*/ 149923 w 504825"/>
                <a:gd name="connsiteY27" fmla="*/ 82487 h 504825"/>
                <a:gd name="connsiteX28" fmla="*/ 152876 w 504825"/>
                <a:gd name="connsiteY28" fmla="*/ 82677 h 504825"/>
                <a:gd name="connsiteX29" fmla="*/ 205168 w 504825"/>
                <a:gd name="connsiteY29" fmla="*/ 60960 h 504825"/>
                <a:gd name="connsiteX30" fmla="*/ 207169 w 504825"/>
                <a:gd name="connsiteY30" fmla="*/ 58674 h 504825"/>
                <a:gd name="connsiteX31" fmla="*/ 207169 w 504825"/>
                <a:gd name="connsiteY31" fmla="*/ 28480 h 504825"/>
                <a:gd name="connsiteX32" fmla="*/ 228505 w 504825"/>
                <a:gd name="connsiteY32" fmla="*/ 7144 h 504825"/>
                <a:gd name="connsiteX33" fmla="*/ 281083 w 504825"/>
                <a:gd name="connsiteY33" fmla="*/ 7144 h 504825"/>
                <a:gd name="connsiteX34" fmla="*/ 302419 w 504825"/>
                <a:gd name="connsiteY34" fmla="*/ 31528 h 504825"/>
                <a:gd name="connsiteX35" fmla="*/ 302419 w 504825"/>
                <a:gd name="connsiteY35" fmla="*/ 58769 h 504825"/>
                <a:gd name="connsiteX36" fmla="*/ 304419 w 504825"/>
                <a:gd name="connsiteY36" fmla="*/ 60960 h 504825"/>
                <a:gd name="connsiteX37" fmla="*/ 356711 w 504825"/>
                <a:gd name="connsiteY37" fmla="*/ 82677 h 504825"/>
                <a:gd name="connsiteX38" fmla="*/ 359759 w 504825"/>
                <a:gd name="connsiteY38" fmla="*/ 82487 h 504825"/>
                <a:gd name="connsiteX39" fmla="*/ 381190 w 504825"/>
                <a:gd name="connsiteY39" fmla="*/ 61055 h 504825"/>
                <a:gd name="connsiteX40" fmla="*/ 411385 w 504825"/>
                <a:gd name="connsiteY40" fmla="*/ 61055 h 504825"/>
                <a:gd name="connsiteX41" fmla="*/ 448532 w 504825"/>
                <a:gd name="connsiteY41" fmla="*/ 98203 h 504825"/>
                <a:gd name="connsiteX42" fmla="*/ 446341 w 504825"/>
                <a:gd name="connsiteY42" fmla="*/ 130588 h 504825"/>
                <a:gd name="connsiteX43" fmla="*/ 427006 w 504825"/>
                <a:gd name="connsiteY43" fmla="*/ 149924 h 504825"/>
                <a:gd name="connsiteX44" fmla="*/ 426815 w 504825"/>
                <a:gd name="connsiteY44" fmla="*/ 152876 h 504825"/>
                <a:gd name="connsiteX45" fmla="*/ 448532 w 504825"/>
                <a:gd name="connsiteY45" fmla="*/ 205168 h 504825"/>
                <a:gd name="connsiteX46" fmla="*/ 450818 w 504825"/>
                <a:gd name="connsiteY46" fmla="*/ 207169 h 504825"/>
                <a:gd name="connsiteX47" fmla="*/ 481013 w 504825"/>
                <a:gd name="connsiteY47" fmla="*/ 207169 h 504825"/>
                <a:gd name="connsiteX48" fmla="*/ 502348 w 504825"/>
                <a:gd name="connsiteY48" fmla="*/ 228505 h 504825"/>
                <a:gd name="connsiteX49" fmla="*/ 502348 w 504825"/>
                <a:gd name="connsiteY49" fmla="*/ 281083 h 504825"/>
                <a:gd name="connsiteX50" fmla="*/ 477964 w 504825"/>
                <a:gd name="connsiteY50" fmla="*/ 302419 h 504825"/>
                <a:gd name="connsiteX51" fmla="*/ 450723 w 504825"/>
                <a:gd name="connsiteY51" fmla="*/ 302419 h 504825"/>
                <a:gd name="connsiteX52" fmla="*/ 448532 w 504825"/>
                <a:gd name="connsiteY52" fmla="*/ 304419 h 504825"/>
                <a:gd name="connsiteX53" fmla="*/ 435864 w 504825"/>
                <a:gd name="connsiteY53" fmla="*/ 339376 h 504825"/>
                <a:gd name="connsiteX54" fmla="*/ 423196 w 504825"/>
                <a:gd name="connsiteY54" fmla="*/ 343948 h 504825"/>
                <a:gd name="connsiteX55" fmla="*/ 418624 w 504825"/>
                <a:gd name="connsiteY55" fmla="*/ 331280 h 504825"/>
                <a:gd name="connsiteX56" fmla="*/ 430054 w 504825"/>
                <a:gd name="connsiteY56" fmla="*/ 299657 h 504825"/>
                <a:gd name="connsiteX57" fmla="*/ 450723 w 504825"/>
                <a:gd name="connsiteY57" fmla="*/ 283369 h 504825"/>
                <a:gd name="connsiteX58" fmla="*/ 477964 w 504825"/>
                <a:gd name="connsiteY58" fmla="*/ 283369 h 504825"/>
                <a:gd name="connsiteX59" fmla="*/ 483298 w 504825"/>
                <a:gd name="connsiteY59" fmla="*/ 281083 h 504825"/>
                <a:gd name="connsiteX60" fmla="*/ 483298 w 504825"/>
                <a:gd name="connsiteY60" fmla="*/ 228505 h 504825"/>
                <a:gd name="connsiteX61" fmla="*/ 481013 w 504825"/>
                <a:gd name="connsiteY61" fmla="*/ 226219 h 504825"/>
                <a:gd name="connsiteX62" fmla="*/ 450818 w 504825"/>
                <a:gd name="connsiteY62" fmla="*/ 226219 h 504825"/>
                <a:gd name="connsiteX63" fmla="*/ 430149 w 504825"/>
                <a:gd name="connsiteY63" fmla="*/ 209931 h 504825"/>
                <a:gd name="connsiteX64" fmla="*/ 410527 w 504825"/>
                <a:gd name="connsiteY64" fmla="*/ 162592 h 504825"/>
                <a:gd name="connsiteX65" fmla="*/ 413575 w 504825"/>
                <a:gd name="connsiteY65" fmla="*/ 136398 h 504825"/>
                <a:gd name="connsiteX66" fmla="*/ 432911 w 504825"/>
                <a:gd name="connsiteY66" fmla="*/ 117062 h 504825"/>
                <a:gd name="connsiteX67" fmla="*/ 435102 w 504825"/>
                <a:gd name="connsiteY67" fmla="*/ 111633 h 504825"/>
                <a:gd name="connsiteX68" fmla="*/ 397955 w 504825"/>
                <a:gd name="connsiteY68" fmla="*/ 74485 h 504825"/>
                <a:gd name="connsiteX69" fmla="*/ 394716 w 504825"/>
                <a:gd name="connsiteY69" fmla="*/ 74485 h 504825"/>
                <a:gd name="connsiteX70" fmla="*/ 373285 w 504825"/>
                <a:gd name="connsiteY70" fmla="*/ 95917 h 504825"/>
                <a:gd name="connsiteX71" fmla="*/ 347091 w 504825"/>
                <a:gd name="connsiteY71" fmla="*/ 98965 h 504825"/>
                <a:gd name="connsiteX72" fmla="*/ 299847 w 504825"/>
                <a:gd name="connsiteY72" fmla="*/ 79343 h 504825"/>
                <a:gd name="connsiteX73" fmla="*/ 283559 w 504825"/>
                <a:gd name="connsiteY73" fmla="*/ 58674 h 504825"/>
                <a:gd name="connsiteX74" fmla="*/ 283559 w 504825"/>
                <a:gd name="connsiteY74" fmla="*/ 31433 h 504825"/>
                <a:gd name="connsiteX75" fmla="*/ 281273 w 504825"/>
                <a:gd name="connsiteY75" fmla="*/ 26099 h 504825"/>
                <a:gd name="connsiteX76" fmla="*/ 228695 w 504825"/>
                <a:gd name="connsiteY76" fmla="*/ 26099 h 504825"/>
                <a:gd name="connsiteX77" fmla="*/ 226409 w 504825"/>
                <a:gd name="connsiteY77" fmla="*/ 28385 h 504825"/>
                <a:gd name="connsiteX78" fmla="*/ 226409 w 504825"/>
                <a:gd name="connsiteY78" fmla="*/ 58579 h 504825"/>
                <a:gd name="connsiteX79" fmla="*/ 210121 w 504825"/>
                <a:gd name="connsiteY79" fmla="*/ 79248 h 504825"/>
                <a:gd name="connsiteX80" fmla="*/ 162782 w 504825"/>
                <a:gd name="connsiteY80" fmla="*/ 98870 h 504825"/>
                <a:gd name="connsiteX81" fmla="*/ 136588 w 504825"/>
                <a:gd name="connsiteY81" fmla="*/ 95822 h 504825"/>
                <a:gd name="connsiteX82" fmla="*/ 117348 w 504825"/>
                <a:gd name="connsiteY82" fmla="*/ 76581 h 504825"/>
                <a:gd name="connsiteX83" fmla="*/ 111919 w 504825"/>
                <a:gd name="connsiteY83" fmla="*/ 74390 h 504825"/>
                <a:gd name="connsiteX84" fmla="*/ 74771 w 504825"/>
                <a:gd name="connsiteY84" fmla="*/ 111538 h 504825"/>
                <a:gd name="connsiteX85" fmla="*/ 74104 w 504825"/>
                <a:gd name="connsiteY85" fmla="*/ 113157 h 504825"/>
                <a:gd name="connsiteX86" fmla="*/ 74771 w 504825"/>
                <a:gd name="connsiteY86" fmla="*/ 114776 h 504825"/>
                <a:gd name="connsiteX87" fmla="*/ 96202 w 504825"/>
                <a:gd name="connsiteY87" fmla="*/ 136208 h 504825"/>
                <a:gd name="connsiteX88" fmla="*/ 99346 w 504825"/>
                <a:gd name="connsiteY88" fmla="*/ 162401 h 504825"/>
                <a:gd name="connsiteX89" fmla="*/ 79724 w 504825"/>
                <a:gd name="connsiteY89" fmla="*/ 209645 h 504825"/>
                <a:gd name="connsiteX90" fmla="*/ 59055 w 504825"/>
                <a:gd name="connsiteY90" fmla="*/ 225933 h 504825"/>
                <a:gd name="connsiteX91" fmla="*/ 31813 w 504825"/>
                <a:gd name="connsiteY91" fmla="*/ 225933 h 504825"/>
                <a:gd name="connsiteX92" fmla="*/ 26479 w 504825"/>
                <a:gd name="connsiteY92" fmla="*/ 228219 h 504825"/>
                <a:gd name="connsiteX93" fmla="*/ 26479 w 504825"/>
                <a:gd name="connsiteY93" fmla="*/ 280797 h 504825"/>
                <a:gd name="connsiteX94" fmla="*/ 28765 w 504825"/>
                <a:gd name="connsiteY94" fmla="*/ 283083 h 504825"/>
                <a:gd name="connsiteX95" fmla="*/ 58960 w 504825"/>
                <a:gd name="connsiteY95" fmla="*/ 283083 h 504825"/>
                <a:gd name="connsiteX96" fmla="*/ 79629 w 504825"/>
                <a:gd name="connsiteY96" fmla="*/ 299371 h 504825"/>
                <a:gd name="connsiteX97" fmla="*/ 99250 w 504825"/>
                <a:gd name="connsiteY97" fmla="*/ 346710 h 504825"/>
                <a:gd name="connsiteX98" fmla="*/ 96202 w 504825"/>
                <a:gd name="connsiteY98" fmla="*/ 372904 h 504825"/>
                <a:gd name="connsiteX99" fmla="*/ 76867 w 504825"/>
                <a:gd name="connsiteY99" fmla="*/ 392240 h 504825"/>
                <a:gd name="connsiteX100" fmla="*/ 74676 w 504825"/>
                <a:gd name="connsiteY100" fmla="*/ 397669 h 504825"/>
                <a:gd name="connsiteX101" fmla="*/ 111823 w 504825"/>
                <a:gd name="connsiteY101" fmla="*/ 434816 h 504825"/>
                <a:gd name="connsiteX102" fmla="*/ 115062 w 504825"/>
                <a:gd name="connsiteY102" fmla="*/ 434816 h 504825"/>
                <a:gd name="connsiteX103" fmla="*/ 136493 w 504825"/>
                <a:gd name="connsiteY103" fmla="*/ 413385 h 504825"/>
                <a:gd name="connsiteX104" fmla="*/ 162687 w 504825"/>
                <a:gd name="connsiteY104" fmla="*/ 410242 h 504825"/>
                <a:gd name="connsiteX105" fmla="*/ 209931 w 504825"/>
                <a:gd name="connsiteY105" fmla="*/ 429863 h 504825"/>
                <a:gd name="connsiteX106" fmla="*/ 226219 w 504825"/>
                <a:gd name="connsiteY106" fmla="*/ 450533 h 504825"/>
                <a:gd name="connsiteX107" fmla="*/ 226219 w 504825"/>
                <a:gd name="connsiteY107" fmla="*/ 479965 h 504825"/>
                <a:gd name="connsiteX108" fmla="*/ 226885 w 504825"/>
                <a:gd name="connsiteY108" fmla="*/ 483394 h 504825"/>
                <a:gd name="connsiteX109" fmla="*/ 281083 w 504825"/>
                <a:gd name="connsiteY109" fmla="*/ 483013 h 504825"/>
                <a:gd name="connsiteX110" fmla="*/ 283369 w 504825"/>
                <a:gd name="connsiteY110" fmla="*/ 480727 h 504825"/>
                <a:gd name="connsiteX111" fmla="*/ 283369 w 504825"/>
                <a:gd name="connsiteY111" fmla="*/ 450533 h 504825"/>
                <a:gd name="connsiteX112" fmla="*/ 299656 w 504825"/>
                <a:gd name="connsiteY112" fmla="*/ 429863 h 504825"/>
                <a:gd name="connsiteX113" fmla="*/ 331280 w 504825"/>
                <a:gd name="connsiteY113" fmla="*/ 418433 h 504825"/>
                <a:gd name="connsiteX114" fmla="*/ 343948 w 504825"/>
                <a:gd name="connsiteY114" fmla="*/ 423005 h 504825"/>
                <a:gd name="connsiteX115" fmla="*/ 339376 w 504825"/>
                <a:gd name="connsiteY115" fmla="*/ 435674 h 504825"/>
                <a:gd name="connsiteX116" fmla="*/ 304419 w 504825"/>
                <a:gd name="connsiteY116" fmla="*/ 448342 h 504825"/>
                <a:gd name="connsiteX117" fmla="*/ 302419 w 504825"/>
                <a:gd name="connsiteY117" fmla="*/ 450628 h 504825"/>
                <a:gd name="connsiteX118" fmla="*/ 302419 w 504825"/>
                <a:gd name="connsiteY118" fmla="*/ 480822 h 504825"/>
                <a:gd name="connsiteX119" fmla="*/ 281083 w 504825"/>
                <a:gd name="connsiteY119" fmla="*/ 502158 h 504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504825" h="504825">
                  <a:moveTo>
                    <a:pt x="280988" y="502349"/>
                  </a:moveTo>
                  <a:lnTo>
                    <a:pt x="226123" y="502349"/>
                  </a:lnTo>
                  <a:cubicBezTo>
                    <a:pt x="216979" y="502349"/>
                    <a:pt x="207073" y="495395"/>
                    <a:pt x="207073" y="480155"/>
                  </a:cubicBezTo>
                  <a:lnTo>
                    <a:pt x="207073" y="450723"/>
                  </a:lnTo>
                  <a:cubicBezTo>
                    <a:pt x="207073" y="449485"/>
                    <a:pt x="206026" y="448723"/>
                    <a:pt x="205073" y="448532"/>
                  </a:cubicBezTo>
                  <a:cubicBezTo>
                    <a:pt x="186785" y="443865"/>
                    <a:pt x="169164" y="436531"/>
                    <a:pt x="152781" y="426815"/>
                  </a:cubicBezTo>
                  <a:cubicBezTo>
                    <a:pt x="151924" y="426339"/>
                    <a:pt x="150685" y="426149"/>
                    <a:pt x="149733" y="427006"/>
                  </a:cubicBezTo>
                  <a:lnTo>
                    <a:pt x="128302" y="448437"/>
                  </a:lnTo>
                  <a:cubicBezTo>
                    <a:pt x="120015" y="456724"/>
                    <a:pt x="106489" y="456724"/>
                    <a:pt x="98107" y="448437"/>
                  </a:cubicBezTo>
                  <a:lnTo>
                    <a:pt x="60960" y="411290"/>
                  </a:lnTo>
                  <a:cubicBezTo>
                    <a:pt x="53435" y="403765"/>
                    <a:pt x="51816" y="390239"/>
                    <a:pt x="63151" y="378905"/>
                  </a:cubicBezTo>
                  <a:lnTo>
                    <a:pt x="82487" y="359569"/>
                  </a:lnTo>
                  <a:cubicBezTo>
                    <a:pt x="83344" y="358712"/>
                    <a:pt x="83153" y="357378"/>
                    <a:pt x="82677" y="356616"/>
                  </a:cubicBezTo>
                  <a:cubicBezTo>
                    <a:pt x="72962" y="340233"/>
                    <a:pt x="65627" y="322612"/>
                    <a:pt x="60960" y="304324"/>
                  </a:cubicBezTo>
                  <a:cubicBezTo>
                    <a:pt x="60674" y="303371"/>
                    <a:pt x="59912" y="302324"/>
                    <a:pt x="58674" y="302324"/>
                  </a:cubicBezTo>
                  <a:lnTo>
                    <a:pt x="28480" y="302324"/>
                  </a:lnTo>
                  <a:cubicBezTo>
                    <a:pt x="16669" y="302324"/>
                    <a:pt x="7144" y="292703"/>
                    <a:pt x="7144" y="280988"/>
                  </a:cubicBezTo>
                  <a:lnTo>
                    <a:pt x="7144" y="228409"/>
                  </a:lnTo>
                  <a:cubicBezTo>
                    <a:pt x="7144" y="217837"/>
                    <a:pt x="15526" y="207074"/>
                    <a:pt x="31528" y="207074"/>
                  </a:cubicBezTo>
                  <a:lnTo>
                    <a:pt x="58769" y="207074"/>
                  </a:lnTo>
                  <a:cubicBezTo>
                    <a:pt x="60007" y="207074"/>
                    <a:pt x="60770" y="206026"/>
                    <a:pt x="60960" y="205073"/>
                  </a:cubicBezTo>
                  <a:cubicBezTo>
                    <a:pt x="65627" y="186785"/>
                    <a:pt x="72962" y="169164"/>
                    <a:pt x="82677" y="152781"/>
                  </a:cubicBezTo>
                  <a:cubicBezTo>
                    <a:pt x="83153" y="151924"/>
                    <a:pt x="83344" y="150590"/>
                    <a:pt x="82487" y="149733"/>
                  </a:cubicBezTo>
                  <a:lnTo>
                    <a:pt x="61055" y="128302"/>
                  </a:lnTo>
                  <a:cubicBezTo>
                    <a:pt x="52768" y="120015"/>
                    <a:pt x="52768" y="106490"/>
                    <a:pt x="61055" y="98108"/>
                  </a:cubicBezTo>
                  <a:lnTo>
                    <a:pt x="98203" y="60960"/>
                  </a:lnTo>
                  <a:cubicBezTo>
                    <a:pt x="105727" y="53435"/>
                    <a:pt x="119253" y="51816"/>
                    <a:pt x="130588" y="63151"/>
                  </a:cubicBezTo>
                  <a:lnTo>
                    <a:pt x="149923" y="82487"/>
                  </a:lnTo>
                  <a:cubicBezTo>
                    <a:pt x="150781" y="83344"/>
                    <a:pt x="152114" y="83153"/>
                    <a:pt x="152876" y="82677"/>
                  </a:cubicBezTo>
                  <a:cubicBezTo>
                    <a:pt x="169259" y="72962"/>
                    <a:pt x="186880" y="65627"/>
                    <a:pt x="205168" y="60960"/>
                  </a:cubicBezTo>
                  <a:cubicBezTo>
                    <a:pt x="206121" y="60674"/>
                    <a:pt x="207169" y="59912"/>
                    <a:pt x="207169" y="58674"/>
                  </a:cubicBezTo>
                  <a:lnTo>
                    <a:pt x="207169" y="28480"/>
                  </a:lnTo>
                  <a:cubicBezTo>
                    <a:pt x="207169" y="16669"/>
                    <a:pt x="216789" y="7144"/>
                    <a:pt x="228505" y="7144"/>
                  </a:cubicBezTo>
                  <a:lnTo>
                    <a:pt x="281083" y="7144"/>
                  </a:lnTo>
                  <a:cubicBezTo>
                    <a:pt x="291655" y="7144"/>
                    <a:pt x="302419" y="15526"/>
                    <a:pt x="302419" y="31528"/>
                  </a:cubicBezTo>
                  <a:lnTo>
                    <a:pt x="302419" y="58769"/>
                  </a:lnTo>
                  <a:cubicBezTo>
                    <a:pt x="302419" y="60008"/>
                    <a:pt x="303466" y="60770"/>
                    <a:pt x="304419" y="60960"/>
                  </a:cubicBezTo>
                  <a:cubicBezTo>
                    <a:pt x="322707" y="65627"/>
                    <a:pt x="340328" y="72962"/>
                    <a:pt x="356711" y="82677"/>
                  </a:cubicBezTo>
                  <a:cubicBezTo>
                    <a:pt x="357568" y="83153"/>
                    <a:pt x="358902" y="83344"/>
                    <a:pt x="359759" y="82487"/>
                  </a:cubicBezTo>
                  <a:lnTo>
                    <a:pt x="381190" y="61055"/>
                  </a:lnTo>
                  <a:cubicBezTo>
                    <a:pt x="389477" y="52768"/>
                    <a:pt x="403098" y="52768"/>
                    <a:pt x="411385" y="61055"/>
                  </a:cubicBezTo>
                  <a:lnTo>
                    <a:pt x="448532" y="98203"/>
                  </a:lnTo>
                  <a:cubicBezTo>
                    <a:pt x="456057" y="105727"/>
                    <a:pt x="457676" y="119253"/>
                    <a:pt x="446341" y="130588"/>
                  </a:cubicBezTo>
                  <a:lnTo>
                    <a:pt x="427006" y="149924"/>
                  </a:lnTo>
                  <a:cubicBezTo>
                    <a:pt x="426148" y="150781"/>
                    <a:pt x="426339" y="152114"/>
                    <a:pt x="426815" y="152876"/>
                  </a:cubicBezTo>
                  <a:cubicBezTo>
                    <a:pt x="436531" y="169259"/>
                    <a:pt x="443865" y="186881"/>
                    <a:pt x="448532" y="205168"/>
                  </a:cubicBezTo>
                  <a:cubicBezTo>
                    <a:pt x="448818" y="206121"/>
                    <a:pt x="449580" y="207169"/>
                    <a:pt x="450818" y="207169"/>
                  </a:cubicBezTo>
                  <a:lnTo>
                    <a:pt x="481013" y="207169"/>
                  </a:lnTo>
                  <a:cubicBezTo>
                    <a:pt x="492823" y="207169"/>
                    <a:pt x="502348" y="216789"/>
                    <a:pt x="502348" y="228505"/>
                  </a:cubicBezTo>
                  <a:lnTo>
                    <a:pt x="502348" y="281083"/>
                  </a:lnTo>
                  <a:cubicBezTo>
                    <a:pt x="502348" y="291656"/>
                    <a:pt x="493966" y="302419"/>
                    <a:pt x="477964" y="302419"/>
                  </a:cubicBezTo>
                  <a:lnTo>
                    <a:pt x="450723" y="302419"/>
                  </a:lnTo>
                  <a:cubicBezTo>
                    <a:pt x="449485" y="302419"/>
                    <a:pt x="448723" y="303467"/>
                    <a:pt x="448532" y="304419"/>
                  </a:cubicBezTo>
                  <a:cubicBezTo>
                    <a:pt x="445580" y="315944"/>
                    <a:pt x="441293" y="327755"/>
                    <a:pt x="435864" y="339376"/>
                  </a:cubicBezTo>
                  <a:cubicBezTo>
                    <a:pt x="433673" y="344138"/>
                    <a:pt x="427958" y="346234"/>
                    <a:pt x="423196" y="343948"/>
                  </a:cubicBezTo>
                  <a:cubicBezTo>
                    <a:pt x="418433" y="341757"/>
                    <a:pt x="416433" y="336042"/>
                    <a:pt x="418624" y="331280"/>
                  </a:cubicBezTo>
                  <a:cubicBezTo>
                    <a:pt x="423577" y="320707"/>
                    <a:pt x="427387" y="310134"/>
                    <a:pt x="430054" y="299657"/>
                  </a:cubicBezTo>
                  <a:cubicBezTo>
                    <a:pt x="432530" y="290036"/>
                    <a:pt x="441007" y="283369"/>
                    <a:pt x="450723" y="283369"/>
                  </a:cubicBezTo>
                  <a:lnTo>
                    <a:pt x="477964" y="283369"/>
                  </a:lnTo>
                  <a:cubicBezTo>
                    <a:pt x="477964" y="283369"/>
                    <a:pt x="483298" y="283369"/>
                    <a:pt x="483298" y="281083"/>
                  </a:cubicBezTo>
                  <a:lnTo>
                    <a:pt x="483298" y="228505"/>
                  </a:lnTo>
                  <a:cubicBezTo>
                    <a:pt x="483298" y="227267"/>
                    <a:pt x="482251" y="226219"/>
                    <a:pt x="481013" y="226219"/>
                  </a:cubicBezTo>
                  <a:lnTo>
                    <a:pt x="450818" y="226219"/>
                  </a:lnTo>
                  <a:cubicBezTo>
                    <a:pt x="441103" y="226219"/>
                    <a:pt x="432530" y="219551"/>
                    <a:pt x="430149" y="209931"/>
                  </a:cubicBezTo>
                  <a:cubicBezTo>
                    <a:pt x="425958" y="193358"/>
                    <a:pt x="419290" y="177451"/>
                    <a:pt x="410527" y="162592"/>
                  </a:cubicBezTo>
                  <a:cubicBezTo>
                    <a:pt x="405479" y="154115"/>
                    <a:pt x="406717" y="143351"/>
                    <a:pt x="413575" y="136398"/>
                  </a:cubicBezTo>
                  <a:lnTo>
                    <a:pt x="432911" y="117062"/>
                  </a:lnTo>
                  <a:cubicBezTo>
                    <a:pt x="432911" y="117062"/>
                    <a:pt x="436721" y="113252"/>
                    <a:pt x="435102" y="111633"/>
                  </a:cubicBezTo>
                  <a:lnTo>
                    <a:pt x="397955" y="74485"/>
                  </a:lnTo>
                  <a:cubicBezTo>
                    <a:pt x="396812" y="73438"/>
                    <a:pt x="395859" y="73342"/>
                    <a:pt x="394716" y="74485"/>
                  </a:cubicBezTo>
                  <a:lnTo>
                    <a:pt x="373285" y="95917"/>
                  </a:lnTo>
                  <a:cubicBezTo>
                    <a:pt x="366427" y="102870"/>
                    <a:pt x="355568" y="104108"/>
                    <a:pt x="347091" y="98965"/>
                  </a:cubicBezTo>
                  <a:cubicBezTo>
                    <a:pt x="332232" y="90202"/>
                    <a:pt x="316325" y="83534"/>
                    <a:pt x="299847" y="79343"/>
                  </a:cubicBezTo>
                  <a:cubicBezTo>
                    <a:pt x="290227" y="76867"/>
                    <a:pt x="283559" y="68390"/>
                    <a:pt x="283559" y="58674"/>
                  </a:cubicBezTo>
                  <a:lnTo>
                    <a:pt x="283559" y="31433"/>
                  </a:lnTo>
                  <a:cubicBezTo>
                    <a:pt x="283559" y="31433"/>
                    <a:pt x="283559" y="26099"/>
                    <a:pt x="281273" y="26099"/>
                  </a:cubicBezTo>
                  <a:lnTo>
                    <a:pt x="228695" y="26099"/>
                  </a:lnTo>
                  <a:cubicBezTo>
                    <a:pt x="227457" y="26099"/>
                    <a:pt x="226409" y="27146"/>
                    <a:pt x="226409" y="28385"/>
                  </a:cubicBezTo>
                  <a:lnTo>
                    <a:pt x="226409" y="58579"/>
                  </a:lnTo>
                  <a:cubicBezTo>
                    <a:pt x="226409" y="68294"/>
                    <a:pt x="219742" y="76867"/>
                    <a:pt x="210121" y="79248"/>
                  </a:cubicBezTo>
                  <a:cubicBezTo>
                    <a:pt x="193548" y="83439"/>
                    <a:pt x="177641" y="90107"/>
                    <a:pt x="162782" y="98870"/>
                  </a:cubicBezTo>
                  <a:cubicBezTo>
                    <a:pt x="154210" y="103918"/>
                    <a:pt x="143446" y="102680"/>
                    <a:pt x="136588" y="95822"/>
                  </a:cubicBezTo>
                  <a:lnTo>
                    <a:pt x="117348" y="76581"/>
                  </a:lnTo>
                  <a:cubicBezTo>
                    <a:pt x="117348" y="76581"/>
                    <a:pt x="113538" y="72771"/>
                    <a:pt x="111919" y="74390"/>
                  </a:cubicBezTo>
                  <a:lnTo>
                    <a:pt x="74771" y="111538"/>
                  </a:lnTo>
                  <a:cubicBezTo>
                    <a:pt x="74200" y="112109"/>
                    <a:pt x="74104" y="112681"/>
                    <a:pt x="74104" y="113157"/>
                  </a:cubicBezTo>
                  <a:cubicBezTo>
                    <a:pt x="74104" y="113633"/>
                    <a:pt x="74200" y="114205"/>
                    <a:pt x="74771" y="114776"/>
                  </a:cubicBezTo>
                  <a:lnTo>
                    <a:pt x="96202" y="136208"/>
                  </a:lnTo>
                  <a:cubicBezTo>
                    <a:pt x="103060" y="143161"/>
                    <a:pt x="104394" y="153924"/>
                    <a:pt x="99346" y="162401"/>
                  </a:cubicBezTo>
                  <a:cubicBezTo>
                    <a:pt x="90583" y="177260"/>
                    <a:pt x="83915" y="193167"/>
                    <a:pt x="79724" y="209645"/>
                  </a:cubicBezTo>
                  <a:cubicBezTo>
                    <a:pt x="77248" y="219266"/>
                    <a:pt x="68771" y="225933"/>
                    <a:pt x="59055" y="225933"/>
                  </a:cubicBezTo>
                  <a:lnTo>
                    <a:pt x="31813" y="225933"/>
                  </a:lnTo>
                  <a:cubicBezTo>
                    <a:pt x="31813" y="225933"/>
                    <a:pt x="26479" y="225933"/>
                    <a:pt x="26479" y="228219"/>
                  </a:cubicBezTo>
                  <a:lnTo>
                    <a:pt x="26479" y="280797"/>
                  </a:lnTo>
                  <a:cubicBezTo>
                    <a:pt x="26479" y="282035"/>
                    <a:pt x="27527" y="283083"/>
                    <a:pt x="28765" y="283083"/>
                  </a:cubicBezTo>
                  <a:lnTo>
                    <a:pt x="58960" y="283083"/>
                  </a:lnTo>
                  <a:cubicBezTo>
                    <a:pt x="68675" y="283083"/>
                    <a:pt x="77248" y="289750"/>
                    <a:pt x="79629" y="299371"/>
                  </a:cubicBezTo>
                  <a:cubicBezTo>
                    <a:pt x="83820" y="315944"/>
                    <a:pt x="90488" y="331851"/>
                    <a:pt x="99250" y="346710"/>
                  </a:cubicBezTo>
                  <a:cubicBezTo>
                    <a:pt x="104299" y="355283"/>
                    <a:pt x="103060" y="366046"/>
                    <a:pt x="96202" y="372904"/>
                  </a:cubicBezTo>
                  <a:lnTo>
                    <a:pt x="76867" y="392240"/>
                  </a:lnTo>
                  <a:cubicBezTo>
                    <a:pt x="76867" y="392240"/>
                    <a:pt x="73057" y="396050"/>
                    <a:pt x="74676" y="397669"/>
                  </a:cubicBezTo>
                  <a:lnTo>
                    <a:pt x="111823" y="434816"/>
                  </a:lnTo>
                  <a:cubicBezTo>
                    <a:pt x="112966" y="435864"/>
                    <a:pt x="113919" y="435959"/>
                    <a:pt x="115062" y="434816"/>
                  </a:cubicBezTo>
                  <a:lnTo>
                    <a:pt x="136493" y="413385"/>
                  </a:lnTo>
                  <a:cubicBezTo>
                    <a:pt x="143351" y="406527"/>
                    <a:pt x="154210" y="405193"/>
                    <a:pt x="162687" y="410242"/>
                  </a:cubicBezTo>
                  <a:cubicBezTo>
                    <a:pt x="177546" y="419005"/>
                    <a:pt x="193453" y="425672"/>
                    <a:pt x="209931" y="429863"/>
                  </a:cubicBezTo>
                  <a:cubicBezTo>
                    <a:pt x="219551" y="432340"/>
                    <a:pt x="226219" y="440817"/>
                    <a:pt x="226219" y="450533"/>
                  </a:cubicBezTo>
                  <a:lnTo>
                    <a:pt x="226219" y="479965"/>
                  </a:lnTo>
                  <a:cubicBezTo>
                    <a:pt x="226219" y="482537"/>
                    <a:pt x="226885" y="483394"/>
                    <a:pt x="226885" y="483394"/>
                  </a:cubicBezTo>
                  <a:lnTo>
                    <a:pt x="281083" y="483013"/>
                  </a:lnTo>
                  <a:cubicBezTo>
                    <a:pt x="282321" y="483013"/>
                    <a:pt x="283369" y="481965"/>
                    <a:pt x="283369" y="480727"/>
                  </a:cubicBezTo>
                  <a:lnTo>
                    <a:pt x="283369" y="450533"/>
                  </a:lnTo>
                  <a:cubicBezTo>
                    <a:pt x="283369" y="440817"/>
                    <a:pt x="290036" y="432245"/>
                    <a:pt x="299656" y="429863"/>
                  </a:cubicBezTo>
                  <a:cubicBezTo>
                    <a:pt x="310134" y="427196"/>
                    <a:pt x="320707" y="423386"/>
                    <a:pt x="331280" y="418433"/>
                  </a:cubicBezTo>
                  <a:cubicBezTo>
                    <a:pt x="336042" y="416147"/>
                    <a:pt x="341757" y="418243"/>
                    <a:pt x="343948" y="423005"/>
                  </a:cubicBezTo>
                  <a:cubicBezTo>
                    <a:pt x="346138" y="427768"/>
                    <a:pt x="344138" y="433483"/>
                    <a:pt x="339376" y="435674"/>
                  </a:cubicBezTo>
                  <a:cubicBezTo>
                    <a:pt x="327755" y="441103"/>
                    <a:pt x="316039" y="445389"/>
                    <a:pt x="304419" y="448342"/>
                  </a:cubicBezTo>
                  <a:cubicBezTo>
                    <a:pt x="303466" y="448627"/>
                    <a:pt x="302419" y="449390"/>
                    <a:pt x="302419" y="450628"/>
                  </a:cubicBezTo>
                  <a:lnTo>
                    <a:pt x="302419" y="480822"/>
                  </a:lnTo>
                  <a:cubicBezTo>
                    <a:pt x="302419" y="492633"/>
                    <a:pt x="292798" y="502158"/>
                    <a:pt x="281083" y="50215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D0A92B2-ABC6-4A1E-BFA4-EB886C2FB61D}"/>
                </a:ext>
              </a:extLst>
            </p:cNvPr>
            <p:cNvSpPr/>
            <p:nvPr/>
          </p:nvSpPr>
          <p:spPr>
            <a:xfrm>
              <a:off x="3820319" y="2950369"/>
              <a:ext cx="352425" cy="352425"/>
            </a:xfrm>
            <a:custGeom>
              <a:avLst/>
              <a:gdLst>
                <a:gd name="connsiteX0" fmla="*/ 339376 w 352425"/>
                <a:gd name="connsiteY0" fmla="*/ 287846 h 352425"/>
                <a:gd name="connsiteX1" fmla="*/ 256889 w 352425"/>
                <a:gd name="connsiteY1" fmla="*/ 205359 h 352425"/>
                <a:gd name="connsiteX2" fmla="*/ 273844 w 352425"/>
                <a:gd name="connsiteY2" fmla="*/ 140494 h 352425"/>
                <a:gd name="connsiteX3" fmla="*/ 140494 w 352425"/>
                <a:gd name="connsiteY3" fmla="*/ 7144 h 352425"/>
                <a:gd name="connsiteX4" fmla="*/ 7144 w 352425"/>
                <a:gd name="connsiteY4" fmla="*/ 140494 h 352425"/>
                <a:gd name="connsiteX5" fmla="*/ 140494 w 352425"/>
                <a:gd name="connsiteY5" fmla="*/ 273844 h 352425"/>
                <a:gd name="connsiteX6" fmla="*/ 205359 w 352425"/>
                <a:gd name="connsiteY6" fmla="*/ 256889 h 352425"/>
                <a:gd name="connsiteX7" fmla="*/ 287846 w 352425"/>
                <a:gd name="connsiteY7" fmla="*/ 339376 h 352425"/>
                <a:gd name="connsiteX8" fmla="*/ 313563 w 352425"/>
                <a:gd name="connsiteY8" fmla="*/ 350044 h 352425"/>
                <a:gd name="connsiteX9" fmla="*/ 339376 w 352425"/>
                <a:gd name="connsiteY9" fmla="*/ 339376 h 352425"/>
                <a:gd name="connsiteX10" fmla="*/ 339376 w 352425"/>
                <a:gd name="connsiteY10" fmla="*/ 287846 h 352425"/>
                <a:gd name="connsiteX11" fmla="*/ 26194 w 352425"/>
                <a:gd name="connsiteY11" fmla="*/ 140494 h 352425"/>
                <a:gd name="connsiteX12" fmla="*/ 140494 w 352425"/>
                <a:gd name="connsiteY12" fmla="*/ 26194 h 352425"/>
                <a:gd name="connsiteX13" fmla="*/ 254794 w 352425"/>
                <a:gd name="connsiteY13" fmla="*/ 140494 h 352425"/>
                <a:gd name="connsiteX14" fmla="*/ 140494 w 352425"/>
                <a:gd name="connsiteY14" fmla="*/ 254794 h 352425"/>
                <a:gd name="connsiteX15" fmla="*/ 26194 w 352425"/>
                <a:gd name="connsiteY15" fmla="*/ 140494 h 352425"/>
                <a:gd name="connsiteX16" fmla="*/ 325946 w 352425"/>
                <a:gd name="connsiteY16" fmla="*/ 325946 h 352425"/>
                <a:gd name="connsiteX17" fmla="*/ 301371 w 352425"/>
                <a:gd name="connsiteY17" fmla="*/ 325946 h 352425"/>
                <a:gd name="connsiteX18" fmla="*/ 221552 w 352425"/>
                <a:gd name="connsiteY18" fmla="*/ 246221 h 352425"/>
                <a:gd name="connsiteX19" fmla="*/ 246221 w 352425"/>
                <a:gd name="connsiteY19" fmla="*/ 221552 h 352425"/>
                <a:gd name="connsiteX20" fmla="*/ 325946 w 352425"/>
                <a:gd name="connsiteY20" fmla="*/ 301371 h 352425"/>
                <a:gd name="connsiteX21" fmla="*/ 325946 w 352425"/>
                <a:gd name="connsiteY21" fmla="*/ 325946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52425" h="352425">
                  <a:moveTo>
                    <a:pt x="339376" y="287846"/>
                  </a:moveTo>
                  <a:lnTo>
                    <a:pt x="256889" y="205359"/>
                  </a:lnTo>
                  <a:cubicBezTo>
                    <a:pt x="267653" y="186119"/>
                    <a:pt x="273844" y="164021"/>
                    <a:pt x="273844" y="140494"/>
                  </a:cubicBezTo>
                  <a:cubicBezTo>
                    <a:pt x="273844" y="66961"/>
                    <a:pt x="214027" y="7144"/>
                    <a:pt x="140494" y="7144"/>
                  </a:cubicBezTo>
                  <a:cubicBezTo>
                    <a:pt x="66961" y="7144"/>
                    <a:pt x="7144" y="66961"/>
                    <a:pt x="7144" y="140494"/>
                  </a:cubicBezTo>
                  <a:cubicBezTo>
                    <a:pt x="7144" y="214027"/>
                    <a:pt x="66961" y="273844"/>
                    <a:pt x="140494" y="273844"/>
                  </a:cubicBezTo>
                  <a:cubicBezTo>
                    <a:pt x="164021" y="273844"/>
                    <a:pt x="186119" y="267653"/>
                    <a:pt x="205359" y="256889"/>
                  </a:cubicBezTo>
                  <a:lnTo>
                    <a:pt x="287846" y="339376"/>
                  </a:lnTo>
                  <a:cubicBezTo>
                    <a:pt x="294989" y="346520"/>
                    <a:pt x="304229" y="350044"/>
                    <a:pt x="313563" y="350044"/>
                  </a:cubicBezTo>
                  <a:cubicBezTo>
                    <a:pt x="322897" y="350044"/>
                    <a:pt x="332232" y="346520"/>
                    <a:pt x="339376" y="339376"/>
                  </a:cubicBezTo>
                  <a:cubicBezTo>
                    <a:pt x="353568" y="325184"/>
                    <a:pt x="353568" y="302038"/>
                    <a:pt x="339376" y="287846"/>
                  </a:cubicBezTo>
                  <a:close/>
                  <a:moveTo>
                    <a:pt x="26194" y="140494"/>
                  </a:moveTo>
                  <a:cubicBezTo>
                    <a:pt x="26194" y="77438"/>
                    <a:pt x="77438" y="26194"/>
                    <a:pt x="140494" y="26194"/>
                  </a:cubicBezTo>
                  <a:cubicBezTo>
                    <a:pt x="203549" y="26194"/>
                    <a:pt x="254794" y="77438"/>
                    <a:pt x="254794" y="140494"/>
                  </a:cubicBezTo>
                  <a:cubicBezTo>
                    <a:pt x="254794" y="203549"/>
                    <a:pt x="203549" y="254794"/>
                    <a:pt x="140494" y="254794"/>
                  </a:cubicBezTo>
                  <a:cubicBezTo>
                    <a:pt x="77438" y="254794"/>
                    <a:pt x="26194" y="203549"/>
                    <a:pt x="26194" y="140494"/>
                  </a:cubicBezTo>
                  <a:close/>
                  <a:moveTo>
                    <a:pt x="325946" y="325946"/>
                  </a:moveTo>
                  <a:cubicBezTo>
                    <a:pt x="319183" y="332708"/>
                    <a:pt x="308134" y="332708"/>
                    <a:pt x="301371" y="325946"/>
                  </a:cubicBezTo>
                  <a:lnTo>
                    <a:pt x="221552" y="246221"/>
                  </a:lnTo>
                  <a:cubicBezTo>
                    <a:pt x="230791" y="239078"/>
                    <a:pt x="239078" y="230886"/>
                    <a:pt x="246221" y="221552"/>
                  </a:cubicBezTo>
                  <a:lnTo>
                    <a:pt x="325946" y="301371"/>
                  </a:lnTo>
                  <a:cubicBezTo>
                    <a:pt x="332708" y="308134"/>
                    <a:pt x="332708" y="319183"/>
                    <a:pt x="325946" y="3259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A09F497-7479-45B3-84A7-1B31E811A7CE}"/>
              </a:ext>
            </a:extLst>
          </p:cNvPr>
          <p:cNvCxnSpPr/>
          <p:nvPr/>
        </p:nvCxnSpPr>
        <p:spPr>
          <a:xfrm>
            <a:off x="2662292" y="3063311"/>
            <a:ext cx="4504862" cy="0"/>
          </a:xfrm>
          <a:prstGeom prst="line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7DA07FA-7E40-419B-A76B-1845BE99BAFB}"/>
              </a:ext>
            </a:extLst>
          </p:cNvPr>
          <p:cNvCxnSpPr>
            <a:cxnSpLocks/>
          </p:cNvCxnSpPr>
          <p:nvPr/>
        </p:nvCxnSpPr>
        <p:spPr>
          <a:xfrm>
            <a:off x="3858215" y="4821838"/>
            <a:ext cx="2188959" cy="0"/>
          </a:xfrm>
          <a:prstGeom prst="line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FE8F4AC-3E36-47CE-BF5B-3B1462843DB7}"/>
              </a:ext>
            </a:extLst>
          </p:cNvPr>
          <p:cNvCxnSpPr>
            <a:cxnSpLocks/>
          </p:cNvCxnSpPr>
          <p:nvPr/>
        </p:nvCxnSpPr>
        <p:spPr>
          <a:xfrm>
            <a:off x="4832482" y="6426955"/>
            <a:ext cx="219719" cy="0"/>
          </a:xfrm>
          <a:prstGeom prst="line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7301541-7C41-4B92-A9B7-C53497E3C1F7}"/>
              </a:ext>
            </a:extLst>
          </p:cNvPr>
          <p:cNvGrpSpPr/>
          <p:nvPr/>
        </p:nvGrpSpPr>
        <p:grpSpPr>
          <a:xfrm>
            <a:off x="7086057" y="3861072"/>
            <a:ext cx="382621" cy="421026"/>
            <a:chOff x="4198787" y="1206563"/>
            <a:chExt cx="382621" cy="421026"/>
          </a:xfrm>
          <a:solidFill>
            <a:schemeClr val="bg1"/>
          </a:solidFill>
        </p:grpSpPr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3F5614B8-310A-46CF-9727-BCE5BBAA0283}"/>
                </a:ext>
              </a:extLst>
            </p:cNvPr>
            <p:cNvSpPr/>
            <p:nvPr/>
          </p:nvSpPr>
          <p:spPr>
            <a:xfrm>
              <a:off x="4198787" y="1206563"/>
              <a:ext cx="382621" cy="421026"/>
            </a:xfrm>
            <a:custGeom>
              <a:avLst/>
              <a:gdLst>
                <a:gd name="connsiteX0" fmla="*/ 381566 w 382621"/>
                <a:gd name="connsiteY0" fmla="*/ 318628 h 421025"/>
                <a:gd name="connsiteX1" fmla="*/ 368409 w 382621"/>
                <a:gd name="connsiteY1" fmla="*/ 238825 h 421025"/>
                <a:gd name="connsiteX2" fmla="*/ 340715 w 382621"/>
                <a:gd name="connsiteY2" fmla="*/ 175458 h 421025"/>
                <a:gd name="connsiteX3" fmla="*/ 300298 w 382621"/>
                <a:gd name="connsiteY3" fmla="*/ 145930 h 421025"/>
                <a:gd name="connsiteX4" fmla="*/ 301365 w 382621"/>
                <a:gd name="connsiteY4" fmla="*/ 142886 h 421025"/>
                <a:gd name="connsiteX5" fmla="*/ 301479 w 382621"/>
                <a:gd name="connsiteY5" fmla="*/ 142573 h 421025"/>
                <a:gd name="connsiteX6" fmla="*/ 302425 w 382621"/>
                <a:gd name="connsiteY6" fmla="*/ 138277 h 421025"/>
                <a:gd name="connsiteX7" fmla="*/ 301557 w 382621"/>
                <a:gd name="connsiteY7" fmla="*/ 129508 h 421025"/>
                <a:gd name="connsiteX8" fmla="*/ 301493 w 382621"/>
                <a:gd name="connsiteY8" fmla="*/ 129295 h 421025"/>
                <a:gd name="connsiteX9" fmla="*/ 274325 w 382621"/>
                <a:gd name="connsiteY9" fmla="*/ 68580 h 421025"/>
                <a:gd name="connsiteX10" fmla="*/ 224585 w 382621"/>
                <a:gd name="connsiteY10" fmla="*/ 10497 h 421025"/>
                <a:gd name="connsiteX11" fmla="*/ 191465 w 382621"/>
                <a:gd name="connsiteY11" fmla="*/ 533 h 421025"/>
                <a:gd name="connsiteX12" fmla="*/ 191465 w 382621"/>
                <a:gd name="connsiteY12" fmla="*/ 533 h 421025"/>
                <a:gd name="connsiteX13" fmla="*/ 108603 w 382621"/>
                <a:gd name="connsiteY13" fmla="*/ 68580 h 421025"/>
                <a:gd name="connsiteX14" fmla="*/ 81415 w 382621"/>
                <a:gd name="connsiteY14" fmla="*/ 129352 h 421025"/>
                <a:gd name="connsiteX15" fmla="*/ 80419 w 382621"/>
                <a:gd name="connsiteY15" fmla="*/ 137417 h 421025"/>
                <a:gd name="connsiteX16" fmla="*/ 80469 w 382621"/>
                <a:gd name="connsiteY16" fmla="*/ 137964 h 421025"/>
                <a:gd name="connsiteX17" fmla="*/ 80526 w 382621"/>
                <a:gd name="connsiteY17" fmla="*/ 138419 h 421025"/>
                <a:gd name="connsiteX18" fmla="*/ 81400 w 382621"/>
                <a:gd name="connsiteY18" fmla="*/ 142374 h 421025"/>
                <a:gd name="connsiteX19" fmla="*/ 82624 w 382621"/>
                <a:gd name="connsiteY19" fmla="*/ 145937 h 421025"/>
                <a:gd name="connsiteX20" fmla="*/ 42228 w 382621"/>
                <a:gd name="connsiteY20" fmla="*/ 175451 h 421025"/>
                <a:gd name="connsiteX21" fmla="*/ 14534 w 382621"/>
                <a:gd name="connsiteY21" fmla="*/ 238818 h 421025"/>
                <a:gd name="connsiteX22" fmla="*/ 1377 w 382621"/>
                <a:gd name="connsiteY22" fmla="*/ 318621 h 421025"/>
                <a:gd name="connsiteX23" fmla="*/ 31233 w 382621"/>
                <a:gd name="connsiteY23" fmla="*/ 379258 h 421025"/>
                <a:gd name="connsiteX24" fmla="*/ 44675 w 382621"/>
                <a:gd name="connsiteY24" fmla="*/ 385416 h 421025"/>
                <a:gd name="connsiteX25" fmla="*/ 81792 w 382621"/>
                <a:gd name="connsiteY25" fmla="*/ 420677 h 421025"/>
                <a:gd name="connsiteX26" fmla="*/ 301159 w 382621"/>
                <a:gd name="connsiteY26" fmla="*/ 420677 h 421025"/>
                <a:gd name="connsiteX27" fmla="*/ 338276 w 382621"/>
                <a:gd name="connsiteY27" fmla="*/ 385416 h 421025"/>
                <a:gd name="connsiteX28" fmla="*/ 351718 w 382621"/>
                <a:gd name="connsiteY28" fmla="*/ 379258 h 421025"/>
                <a:gd name="connsiteX29" fmla="*/ 381573 w 382621"/>
                <a:gd name="connsiteY29" fmla="*/ 318621 h 421025"/>
                <a:gd name="connsiteX30" fmla="*/ 320041 w 382621"/>
                <a:gd name="connsiteY30" fmla="*/ 353455 h 421025"/>
                <a:gd name="connsiteX31" fmla="*/ 317232 w 382621"/>
                <a:gd name="connsiteY31" fmla="*/ 353356 h 421025"/>
                <a:gd name="connsiteX32" fmla="*/ 285577 w 382621"/>
                <a:gd name="connsiteY32" fmla="*/ 352858 h 421025"/>
                <a:gd name="connsiteX33" fmla="*/ 190839 w 382621"/>
                <a:gd name="connsiteY33" fmla="*/ 353079 h 421025"/>
                <a:gd name="connsiteX34" fmla="*/ 62895 w 382621"/>
                <a:gd name="connsiteY34" fmla="*/ 354430 h 421025"/>
                <a:gd name="connsiteX35" fmla="*/ 62895 w 382621"/>
                <a:gd name="connsiteY35" fmla="*/ 229487 h 421025"/>
                <a:gd name="connsiteX36" fmla="*/ 73783 w 382621"/>
                <a:gd name="connsiteY36" fmla="*/ 218997 h 421025"/>
                <a:gd name="connsiteX37" fmla="*/ 309167 w 382621"/>
                <a:gd name="connsiteY37" fmla="*/ 218997 h 421025"/>
                <a:gd name="connsiteX38" fmla="*/ 320055 w 382621"/>
                <a:gd name="connsiteY38" fmla="*/ 229487 h 421025"/>
                <a:gd name="connsiteX39" fmla="*/ 320055 w 382621"/>
                <a:gd name="connsiteY39" fmla="*/ 353463 h 421025"/>
                <a:gd name="connsiteX40" fmla="*/ 114108 w 382621"/>
                <a:gd name="connsiteY40" fmla="*/ 97746 h 421025"/>
                <a:gd name="connsiteX41" fmla="*/ 115175 w 382621"/>
                <a:gd name="connsiteY41" fmla="*/ 95513 h 421025"/>
                <a:gd name="connsiteX42" fmla="*/ 115324 w 382621"/>
                <a:gd name="connsiteY42" fmla="*/ 95200 h 421025"/>
                <a:gd name="connsiteX43" fmla="*/ 116363 w 382621"/>
                <a:gd name="connsiteY43" fmla="*/ 93081 h 421025"/>
                <a:gd name="connsiteX44" fmla="*/ 116583 w 382621"/>
                <a:gd name="connsiteY44" fmla="*/ 92626 h 421025"/>
                <a:gd name="connsiteX45" fmla="*/ 117615 w 382621"/>
                <a:gd name="connsiteY45" fmla="*/ 90549 h 421025"/>
                <a:gd name="connsiteX46" fmla="*/ 117870 w 382621"/>
                <a:gd name="connsiteY46" fmla="*/ 90037 h 421025"/>
                <a:gd name="connsiteX47" fmla="*/ 118923 w 382621"/>
                <a:gd name="connsiteY47" fmla="*/ 87967 h 421025"/>
                <a:gd name="connsiteX48" fmla="*/ 119186 w 382621"/>
                <a:gd name="connsiteY48" fmla="*/ 87455 h 421025"/>
                <a:gd name="connsiteX49" fmla="*/ 120282 w 382621"/>
                <a:gd name="connsiteY49" fmla="*/ 85343 h 421025"/>
                <a:gd name="connsiteX50" fmla="*/ 120509 w 382621"/>
                <a:gd name="connsiteY50" fmla="*/ 84916 h 421025"/>
                <a:gd name="connsiteX51" fmla="*/ 121697 w 382621"/>
                <a:gd name="connsiteY51" fmla="*/ 82683 h 421025"/>
                <a:gd name="connsiteX52" fmla="*/ 121754 w 382621"/>
                <a:gd name="connsiteY52" fmla="*/ 82584 h 421025"/>
                <a:gd name="connsiteX53" fmla="*/ 124541 w 382621"/>
                <a:gd name="connsiteY53" fmla="*/ 77499 h 421025"/>
                <a:gd name="connsiteX54" fmla="*/ 191479 w 382621"/>
                <a:gd name="connsiteY54" fmla="*/ 18783 h 421025"/>
                <a:gd name="connsiteX55" fmla="*/ 210866 w 382621"/>
                <a:gd name="connsiteY55" fmla="*/ 23789 h 421025"/>
                <a:gd name="connsiteX56" fmla="*/ 258409 w 382621"/>
                <a:gd name="connsiteY56" fmla="*/ 77499 h 421025"/>
                <a:gd name="connsiteX57" fmla="*/ 262954 w 382621"/>
                <a:gd name="connsiteY57" fmla="*/ 85905 h 421025"/>
                <a:gd name="connsiteX58" fmla="*/ 263060 w 382621"/>
                <a:gd name="connsiteY58" fmla="*/ 86104 h 421025"/>
                <a:gd name="connsiteX59" fmla="*/ 264362 w 382621"/>
                <a:gd name="connsiteY59" fmla="*/ 88636 h 421025"/>
                <a:gd name="connsiteX60" fmla="*/ 264511 w 382621"/>
                <a:gd name="connsiteY60" fmla="*/ 88928 h 421025"/>
                <a:gd name="connsiteX61" fmla="*/ 265748 w 382621"/>
                <a:gd name="connsiteY61" fmla="*/ 91381 h 421025"/>
                <a:gd name="connsiteX62" fmla="*/ 265884 w 382621"/>
                <a:gd name="connsiteY62" fmla="*/ 91651 h 421025"/>
                <a:gd name="connsiteX63" fmla="*/ 267107 w 382621"/>
                <a:gd name="connsiteY63" fmla="*/ 94133 h 421025"/>
                <a:gd name="connsiteX64" fmla="*/ 267199 w 382621"/>
                <a:gd name="connsiteY64" fmla="*/ 94325 h 421025"/>
                <a:gd name="connsiteX65" fmla="*/ 277967 w 382621"/>
                <a:gd name="connsiteY65" fmla="*/ 118549 h 421025"/>
                <a:gd name="connsiteX66" fmla="*/ 191763 w 382621"/>
                <a:gd name="connsiteY66" fmla="*/ 98813 h 421025"/>
                <a:gd name="connsiteX67" fmla="*/ 191187 w 382621"/>
                <a:gd name="connsiteY67" fmla="*/ 98813 h 421025"/>
                <a:gd name="connsiteX68" fmla="*/ 104984 w 382621"/>
                <a:gd name="connsiteY68" fmla="*/ 118549 h 421025"/>
                <a:gd name="connsiteX69" fmla="*/ 114094 w 382621"/>
                <a:gd name="connsiteY69" fmla="*/ 97775 h 421025"/>
                <a:gd name="connsiteX70" fmla="*/ 114115 w 382621"/>
                <a:gd name="connsiteY70" fmla="*/ 97725 h 421025"/>
                <a:gd name="connsiteX71" fmla="*/ 177895 w 382621"/>
                <a:gd name="connsiteY71" fmla="*/ 130219 h 421025"/>
                <a:gd name="connsiteX72" fmla="*/ 177895 w 382621"/>
                <a:gd name="connsiteY72" fmla="*/ 117660 h 421025"/>
                <a:gd name="connsiteX73" fmla="*/ 191465 w 382621"/>
                <a:gd name="connsiteY73" fmla="*/ 117091 h 421025"/>
                <a:gd name="connsiteX74" fmla="*/ 205041 w 382621"/>
                <a:gd name="connsiteY74" fmla="*/ 117688 h 421025"/>
                <a:gd name="connsiteX75" fmla="*/ 205041 w 382621"/>
                <a:gd name="connsiteY75" fmla="*/ 130219 h 421025"/>
                <a:gd name="connsiteX76" fmla="*/ 221327 w 382621"/>
                <a:gd name="connsiteY76" fmla="*/ 130219 h 421025"/>
                <a:gd name="connsiteX77" fmla="*/ 221327 w 382621"/>
                <a:gd name="connsiteY77" fmla="*/ 118997 h 421025"/>
                <a:gd name="connsiteX78" fmla="*/ 240416 w 382621"/>
                <a:gd name="connsiteY78" fmla="*/ 121991 h 421025"/>
                <a:gd name="connsiteX79" fmla="*/ 238254 w 382621"/>
                <a:gd name="connsiteY79" fmla="*/ 131855 h 421025"/>
                <a:gd name="connsiteX80" fmla="*/ 233019 w 382621"/>
                <a:gd name="connsiteY80" fmla="*/ 155730 h 421025"/>
                <a:gd name="connsiteX81" fmla="*/ 191472 w 382621"/>
                <a:gd name="connsiteY81" fmla="*/ 188551 h 421025"/>
                <a:gd name="connsiteX82" fmla="*/ 149924 w 382621"/>
                <a:gd name="connsiteY82" fmla="*/ 155730 h 421025"/>
                <a:gd name="connsiteX83" fmla="*/ 144633 w 382621"/>
                <a:gd name="connsiteY83" fmla="*/ 131599 h 421025"/>
                <a:gd name="connsiteX84" fmla="*/ 142506 w 382621"/>
                <a:gd name="connsiteY84" fmla="*/ 121891 h 421025"/>
                <a:gd name="connsiteX85" fmla="*/ 161616 w 382621"/>
                <a:gd name="connsiteY85" fmla="*/ 118918 h 421025"/>
                <a:gd name="connsiteX86" fmla="*/ 161616 w 382621"/>
                <a:gd name="connsiteY86" fmla="*/ 130219 h 421025"/>
                <a:gd name="connsiteX87" fmla="*/ 177902 w 382621"/>
                <a:gd name="connsiteY87" fmla="*/ 130219 h 421025"/>
                <a:gd name="connsiteX88" fmla="*/ 125054 w 382621"/>
                <a:gd name="connsiteY88" fmla="*/ 127574 h 421025"/>
                <a:gd name="connsiteX89" fmla="*/ 126796 w 382621"/>
                <a:gd name="connsiteY89" fmla="*/ 135518 h 421025"/>
                <a:gd name="connsiteX90" fmla="*/ 132080 w 382621"/>
                <a:gd name="connsiteY90" fmla="*/ 159620 h 421025"/>
                <a:gd name="connsiteX91" fmla="*/ 164944 w 382621"/>
                <a:gd name="connsiteY91" fmla="*/ 200727 h 421025"/>
                <a:gd name="connsiteX92" fmla="*/ 139740 w 382621"/>
                <a:gd name="connsiteY92" fmla="*/ 200727 h 421025"/>
                <a:gd name="connsiteX93" fmla="*/ 105062 w 382621"/>
                <a:gd name="connsiteY93" fmla="*/ 150296 h 421025"/>
                <a:gd name="connsiteX94" fmla="*/ 125046 w 382621"/>
                <a:gd name="connsiteY94" fmla="*/ 127567 h 421025"/>
                <a:gd name="connsiteX95" fmla="*/ 217985 w 382621"/>
                <a:gd name="connsiteY95" fmla="*/ 200734 h 421025"/>
                <a:gd name="connsiteX96" fmla="*/ 250856 w 382621"/>
                <a:gd name="connsiteY96" fmla="*/ 159627 h 421025"/>
                <a:gd name="connsiteX97" fmla="*/ 256083 w 382621"/>
                <a:gd name="connsiteY97" fmla="*/ 135781 h 421025"/>
                <a:gd name="connsiteX98" fmla="*/ 257861 w 382621"/>
                <a:gd name="connsiteY98" fmla="*/ 127659 h 421025"/>
                <a:gd name="connsiteX99" fmla="*/ 277860 w 382621"/>
                <a:gd name="connsiteY99" fmla="*/ 150318 h 421025"/>
                <a:gd name="connsiteX100" fmla="*/ 243190 w 382621"/>
                <a:gd name="connsiteY100" fmla="*/ 200741 h 421025"/>
                <a:gd name="connsiteX101" fmla="*/ 217985 w 382621"/>
                <a:gd name="connsiteY101" fmla="*/ 200741 h 421025"/>
                <a:gd name="connsiteX102" fmla="*/ 37577 w 382621"/>
                <a:gd name="connsiteY102" fmla="*/ 362139 h 421025"/>
                <a:gd name="connsiteX103" fmla="*/ 19385 w 382621"/>
                <a:gd name="connsiteY103" fmla="*/ 321594 h 421025"/>
                <a:gd name="connsiteX104" fmla="*/ 32542 w 382621"/>
                <a:gd name="connsiteY104" fmla="*/ 241791 h 421025"/>
                <a:gd name="connsiteX105" fmla="*/ 90838 w 382621"/>
                <a:gd name="connsiteY105" fmla="*/ 162415 h 421025"/>
                <a:gd name="connsiteX106" fmla="*/ 116206 w 382621"/>
                <a:gd name="connsiteY106" fmla="*/ 200727 h 421025"/>
                <a:gd name="connsiteX107" fmla="*/ 73777 w 382621"/>
                <a:gd name="connsiteY107" fmla="*/ 200727 h 421025"/>
                <a:gd name="connsiteX108" fmla="*/ 44632 w 382621"/>
                <a:gd name="connsiteY108" fmla="*/ 229473 h 421025"/>
                <a:gd name="connsiteX109" fmla="*/ 44632 w 382621"/>
                <a:gd name="connsiteY109" fmla="*/ 365311 h 421025"/>
                <a:gd name="connsiteX110" fmla="*/ 38437 w 382621"/>
                <a:gd name="connsiteY110" fmla="*/ 362473 h 421025"/>
                <a:gd name="connsiteX111" fmla="*/ 37577 w 382621"/>
                <a:gd name="connsiteY111" fmla="*/ 362132 h 421025"/>
                <a:gd name="connsiteX112" fmla="*/ 301152 w 382621"/>
                <a:gd name="connsiteY112" fmla="*/ 402421 h 421025"/>
                <a:gd name="connsiteX113" fmla="*/ 81784 w 382621"/>
                <a:gd name="connsiteY113" fmla="*/ 402421 h 421025"/>
                <a:gd name="connsiteX114" fmla="*/ 62895 w 382621"/>
                <a:gd name="connsiteY114" fmla="*/ 384086 h 421025"/>
                <a:gd name="connsiteX115" fmla="*/ 62895 w 382621"/>
                <a:gd name="connsiteY115" fmla="*/ 372686 h 421025"/>
                <a:gd name="connsiteX116" fmla="*/ 320048 w 382621"/>
                <a:gd name="connsiteY116" fmla="*/ 371698 h 421025"/>
                <a:gd name="connsiteX117" fmla="*/ 320048 w 382621"/>
                <a:gd name="connsiteY117" fmla="*/ 384086 h 421025"/>
                <a:gd name="connsiteX118" fmla="*/ 301159 w 382621"/>
                <a:gd name="connsiteY118" fmla="*/ 402421 h 421025"/>
                <a:gd name="connsiteX119" fmla="*/ 345360 w 382621"/>
                <a:gd name="connsiteY119" fmla="*/ 362139 h 421025"/>
                <a:gd name="connsiteX120" fmla="*/ 344499 w 382621"/>
                <a:gd name="connsiteY120" fmla="*/ 362480 h 421025"/>
                <a:gd name="connsiteX121" fmla="*/ 338304 w 382621"/>
                <a:gd name="connsiteY121" fmla="*/ 365318 h 421025"/>
                <a:gd name="connsiteX122" fmla="*/ 338304 w 382621"/>
                <a:gd name="connsiteY122" fmla="*/ 364130 h 421025"/>
                <a:gd name="connsiteX123" fmla="*/ 338304 w 382621"/>
                <a:gd name="connsiteY123" fmla="*/ 362801 h 421025"/>
                <a:gd name="connsiteX124" fmla="*/ 338304 w 382621"/>
                <a:gd name="connsiteY124" fmla="*/ 229480 h 421025"/>
                <a:gd name="connsiteX125" fmla="*/ 309160 w 382621"/>
                <a:gd name="connsiteY125" fmla="*/ 200734 h 421025"/>
                <a:gd name="connsiteX126" fmla="*/ 266730 w 382621"/>
                <a:gd name="connsiteY126" fmla="*/ 200734 h 421025"/>
                <a:gd name="connsiteX127" fmla="*/ 292098 w 382621"/>
                <a:gd name="connsiteY127" fmla="*/ 162422 h 421025"/>
                <a:gd name="connsiteX128" fmla="*/ 350395 w 382621"/>
                <a:gd name="connsiteY128" fmla="*/ 241798 h 421025"/>
                <a:gd name="connsiteX129" fmla="*/ 363552 w 382621"/>
                <a:gd name="connsiteY129" fmla="*/ 321601 h 421025"/>
                <a:gd name="connsiteX130" fmla="*/ 345360 w 382621"/>
                <a:gd name="connsiteY130" fmla="*/ 362146 h 42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382621" h="421025">
                  <a:moveTo>
                    <a:pt x="381566" y="318628"/>
                  </a:moveTo>
                  <a:lnTo>
                    <a:pt x="368409" y="238825"/>
                  </a:lnTo>
                  <a:cubicBezTo>
                    <a:pt x="364405" y="214538"/>
                    <a:pt x="354833" y="192626"/>
                    <a:pt x="340715" y="175458"/>
                  </a:cubicBezTo>
                  <a:cubicBezTo>
                    <a:pt x="329258" y="161519"/>
                    <a:pt x="315454" y="151484"/>
                    <a:pt x="300298" y="145930"/>
                  </a:cubicBezTo>
                  <a:cubicBezTo>
                    <a:pt x="300711" y="144863"/>
                    <a:pt x="301066" y="143853"/>
                    <a:pt x="301365" y="142886"/>
                  </a:cubicBezTo>
                  <a:cubicBezTo>
                    <a:pt x="301429" y="142708"/>
                    <a:pt x="301472" y="142587"/>
                    <a:pt x="301479" y="142573"/>
                  </a:cubicBezTo>
                  <a:cubicBezTo>
                    <a:pt x="301955" y="141179"/>
                    <a:pt x="302261" y="139735"/>
                    <a:pt x="302425" y="138277"/>
                  </a:cubicBezTo>
                  <a:cubicBezTo>
                    <a:pt x="302823" y="135304"/>
                    <a:pt x="302546" y="132559"/>
                    <a:pt x="301557" y="129508"/>
                  </a:cubicBezTo>
                  <a:cubicBezTo>
                    <a:pt x="301536" y="129437"/>
                    <a:pt x="301522" y="129366"/>
                    <a:pt x="301493" y="129295"/>
                  </a:cubicBezTo>
                  <a:cubicBezTo>
                    <a:pt x="300426" y="126130"/>
                    <a:pt x="290576" y="97554"/>
                    <a:pt x="274325" y="68580"/>
                  </a:cubicBezTo>
                  <a:cubicBezTo>
                    <a:pt x="258665" y="40645"/>
                    <a:pt x="242023" y="21243"/>
                    <a:pt x="224585" y="10497"/>
                  </a:cubicBezTo>
                  <a:cubicBezTo>
                    <a:pt x="213831" y="3876"/>
                    <a:pt x="202780" y="533"/>
                    <a:pt x="191465" y="533"/>
                  </a:cubicBezTo>
                  <a:lnTo>
                    <a:pt x="191465" y="533"/>
                  </a:lnTo>
                  <a:cubicBezTo>
                    <a:pt x="161794" y="533"/>
                    <a:pt x="133915" y="23434"/>
                    <a:pt x="108603" y="68580"/>
                  </a:cubicBezTo>
                  <a:cubicBezTo>
                    <a:pt x="92282" y="97675"/>
                    <a:pt x="82489" y="126173"/>
                    <a:pt x="81415" y="129352"/>
                  </a:cubicBezTo>
                  <a:cubicBezTo>
                    <a:pt x="80476" y="132161"/>
                    <a:pt x="80184" y="134750"/>
                    <a:pt x="80419" y="137417"/>
                  </a:cubicBezTo>
                  <a:cubicBezTo>
                    <a:pt x="80433" y="137601"/>
                    <a:pt x="80447" y="137786"/>
                    <a:pt x="80469" y="137964"/>
                  </a:cubicBezTo>
                  <a:cubicBezTo>
                    <a:pt x="80483" y="138114"/>
                    <a:pt x="80504" y="138270"/>
                    <a:pt x="80526" y="138419"/>
                  </a:cubicBezTo>
                  <a:cubicBezTo>
                    <a:pt x="80689" y="139764"/>
                    <a:pt x="80974" y="141093"/>
                    <a:pt x="81400" y="142374"/>
                  </a:cubicBezTo>
                  <a:cubicBezTo>
                    <a:pt x="81735" y="143512"/>
                    <a:pt x="82140" y="144692"/>
                    <a:pt x="82624" y="145937"/>
                  </a:cubicBezTo>
                  <a:cubicBezTo>
                    <a:pt x="67475" y="151491"/>
                    <a:pt x="53678" y="161519"/>
                    <a:pt x="42228" y="175451"/>
                  </a:cubicBezTo>
                  <a:cubicBezTo>
                    <a:pt x="28118" y="192619"/>
                    <a:pt x="18538" y="214531"/>
                    <a:pt x="14534" y="238818"/>
                  </a:cubicBezTo>
                  <a:lnTo>
                    <a:pt x="1377" y="318621"/>
                  </a:lnTo>
                  <a:cubicBezTo>
                    <a:pt x="-3004" y="345227"/>
                    <a:pt x="10082" y="371733"/>
                    <a:pt x="31233" y="379258"/>
                  </a:cubicBezTo>
                  <a:lnTo>
                    <a:pt x="44675" y="385416"/>
                  </a:lnTo>
                  <a:cubicBezTo>
                    <a:pt x="45393" y="404981"/>
                    <a:pt x="61764" y="420677"/>
                    <a:pt x="81792" y="420677"/>
                  </a:cubicBezTo>
                  <a:lnTo>
                    <a:pt x="301159" y="420677"/>
                  </a:lnTo>
                  <a:cubicBezTo>
                    <a:pt x="321186" y="420677"/>
                    <a:pt x="337558" y="404981"/>
                    <a:pt x="338276" y="385416"/>
                  </a:cubicBezTo>
                  <a:lnTo>
                    <a:pt x="351718" y="379258"/>
                  </a:lnTo>
                  <a:cubicBezTo>
                    <a:pt x="372861" y="371740"/>
                    <a:pt x="385954" y="345227"/>
                    <a:pt x="381573" y="318621"/>
                  </a:cubicBezTo>
                  <a:close/>
                  <a:moveTo>
                    <a:pt x="320041" y="353455"/>
                  </a:moveTo>
                  <a:cubicBezTo>
                    <a:pt x="319145" y="353420"/>
                    <a:pt x="318213" y="353391"/>
                    <a:pt x="317232" y="353356"/>
                  </a:cubicBezTo>
                  <a:cubicBezTo>
                    <a:pt x="309914" y="353114"/>
                    <a:pt x="299260" y="352943"/>
                    <a:pt x="285577" y="352858"/>
                  </a:cubicBezTo>
                  <a:cubicBezTo>
                    <a:pt x="262627" y="352709"/>
                    <a:pt x="230751" y="352787"/>
                    <a:pt x="190839" y="353079"/>
                  </a:cubicBezTo>
                  <a:cubicBezTo>
                    <a:pt x="137592" y="353470"/>
                    <a:pt x="83925" y="354145"/>
                    <a:pt x="62895" y="354430"/>
                  </a:cubicBezTo>
                  <a:lnTo>
                    <a:pt x="62895" y="229487"/>
                  </a:lnTo>
                  <a:cubicBezTo>
                    <a:pt x="62895" y="223706"/>
                    <a:pt x="67781" y="218997"/>
                    <a:pt x="73783" y="218997"/>
                  </a:cubicBezTo>
                  <a:lnTo>
                    <a:pt x="309167" y="218997"/>
                  </a:lnTo>
                  <a:cubicBezTo>
                    <a:pt x="315169" y="218997"/>
                    <a:pt x="320055" y="223706"/>
                    <a:pt x="320055" y="229487"/>
                  </a:cubicBezTo>
                  <a:lnTo>
                    <a:pt x="320055" y="353463"/>
                  </a:lnTo>
                  <a:close/>
                  <a:moveTo>
                    <a:pt x="114108" y="97746"/>
                  </a:moveTo>
                  <a:cubicBezTo>
                    <a:pt x="114457" y="97007"/>
                    <a:pt x="114819" y="96260"/>
                    <a:pt x="115175" y="95513"/>
                  </a:cubicBezTo>
                  <a:cubicBezTo>
                    <a:pt x="115225" y="95406"/>
                    <a:pt x="115275" y="95307"/>
                    <a:pt x="115324" y="95200"/>
                  </a:cubicBezTo>
                  <a:cubicBezTo>
                    <a:pt x="115666" y="94496"/>
                    <a:pt x="116007" y="93792"/>
                    <a:pt x="116363" y="93081"/>
                  </a:cubicBezTo>
                  <a:cubicBezTo>
                    <a:pt x="116434" y="92932"/>
                    <a:pt x="116512" y="92782"/>
                    <a:pt x="116583" y="92626"/>
                  </a:cubicBezTo>
                  <a:cubicBezTo>
                    <a:pt x="116925" y="91936"/>
                    <a:pt x="117266" y="91246"/>
                    <a:pt x="117615" y="90549"/>
                  </a:cubicBezTo>
                  <a:cubicBezTo>
                    <a:pt x="117700" y="90378"/>
                    <a:pt x="117785" y="90208"/>
                    <a:pt x="117870" y="90037"/>
                  </a:cubicBezTo>
                  <a:cubicBezTo>
                    <a:pt x="118219" y="89347"/>
                    <a:pt x="118567" y="88657"/>
                    <a:pt x="118923" y="87967"/>
                  </a:cubicBezTo>
                  <a:cubicBezTo>
                    <a:pt x="119008" y="87797"/>
                    <a:pt x="119101" y="87626"/>
                    <a:pt x="119186" y="87455"/>
                  </a:cubicBezTo>
                  <a:cubicBezTo>
                    <a:pt x="119549" y="86751"/>
                    <a:pt x="119912" y="86047"/>
                    <a:pt x="120282" y="85343"/>
                  </a:cubicBezTo>
                  <a:cubicBezTo>
                    <a:pt x="120352" y="85201"/>
                    <a:pt x="120431" y="85059"/>
                    <a:pt x="120509" y="84916"/>
                  </a:cubicBezTo>
                  <a:cubicBezTo>
                    <a:pt x="120900" y="84170"/>
                    <a:pt x="121291" y="83430"/>
                    <a:pt x="121697" y="82683"/>
                  </a:cubicBezTo>
                  <a:cubicBezTo>
                    <a:pt x="121718" y="82648"/>
                    <a:pt x="121732" y="82612"/>
                    <a:pt x="121754" y="82584"/>
                  </a:cubicBezTo>
                  <a:cubicBezTo>
                    <a:pt x="122657" y="80898"/>
                    <a:pt x="123588" y="79198"/>
                    <a:pt x="124541" y="77499"/>
                  </a:cubicBezTo>
                  <a:cubicBezTo>
                    <a:pt x="146076" y="39087"/>
                    <a:pt x="169218" y="18783"/>
                    <a:pt x="191479" y="18783"/>
                  </a:cubicBezTo>
                  <a:cubicBezTo>
                    <a:pt x="197887" y="18783"/>
                    <a:pt x="204373" y="20475"/>
                    <a:pt x="210866" y="23789"/>
                  </a:cubicBezTo>
                  <a:cubicBezTo>
                    <a:pt x="226925" y="31989"/>
                    <a:pt x="243076" y="50146"/>
                    <a:pt x="258409" y="77499"/>
                  </a:cubicBezTo>
                  <a:cubicBezTo>
                    <a:pt x="259988" y="80315"/>
                    <a:pt x="261503" y="83124"/>
                    <a:pt x="262954" y="85905"/>
                  </a:cubicBezTo>
                  <a:cubicBezTo>
                    <a:pt x="262989" y="85969"/>
                    <a:pt x="263025" y="86040"/>
                    <a:pt x="263060" y="86104"/>
                  </a:cubicBezTo>
                  <a:cubicBezTo>
                    <a:pt x="263501" y="86950"/>
                    <a:pt x="263935" y="87797"/>
                    <a:pt x="264362" y="88636"/>
                  </a:cubicBezTo>
                  <a:cubicBezTo>
                    <a:pt x="264412" y="88735"/>
                    <a:pt x="264462" y="88835"/>
                    <a:pt x="264511" y="88928"/>
                  </a:cubicBezTo>
                  <a:cubicBezTo>
                    <a:pt x="264931" y="89745"/>
                    <a:pt x="265343" y="90563"/>
                    <a:pt x="265748" y="91381"/>
                  </a:cubicBezTo>
                  <a:cubicBezTo>
                    <a:pt x="265791" y="91474"/>
                    <a:pt x="265841" y="91566"/>
                    <a:pt x="265884" y="91651"/>
                  </a:cubicBezTo>
                  <a:cubicBezTo>
                    <a:pt x="266296" y="92483"/>
                    <a:pt x="266709" y="93308"/>
                    <a:pt x="267107" y="94133"/>
                  </a:cubicBezTo>
                  <a:cubicBezTo>
                    <a:pt x="267135" y="94197"/>
                    <a:pt x="267171" y="94261"/>
                    <a:pt x="267199" y="94325"/>
                  </a:cubicBezTo>
                  <a:cubicBezTo>
                    <a:pt x="271588" y="103343"/>
                    <a:pt x="275208" y="111728"/>
                    <a:pt x="277967" y="118549"/>
                  </a:cubicBezTo>
                  <a:cubicBezTo>
                    <a:pt x="255244" y="100826"/>
                    <a:pt x="217416" y="99631"/>
                    <a:pt x="191763" y="98813"/>
                  </a:cubicBezTo>
                  <a:cubicBezTo>
                    <a:pt x="191571" y="98813"/>
                    <a:pt x="191379" y="98813"/>
                    <a:pt x="191187" y="98813"/>
                  </a:cubicBezTo>
                  <a:cubicBezTo>
                    <a:pt x="165535" y="99624"/>
                    <a:pt x="127706" y="100826"/>
                    <a:pt x="104984" y="118549"/>
                  </a:cubicBezTo>
                  <a:cubicBezTo>
                    <a:pt x="107387" y="112610"/>
                    <a:pt x="110438" y="105491"/>
                    <a:pt x="114094" y="97775"/>
                  </a:cubicBezTo>
                  <a:lnTo>
                    <a:pt x="114115" y="97725"/>
                  </a:lnTo>
                  <a:close/>
                  <a:moveTo>
                    <a:pt x="177895" y="130219"/>
                  </a:moveTo>
                  <a:lnTo>
                    <a:pt x="177895" y="117660"/>
                  </a:lnTo>
                  <a:cubicBezTo>
                    <a:pt x="182411" y="117418"/>
                    <a:pt x="186948" y="117233"/>
                    <a:pt x="191465" y="117091"/>
                  </a:cubicBezTo>
                  <a:cubicBezTo>
                    <a:pt x="196151" y="117240"/>
                    <a:pt x="200682" y="117439"/>
                    <a:pt x="205041" y="117688"/>
                  </a:cubicBezTo>
                  <a:lnTo>
                    <a:pt x="205041" y="130219"/>
                  </a:lnTo>
                  <a:lnTo>
                    <a:pt x="221327" y="130219"/>
                  </a:lnTo>
                  <a:lnTo>
                    <a:pt x="221327" y="118997"/>
                  </a:lnTo>
                  <a:cubicBezTo>
                    <a:pt x="228247" y="119743"/>
                    <a:pt x="234627" y="120718"/>
                    <a:pt x="240416" y="121991"/>
                  </a:cubicBezTo>
                  <a:cubicBezTo>
                    <a:pt x="239826" y="124693"/>
                    <a:pt x="239107" y="127958"/>
                    <a:pt x="238254" y="131855"/>
                  </a:cubicBezTo>
                  <a:cubicBezTo>
                    <a:pt x="236931" y="137872"/>
                    <a:pt x="235224" y="145645"/>
                    <a:pt x="233019" y="155730"/>
                  </a:cubicBezTo>
                  <a:cubicBezTo>
                    <a:pt x="228866" y="174747"/>
                    <a:pt x="211392" y="188551"/>
                    <a:pt x="191472" y="188551"/>
                  </a:cubicBezTo>
                  <a:cubicBezTo>
                    <a:pt x="171551" y="188551"/>
                    <a:pt x="154077" y="174747"/>
                    <a:pt x="149924" y="155730"/>
                  </a:cubicBezTo>
                  <a:cubicBezTo>
                    <a:pt x="147691" y="145496"/>
                    <a:pt x="145963" y="137651"/>
                    <a:pt x="144633" y="131599"/>
                  </a:cubicBezTo>
                  <a:cubicBezTo>
                    <a:pt x="143793" y="127766"/>
                    <a:pt x="143082" y="124551"/>
                    <a:pt x="142506" y="121891"/>
                  </a:cubicBezTo>
                  <a:cubicBezTo>
                    <a:pt x="148494" y="120568"/>
                    <a:pt x="154938" y="119615"/>
                    <a:pt x="161616" y="118918"/>
                  </a:cubicBezTo>
                  <a:lnTo>
                    <a:pt x="161616" y="130219"/>
                  </a:lnTo>
                  <a:lnTo>
                    <a:pt x="177902" y="130219"/>
                  </a:lnTo>
                  <a:close/>
                  <a:moveTo>
                    <a:pt x="125054" y="127574"/>
                  </a:moveTo>
                  <a:cubicBezTo>
                    <a:pt x="125551" y="129842"/>
                    <a:pt x="126127" y="132460"/>
                    <a:pt x="126796" y="135518"/>
                  </a:cubicBezTo>
                  <a:cubicBezTo>
                    <a:pt x="128126" y="141563"/>
                    <a:pt x="129847" y="149400"/>
                    <a:pt x="132080" y="159620"/>
                  </a:cubicBezTo>
                  <a:cubicBezTo>
                    <a:pt x="136070" y="177919"/>
                    <a:pt x="148587" y="192847"/>
                    <a:pt x="164944" y="200727"/>
                  </a:cubicBezTo>
                  <a:lnTo>
                    <a:pt x="139740" y="200727"/>
                  </a:lnTo>
                  <a:cubicBezTo>
                    <a:pt x="122038" y="179939"/>
                    <a:pt x="111128" y="161889"/>
                    <a:pt x="105062" y="150296"/>
                  </a:cubicBezTo>
                  <a:cubicBezTo>
                    <a:pt x="107522" y="140140"/>
                    <a:pt x="113994" y="132772"/>
                    <a:pt x="125046" y="127567"/>
                  </a:cubicBezTo>
                  <a:close/>
                  <a:moveTo>
                    <a:pt x="217985" y="200734"/>
                  </a:moveTo>
                  <a:cubicBezTo>
                    <a:pt x="234349" y="192854"/>
                    <a:pt x="246859" y="177926"/>
                    <a:pt x="250856" y="159627"/>
                  </a:cubicBezTo>
                  <a:cubicBezTo>
                    <a:pt x="253054" y="149550"/>
                    <a:pt x="254761" y="141790"/>
                    <a:pt x="256083" y="135781"/>
                  </a:cubicBezTo>
                  <a:cubicBezTo>
                    <a:pt x="256773" y="132652"/>
                    <a:pt x="257357" y="129978"/>
                    <a:pt x="257861" y="127659"/>
                  </a:cubicBezTo>
                  <a:cubicBezTo>
                    <a:pt x="268437" y="132630"/>
                    <a:pt x="275293" y="139856"/>
                    <a:pt x="277860" y="150318"/>
                  </a:cubicBezTo>
                  <a:cubicBezTo>
                    <a:pt x="271794" y="161910"/>
                    <a:pt x="260884" y="179960"/>
                    <a:pt x="243190" y="200741"/>
                  </a:cubicBezTo>
                  <a:lnTo>
                    <a:pt x="217985" y="200741"/>
                  </a:lnTo>
                  <a:close/>
                  <a:moveTo>
                    <a:pt x="37577" y="362139"/>
                  </a:moveTo>
                  <a:cubicBezTo>
                    <a:pt x="24590" y="357715"/>
                    <a:pt x="16433" y="339530"/>
                    <a:pt x="19385" y="321594"/>
                  </a:cubicBezTo>
                  <a:lnTo>
                    <a:pt x="32542" y="241791"/>
                  </a:lnTo>
                  <a:cubicBezTo>
                    <a:pt x="38949" y="202903"/>
                    <a:pt x="61921" y="172080"/>
                    <a:pt x="90838" y="162415"/>
                  </a:cubicBezTo>
                  <a:cubicBezTo>
                    <a:pt x="96314" y="172443"/>
                    <a:pt x="104514" y="185678"/>
                    <a:pt x="116206" y="200727"/>
                  </a:cubicBezTo>
                  <a:lnTo>
                    <a:pt x="73777" y="200727"/>
                  </a:lnTo>
                  <a:cubicBezTo>
                    <a:pt x="57704" y="200727"/>
                    <a:pt x="44632" y="213621"/>
                    <a:pt x="44632" y="229473"/>
                  </a:cubicBezTo>
                  <a:lnTo>
                    <a:pt x="44632" y="365311"/>
                  </a:lnTo>
                  <a:lnTo>
                    <a:pt x="38437" y="362473"/>
                  </a:lnTo>
                  <a:cubicBezTo>
                    <a:pt x="38153" y="362345"/>
                    <a:pt x="37868" y="362232"/>
                    <a:pt x="37577" y="362132"/>
                  </a:cubicBezTo>
                  <a:close/>
                  <a:moveTo>
                    <a:pt x="301152" y="402421"/>
                  </a:moveTo>
                  <a:lnTo>
                    <a:pt x="81784" y="402421"/>
                  </a:lnTo>
                  <a:cubicBezTo>
                    <a:pt x="71366" y="402421"/>
                    <a:pt x="62895" y="394193"/>
                    <a:pt x="62895" y="384086"/>
                  </a:cubicBezTo>
                  <a:lnTo>
                    <a:pt x="62895" y="372686"/>
                  </a:lnTo>
                  <a:cubicBezTo>
                    <a:pt x="156388" y="371399"/>
                    <a:pt x="287881" y="370268"/>
                    <a:pt x="320048" y="371698"/>
                  </a:cubicBezTo>
                  <a:lnTo>
                    <a:pt x="320048" y="384086"/>
                  </a:lnTo>
                  <a:cubicBezTo>
                    <a:pt x="320048" y="394200"/>
                    <a:pt x="311571" y="402421"/>
                    <a:pt x="301159" y="402421"/>
                  </a:cubicBezTo>
                  <a:close/>
                  <a:moveTo>
                    <a:pt x="345360" y="362139"/>
                  </a:moveTo>
                  <a:cubicBezTo>
                    <a:pt x="345068" y="362239"/>
                    <a:pt x="344776" y="362352"/>
                    <a:pt x="344499" y="362480"/>
                  </a:cubicBezTo>
                  <a:lnTo>
                    <a:pt x="338304" y="365318"/>
                  </a:lnTo>
                  <a:lnTo>
                    <a:pt x="338304" y="364130"/>
                  </a:lnTo>
                  <a:cubicBezTo>
                    <a:pt x="338333" y="363690"/>
                    <a:pt x="338340" y="363249"/>
                    <a:pt x="338304" y="362801"/>
                  </a:cubicBezTo>
                  <a:lnTo>
                    <a:pt x="338304" y="229480"/>
                  </a:lnTo>
                  <a:cubicBezTo>
                    <a:pt x="338304" y="213628"/>
                    <a:pt x="325233" y="200734"/>
                    <a:pt x="309160" y="200734"/>
                  </a:cubicBezTo>
                  <a:lnTo>
                    <a:pt x="266730" y="200734"/>
                  </a:lnTo>
                  <a:cubicBezTo>
                    <a:pt x="278422" y="185678"/>
                    <a:pt x="286622" y="172450"/>
                    <a:pt x="292098" y="162422"/>
                  </a:cubicBezTo>
                  <a:cubicBezTo>
                    <a:pt x="321016" y="172087"/>
                    <a:pt x="343987" y="202903"/>
                    <a:pt x="350395" y="241798"/>
                  </a:cubicBezTo>
                  <a:lnTo>
                    <a:pt x="363552" y="321601"/>
                  </a:lnTo>
                  <a:cubicBezTo>
                    <a:pt x="366510" y="339537"/>
                    <a:pt x="358346" y="357723"/>
                    <a:pt x="345360" y="36214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F4390DB6-4173-4AFC-B0F1-09D610C550D4}"/>
                </a:ext>
              </a:extLst>
            </p:cNvPr>
            <p:cNvSpPr/>
            <p:nvPr/>
          </p:nvSpPr>
          <p:spPr>
            <a:xfrm>
              <a:off x="4349173" y="1457934"/>
              <a:ext cx="39827" cy="80365"/>
            </a:xfrm>
            <a:custGeom>
              <a:avLst/>
              <a:gdLst>
                <a:gd name="connsiteX0" fmla="*/ 16350 w 39826"/>
                <a:gd name="connsiteY0" fmla="*/ 541 h 80364"/>
                <a:gd name="connsiteX1" fmla="*/ 3713 w 39826"/>
                <a:gd name="connsiteY1" fmla="*/ 13719 h 80364"/>
                <a:gd name="connsiteX2" fmla="*/ 21706 w 39826"/>
                <a:gd name="connsiteY2" fmla="*/ 30972 h 80364"/>
                <a:gd name="connsiteX3" fmla="*/ 21706 w 39826"/>
                <a:gd name="connsiteY3" fmla="*/ 31179 h 80364"/>
                <a:gd name="connsiteX4" fmla="*/ 533 w 39826"/>
                <a:gd name="connsiteY4" fmla="*/ 31179 h 80364"/>
                <a:gd name="connsiteX5" fmla="*/ 533 w 39826"/>
                <a:gd name="connsiteY5" fmla="*/ 49435 h 80364"/>
                <a:gd name="connsiteX6" fmla="*/ 21706 w 39826"/>
                <a:gd name="connsiteY6" fmla="*/ 49435 h 80364"/>
                <a:gd name="connsiteX7" fmla="*/ 21706 w 39826"/>
                <a:gd name="connsiteY7" fmla="*/ 51810 h 80364"/>
                <a:gd name="connsiteX8" fmla="*/ 5974 w 39826"/>
                <a:gd name="connsiteY8" fmla="*/ 66895 h 80364"/>
                <a:gd name="connsiteX9" fmla="*/ 18612 w 39826"/>
                <a:gd name="connsiteY9" fmla="*/ 80073 h 80364"/>
                <a:gd name="connsiteX10" fmla="*/ 37153 w 39826"/>
                <a:gd name="connsiteY10" fmla="*/ 62293 h 80364"/>
                <a:gd name="connsiteX11" fmla="*/ 39962 w 39826"/>
                <a:gd name="connsiteY11" fmla="*/ 55701 h 80364"/>
                <a:gd name="connsiteX12" fmla="*/ 39962 w 39826"/>
                <a:gd name="connsiteY12" fmla="*/ 27075 h 80364"/>
                <a:gd name="connsiteX13" fmla="*/ 37153 w 39826"/>
                <a:gd name="connsiteY13" fmla="*/ 20482 h 80364"/>
                <a:gd name="connsiteX14" fmla="*/ 16350 w 39826"/>
                <a:gd name="connsiteY14" fmla="*/ 533 h 8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826" h="80364">
                  <a:moveTo>
                    <a:pt x="16350" y="541"/>
                  </a:moveTo>
                  <a:lnTo>
                    <a:pt x="3713" y="13719"/>
                  </a:lnTo>
                  <a:lnTo>
                    <a:pt x="21706" y="30972"/>
                  </a:lnTo>
                  <a:lnTo>
                    <a:pt x="21706" y="31179"/>
                  </a:lnTo>
                  <a:lnTo>
                    <a:pt x="533" y="31179"/>
                  </a:lnTo>
                  <a:lnTo>
                    <a:pt x="533" y="49435"/>
                  </a:lnTo>
                  <a:lnTo>
                    <a:pt x="21706" y="49435"/>
                  </a:lnTo>
                  <a:lnTo>
                    <a:pt x="21706" y="51810"/>
                  </a:lnTo>
                  <a:lnTo>
                    <a:pt x="5974" y="66895"/>
                  </a:lnTo>
                  <a:lnTo>
                    <a:pt x="18612" y="80073"/>
                  </a:lnTo>
                  <a:lnTo>
                    <a:pt x="37153" y="62293"/>
                  </a:lnTo>
                  <a:cubicBezTo>
                    <a:pt x="38952" y="60572"/>
                    <a:pt x="39962" y="58190"/>
                    <a:pt x="39962" y="55701"/>
                  </a:cubicBezTo>
                  <a:lnTo>
                    <a:pt x="39962" y="27075"/>
                  </a:lnTo>
                  <a:cubicBezTo>
                    <a:pt x="39962" y="24586"/>
                    <a:pt x="38945" y="22211"/>
                    <a:pt x="37153" y="20482"/>
                  </a:cubicBezTo>
                  <a:lnTo>
                    <a:pt x="16350" y="53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08DF6CE-D09D-499D-8C29-BFCA996087DE}"/>
                </a:ext>
              </a:extLst>
            </p:cNvPr>
            <p:cNvSpPr/>
            <p:nvPr/>
          </p:nvSpPr>
          <p:spPr>
            <a:xfrm>
              <a:off x="4396581" y="1457941"/>
              <a:ext cx="39827" cy="80365"/>
            </a:xfrm>
            <a:custGeom>
              <a:avLst/>
              <a:gdLst>
                <a:gd name="connsiteX0" fmla="*/ 18797 w 39826"/>
                <a:gd name="connsiteY0" fmla="*/ 30965 h 80364"/>
                <a:gd name="connsiteX1" fmla="*/ 36790 w 39826"/>
                <a:gd name="connsiteY1" fmla="*/ 13712 h 80364"/>
                <a:gd name="connsiteX2" fmla="*/ 24152 w 39826"/>
                <a:gd name="connsiteY2" fmla="*/ 533 h 80364"/>
                <a:gd name="connsiteX3" fmla="*/ 3343 w 39826"/>
                <a:gd name="connsiteY3" fmla="*/ 20482 h 80364"/>
                <a:gd name="connsiteX4" fmla="*/ 533 w 39826"/>
                <a:gd name="connsiteY4" fmla="*/ 27075 h 80364"/>
                <a:gd name="connsiteX5" fmla="*/ 533 w 39826"/>
                <a:gd name="connsiteY5" fmla="*/ 55701 h 80364"/>
                <a:gd name="connsiteX6" fmla="*/ 3343 w 39826"/>
                <a:gd name="connsiteY6" fmla="*/ 62293 h 80364"/>
                <a:gd name="connsiteX7" fmla="*/ 21890 w 39826"/>
                <a:gd name="connsiteY7" fmla="*/ 80073 h 80364"/>
                <a:gd name="connsiteX8" fmla="*/ 34528 w 39826"/>
                <a:gd name="connsiteY8" fmla="*/ 66895 h 80364"/>
                <a:gd name="connsiteX9" fmla="*/ 18797 w 39826"/>
                <a:gd name="connsiteY9" fmla="*/ 51810 h 80364"/>
                <a:gd name="connsiteX10" fmla="*/ 18797 w 39826"/>
                <a:gd name="connsiteY10" fmla="*/ 49435 h 80364"/>
                <a:gd name="connsiteX11" fmla="*/ 39969 w 39826"/>
                <a:gd name="connsiteY11" fmla="*/ 49435 h 80364"/>
                <a:gd name="connsiteX12" fmla="*/ 39969 w 39826"/>
                <a:gd name="connsiteY12" fmla="*/ 31179 h 80364"/>
                <a:gd name="connsiteX13" fmla="*/ 18797 w 39826"/>
                <a:gd name="connsiteY13" fmla="*/ 31179 h 80364"/>
                <a:gd name="connsiteX14" fmla="*/ 18797 w 39826"/>
                <a:gd name="connsiteY14" fmla="*/ 30972 h 80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826" h="80364">
                  <a:moveTo>
                    <a:pt x="18797" y="30965"/>
                  </a:moveTo>
                  <a:lnTo>
                    <a:pt x="36790" y="13712"/>
                  </a:lnTo>
                  <a:lnTo>
                    <a:pt x="24152" y="533"/>
                  </a:lnTo>
                  <a:lnTo>
                    <a:pt x="3343" y="20482"/>
                  </a:lnTo>
                  <a:cubicBezTo>
                    <a:pt x="1543" y="22203"/>
                    <a:pt x="533" y="24586"/>
                    <a:pt x="533" y="27075"/>
                  </a:cubicBezTo>
                  <a:lnTo>
                    <a:pt x="533" y="55701"/>
                  </a:lnTo>
                  <a:cubicBezTo>
                    <a:pt x="533" y="58190"/>
                    <a:pt x="1551" y="60565"/>
                    <a:pt x="3343" y="62293"/>
                  </a:cubicBezTo>
                  <a:lnTo>
                    <a:pt x="21890" y="80073"/>
                  </a:lnTo>
                  <a:lnTo>
                    <a:pt x="34528" y="66895"/>
                  </a:lnTo>
                  <a:lnTo>
                    <a:pt x="18797" y="51810"/>
                  </a:lnTo>
                  <a:lnTo>
                    <a:pt x="18797" y="49435"/>
                  </a:lnTo>
                  <a:lnTo>
                    <a:pt x="39969" y="49435"/>
                  </a:lnTo>
                  <a:lnTo>
                    <a:pt x="39969" y="31179"/>
                  </a:lnTo>
                  <a:lnTo>
                    <a:pt x="18797" y="31179"/>
                  </a:lnTo>
                  <a:lnTo>
                    <a:pt x="18797" y="3097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EAF0151-6E67-4945-ADEA-6FA6D398CB4F}"/>
              </a:ext>
            </a:extLst>
          </p:cNvPr>
          <p:cNvGrpSpPr/>
          <p:nvPr/>
        </p:nvGrpSpPr>
        <p:grpSpPr>
          <a:xfrm>
            <a:off x="8047854" y="5419025"/>
            <a:ext cx="484296" cy="484593"/>
            <a:chOff x="2390854" y="5839439"/>
            <a:chExt cx="404296" cy="404544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1E1D3B15-F917-41C1-9139-838864DFC051}"/>
                </a:ext>
              </a:extLst>
            </p:cNvPr>
            <p:cNvSpPr/>
            <p:nvPr/>
          </p:nvSpPr>
          <p:spPr>
            <a:xfrm>
              <a:off x="2703024" y="5912268"/>
              <a:ext cx="18674" cy="192966"/>
            </a:xfrm>
            <a:custGeom>
              <a:avLst/>
              <a:gdLst>
                <a:gd name="connsiteX0" fmla="*/ 9337 w 18674"/>
                <a:gd name="connsiteY0" fmla="*/ 186741 h 192966"/>
                <a:gd name="connsiteX1" fmla="*/ 9337 w 18674"/>
                <a:gd name="connsiteY1" fmla="*/ 9337 h 192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74" h="192966">
                  <a:moveTo>
                    <a:pt x="9337" y="186741"/>
                  </a:moveTo>
                  <a:lnTo>
                    <a:pt x="9337" y="9337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C2326C6-2596-4A80-A507-4BA39D9724EE}"/>
                </a:ext>
              </a:extLst>
            </p:cNvPr>
            <p:cNvSpPr/>
            <p:nvPr/>
          </p:nvSpPr>
          <p:spPr>
            <a:xfrm>
              <a:off x="2557801" y="5912268"/>
              <a:ext cx="205416" cy="329910"/>
            </a:xfrm>
            <a:custGeom>
              <a:avLst/>
              <a:gdLst>
                <a:gd name="connsiteX0" fmla="*/ 202241 w 205415"/>
                <a:gd name="connsiteY0" fmla="*/ 9337 h 329909"/>
                <a:gd name="connsiteX1" fmla="*/ 202241 w 205415"/>
                <a:gd name="connsiteY1" fmla="*/ 322378 h 329909"/>
                <a:gd name="connsiteX2" fmla="*/ 9337 w 205415"/>
                <a:gd name="connsiteY2" fmla="*/ 322378 h 329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5415" h="329909">
                  <a:moveTo>
                    <a:pt x="202241" y="9337"/>
                  </a:moveTo>
                  <a:lnTo>
                    <a:pt x="202241" y="322378"/>
                  </a:lnTo>
                  <a:lnTo>
                    <a:pt x="9337" y="322378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FB652D57-5B51-40BC-91D8-ABEDF40D333F}"/>
                </a:ext>
              </a:extLst>
            </p:cNvPr>
            <p:cNvSpPr/>
            <p:nvPr/>
          </p:nvSpPr>
          <p:spPr>
            <a:xfrm>
              <a:off x="2676880" y="5839439"/>
              <a:ext cx="118270" cy="87146"/>
            </a:xfrm>
            <a:custGeom>
              <a:avLst/>
              <a:gdLst>
                <a:gd name="connsiteX0" fmla="*/ 35543 w 118269"/>
                <a:gd name="connsiteY0" fmla="*/ 82166 h 87146"/>
                <a:gd name="connsiteX1" fmla="*/ 9337 w 118269"/>
                <a:gd name="connsiteY1" fmla="*/ 82166 h 87146"/>
                <a:gd name="connsiteX2" fmla="*/ 59322 w 118269"/>
                <a:gd name="connsiteY2" fmla="*/ 9337 h 87146"/>
                <a:gd name="connsiteX3" fmla="*/ 109368 w 118269"/>
                <a:gd name="connsiteY3" fmla="*/ 82166 h 87146"/>
                <a:gd name="connsiteX4" fmla="*/ 83162 w 118269"/>
                <a:gd name="connsiteY4" fmla="*/ 82166 h 8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269" h="87146">
                  <a:moveTo>
                    <a:pt x="35543" y="82166"/>
                  </a:moveTo>
                  <a:lnTo>
                    <a:pt x="9337" y="82166"/>
                  </a:lnTo>
                  <a:lnTo>
                    <a:pt x="59322" y="9337"/>
                  </a:lnTo>
                  <a:lnTo>
                    <a:pt x="109368" y="82166"/>
                  </a:lnTo>
                  <a:lnTo>
                    <a:pt x="83162" y="82166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5FE18D15-ADFE-4B3C-B76C-590AF334EAE0}"/>
                </a:ext>
              </a:extLst>
            </p:cNvPr>
            <p:cNvSpPr/>
            <p:nvPr/>
          </p:nvSpPr>
          <p:spPr>
            <a:xfrm>
              <a:off x="2390854" y="6225309"/>
              <a:ext cx="186742" cy="18674"/>
            </a:xfrm>
            <a:custGeom>
              <a:avLst/>
              <a:gdLst>
                <a:gd name="connsiteX0" fmla="*/ 9337 w 186741"/>
                <a:gd name="connsiteY0" fmla="*/ 9337 h 18674"/>
                <a:gd name="connsiteX1" fmla="*/ 179210 w 186741"/>
                <a:gd name="connsiteY1" fmla="*/ 9337 h 1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741" h="18674">
                  <a:moveTo>
                    <a:pt x="9337" y="9337"/>
                  </a:moveTo>
                  <a:lnTo>
                    <a:pt x="179210" y="9337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A58B36B6-62A6-432C-9C9D-68B111456778}"/>
                </a:ext>
              </a:extLst>
            </p:cNvPr>
            <p:cNvSpPr/>
            <p:nvPr/>
          </p:nvSpPr>
          <p:spPr>
            <a:xfrm>
              <a:off x="2560727" y="6180055"/>
              <a:ext cx="62247" cy="62247"/>
            </a:xfrm>
            <a:custGeom>
              <a:avLst/>
              <a:gdLst>
                <a:gd name="connsiteX0" fmla="*/ 9337 w 62247"/>
                <a:gd name="connsiteY0" fmla="*/ 54591 h 62247"/>
                <a:gd name="connsiteX1" fmla="*/ 9337 w 62247"/>
                <a:gd name="connsiteY1" fmla="*/ 9337 h 62247"/>
                <a:gd name="connsiteX2" fmla="*/ 56769 w 62247"/>
                <a:gd name="connsiteY2" fmla="*/ 9337 h 6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247" h="62247">
                  <a:moveTo>
                    <a:pt x="9337" y="54591"/>
                  </a:moveTo>
                  <a:lnTo>
                    <a:pt x="9337" y="9337"/>
                  </a:lnTo>
                  <a:lnTo>
                    <a:pt x="56769" y="9337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6890647F-0243-43C2-9236-89029150CC5D}"/>
                </a:ext>
              </a:extLst>
            </p:cNvPr>
            <p:cNvSpPr/>
            <p:nvPr/>
          </p:nvSpPr>
          <p:spPr>
            <a:xfrm>
              <a:off x="2608159" y="6134864"/>
              <a:ext cx="62247" cy="62247"/>
            </a:xfrm>
            <a:custGeom>
              <a:avLst/>
              <a:gdLst>
                <a:gd name="connsiteX0" fmla="*/ 9337 w 62247"/>
                <a:gd name="connsiteY0" fmla="*/ 54529 h 62247"/>
                <a:gd name="connsiteX1" fmla="*/ 9337 w 62247"/>
                <a:gd name="connsiteY1" fmla="*/ 9337 h 62247"/>
                <a:gd name="connsiteX2" fmla="*/ 56832 w 62247"/>
                <a:gd name="connsiteY2" fmla="*/ 9337 h 6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247" h="62247">
                  <a:moveTo>
                    <a:pt x="9337" y="54529"/>
                  </a:moveTo>
                  <a:lnTo>
                    <a:pt x="9337" y="9337"/>
                  </a:lnTo>
                  <a:lnTo>
                    <a:pt x="56832" y="9337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E6E559CB-0772-4557-918B-2353CC01A628}"/>
                </a:ext>
              </a:extLst>
            </p:cNvPr>
            <p:cNvSpPr/>
            <p:nvPr/>
          </p:nvSpPr>
          <p:spPr>
            <a:xfrm>
              <a:off x="2655654" y="6089672"/>
              <a:ext cx="62247" cy="62247"/>
            </a:xfrm>
            <a:custGeom>
              <a:avLst/>
              <a:gdLst>
                <a:gd name="connsiteX0" fmla="*/ 9337 w 62247"/>
                <a:gd name="connsiteY0" fmla="*/ 54529 h 62247"/>
                <a:gd name="connsiteX1" fmla="*/ 9337 w 62247"/>
                <a:gd name="connsiteY1" fmla="*/ 9337 h 62247"/>
                <a:gd name="connsiteX2" fmla="*/ 56832 w 62247"/>
                <a:gd name="connsiteY2" fmla="*/ 9337 h 6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2247" h="62247">
                  <a:moveTo>
                    <a:pt x="9337" y="54529"/>
                  </a:moveTo>
                  <a:lnTo>
                    <a:pt x="9337" y="9337"/>
                  </a:lnTo>
                  <a:lnTo>
                    <a:pt x="56832" y="9337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561812A2-FA10-40F5-BF6F-89941796BF77}"/>
                </a:ext>
              </a:extLst>
            </p:cNvPr>
            <p:cNvSpPr/>
            <p:nvPr/>
          </p:nvSpPr>
          <p:spPr>
            <a:xfrm>
              <a:off x="2505513" y="6138661"/>
              <a:ext cx="43573" cy="87146"/>
            </a:xfrm>
            <a:custGeom>
              <a:avLst/>
              <a:gdLst>
                <a:gd name="connsiteX0" fmla="*/ 9337 w 43573"/>
                <a:gd name="connsiteY0" fmla="*/ 25584 h 87146"/>
                <a:gd name="connsiteX1" fmla="*/ 12449 w 43573"/>
                <a:gd name="connsiteY1" fmla="*/ 71833 h 87146"/>
                <a:gd name="connsiteX2" fmla="*/ 25895 w 43573"/>
                <a:gd name="connsiteY2" fmla="*/ 83536 h 87146"/>
                <a:gd name="connsiteX3" fmla="*/ 25895 w 43573"/>
                <a:gd name="connsiteY3" fmla="*/ 83536 h 87146"/>
                <a:gd name="connsiteX4" fmla="*/ 37597 w 43573"/>
                <a:gd name="connsiteY4" fmla="*/ 70090 h 87146"/>
                <a:gd name="connsiteX5" fmla="*/ 33489 w 43573"/>
                <a:gd name="connsiteY5" fmla="*/ 9337 h 8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573" h="87146">
                  <a:moveTo>
                    <a:pt x="9337" y="25584"/>
                  </a:moveTo>
                  <a:lnTo>
                    <a:pt x="12449" y="71833"/>
                  </a:lnTo>
                  <a:cubicBezTo>
                    <a:pt x="12885" y="78743"/>
                    <a:pt x="18923" y="84034"/>
                    <a:pt x="25895" y="83536"/>
                  </a:cubicBezTo>
                  <a:lnTo>
                    <a:pt x="25895" y="83536"/>
                  </a:lnTo>
                  <a:cubicBezTo>
                    <a:pt x="32804" y="83100"/>
                    <a:pt x="38095" y="77062"/>
                    <a:pt x="37597" y="70090"/>
                  </a:cubicBezTo>
                  <a:lnTo>
                    <a:pt x="33489" y="9337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150D17AF-C57B-4DEF-BA56-7E5E4FB5C7E4}"/>
                </a:ext>
              </a:extLst>
            </p:cNvPr>
            <p:cNvSpPr/>
            <p:nvPr/>
          </p:nvSpPr>
          <p:spPr>
            <a:xfrm>
              <a:off x="2514726" y="6057347"/>
              <a:ext cx="74697" cy="68472"/>
            </a:xfrm>
            <a:custGeom>
              <a:avLst/>
              <a:gdLst>
                <a:gd name="connsiteX0" fmla="*/ 9337 w 74696"/>
                <a:gd name="connsiteY0" fmla="*/ 60150 h 68471"/>
                <a:gd name="connsiteX1" fmla="*/ 60815 w 74696"/>
                <a:gd name="connsiteY1" fmla="*/ 33073 h 68471"/>
                <a:gd name="connsiteX2" fmla="*/ 66044 w 74696"/>
                <a:gd name="connsiteY2" fmla="*/ 16017 h 68471"/>
                <a:gd name="connsiteX3" fmla="*/ 66044 w 74696"/>
                <a:gd name="connsiteY3" fmla="*/ 16017 h 68471"/>
                <a:gd name="connsiteX4" fmla="*/ 48988 w 74696"/>
                <a:gd name="connsiteY4" fmla="*/ 10788 h 68471"/>
                <a:gd name="connsiteX5" fmla="*/ 15499 w 74696"/>
                <a:gd name="connsiteY5" fmla="*/ 28529 h 6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4696" h="68471">
                  <a:moveTo>
                    <a:pt x="9337" y="60150"/>
                  </a:moveTo>
                  <a:lnTo>
                    <a:pt x="60815" y="33073"/>
                  </a:lnTo>
                  <a:cubicBezTo>
                    <a:pt x="66916" y="29836"/>
                    <a:pt x="69281" y="22179"/>
                    <a:pt x="66044" y="16017"/>
                  </a:cubicBezTo>
                  <a:lnTo>
                    <a:pt x="66044" y="16017"/>
                  </a:lnTo>
                  <a:cubicBezTo>
                    <a:pt x="62807" y="9917"/>
                    <a:pt x="55151" y="7552"/>
                    <a:pt x="48988" y="10788"/>
                  </a:cubicBezTo>
                  <a:lnTo>
                    <a:pt x="15499" y="28529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0FDBDBE0-43A8-42B5-BD06-A85F7F1D6F9A}"/>
                </a:ext>
              </a:extLst>
            </p:cNvPr>
            <p:cNvSpPr/>
            <p:nvPr/>
          </p:nvSpPr>
          <p:spPr>
            <a:xfrm>
              <a:off x="2390876" y="6046411"/>
              <a:ext cx="56022" cy="74697"/>
            </a:xfrm>
            <a:custGeom>
              <a:avLst/>
              <a:gdLst>
                <a:gd name="connsiteX0" fmla="*/ 37949 w 56022"/>
                <a:gd name="connsiteY0" fmla="*/ 9337 h 74696"/>
                <a:gd name="connsiteX1" fmla="*/ 11618 w 56022"/>
                <a:gd name="connsiteY1" fmla="*/ 46810 h 74696"/>
                <a:gd name="connsiteX2" fmla="*/ 14668 w 56022"/>
                <a:gd name="connsiteY2" fmla="*/ 64364 h 74696"/>
                <a:gd name="connsiteX3" fmla="*/ 14668 w 56022"/>
                <a:gd name="connsiteY3" fmla="*/ 64364 h 74696"/>
                <a:gd name="connsiteX4" fmla="*/ 32222 w 56022"/>
                <a:gd name="connsiteY4" fmla="*/ 61313 h 74696"/>
                <a:gd name="connsiteX5" fmla="*/ 52390 w 56022"/>
                <a:gd name="connsiteY5" fmla="*/ 32555 h 7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6022" h="74696">
                  <a:moveTo>
                    <a:pt x="37949" y="9337"/>
                  </a:moveTo>
                  <a:lnTo>
                    <a:pt x="11618" y="46810"/>
                  </a:lnTo>
                  <a:cubicBezTo>
                    <a:pt x="7635" y="52474"/>
                    <a:pt x="9004" y="60380"/>
                    <a:pt x="14668" y="64364"/>
                  </a:cubicBezTo>
                  <a:lnTo>
                    <a:pt x="14668" y="64364"/>
                  </a:lnTo>
                  <a:cubicBezTo>
                    <a:pt x="20333" y="68347"/>
                    <a:pt x="28238" y="66978"/>
                    <a:pt x="32222" y="61313"/>
                  </a:cubicBezTo>
                  <a:lnTo>
                    <a:pt x="52390" y="32555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7C8B49FA-CD23-4F2E-9E22-65CA8A6AC217}"/>
                </a:ext>
              </a:extLst>
            </p:cNvPr>
            <p:cNvSpPr/>
            <p:nvPr/>
          </p:nvSpPr>
          <p:spPr>
            <a:xfrm>
              <a:off x="2391150" y="6154223"/>
              <a:ext cx="80921" cy="74697"/>
            </a:xfrm>
            <a:custGeom>
              <a:avLst/>
              <a:gdLst>
                <a:gd name="connsiteX0" fmla="*/ 50498 w 80921"/>
                <a:gd name="connsiteY0" fmla="*/ 9337 h 74696"/>
                <a:gd name="connsiteX1" fmla="*/ 13025 w 80921"/>
                <a:gd name="connsiteY1" fmla="*/ 46561 h 74696"/>
                <a:gd name="connsiteX2" fmla="*/ 13025 w 80921"/>
                <a:gd name="connsiteY2" fmla="*/ 64364 h 74696"/>
                <a:gd name="connsiteX3" fmla="*/ 13025 w 80921"/>
                <a:gd name="connsiteY3" fmla="*/ 64364 h 74696"/>
                <a:gd name="connsiteX4" fmla="*/ 30828 w 80921"/>
                <a:gd name="connsiteY4" fmla="*/ 64364 h 74696"/>
                <a:gd name="connsiteX5" fmla="*/ 71724 w 80921"/>
                <a:gd name="connsiteY5" fmla="*/ 23716 h 74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921" h="74696">
                  <a:moveTo>
                    <a:pt x="50498" y="9337"/>
                  </a:moveTo>
                  <a:lnTo>
                    <a:pt x="13025" y="46561"/>
                  </a:lnTo>
                  <a:cubicBezTo>
                    <a:pt x="8108" y="51416"/>
                    <a:pt x="8108" y="59446"/>
                    <a:pt x="13025" y="64364"/>
                  </a:cubicBezTo>
                  <a:lnTo>
                    <a:pt x="13025" y="64364"/>
                  </a:lnTo>
                  <a:cubicBezTo>
                    <a:pt x="17881" y="69281"/>
                    <a:pt x="25910" y="69281"/>
                    <a:pt x="30828" y="64364"/>
                  </a:cubicBezTo>
                  <a:lnTo>
                    <a:pt x="71724" y="23716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D28BF9BA-8CAA-439C-9C6E-A8CD21BB6D9E}"/>
                </a:ext>
              </a:extLst>
            </p:cNvPr>
            <p:cNvSpPr/>
            <p:nvPr/>
          </p:nvSpPr>
          <p:spPr>
            <a:xfrm>
              <a:off x="2419488" y="6039999"/>
              <a:ext cx="118270" cy="49798"/>
            </a:xfrm>
            <a:custGeom>
              <a:avLst/>
              <a:gdLst>
                <a:gd name="connsiteX0" fmla="*/ 9337 w 118269"/>
                <a:gd name="connsiteY0" fmla="*/ 15749 h 49797"/>
                <a:gd name="connsiteX1" fmla="*/ 60878 w 118269"/>
                <a:gd name="connsiteY1" fmla="*/ 9337 h 49797"/>
                <a:gd name="connsiteX2" fmla="*/ 85714 w 118269"/>
                <a:gd name="connsiteY2" fmla="*/ 15686 h 49797"/>
                <a:gd name="connsiteX3" fmla="*/ 110738 w 118269"/>
                <a:gd name="connsiteY3" fmla="*/ 45938 h 49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269" h="49797">
                  <a:moveTo>
                    <a:pt x="9337" y="15749"/>
                  </a:moveTo>
                  <a:lnTo>
                    <a:pt x="60878" y="9337"/>
                  </a:lnTo>
                  <a:lnTo>
                    <a:pt x="85714" y="15686"/>
                  </a:lnTo>
                  <a:lnTo>
                    <a:pt x="110738" y="45938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7BC798E1-F31D-464A-807A-71D301996B85}"/>
                </a:ext>
              </a:extLst>
            </p:cNvPr>
            <p:cNvSpPr/>
            <p:nvPr/>
          </p:nvSpPr>
          <p:spPr>
            <a:xfrm>
              <a:off x="2432311" y="6066890"/>
              <a:ext cx="43573" cy="105820"/>
            </a:xfrm>
            <a:custGeom>
              <a:avLst/>
              <a:gdLst>
                <a:gd name="connsiteX0" fmla="*/ 10956 w 43573"/>
                <a:gd name="connsiteY0" fmla="*/ 12138 h 105820"/>
                <a:gd name="connsiteX1" fmla="*/ 34423 w 43573"/>
                <a:gd name="connsiteY1" fmla="*/ 9337 h 105820"/>
                <a:gd name="connsiteX2" fmla="*/ 9337 w 43573"/>
                <a:gd name="connsiteY2" fmla="*/ 96670 h 10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573" h="105820">
                  <a:moveTo>
                    <a:pt x="10956" y="12138"/>
                  </a:moveTo>
                  <a:lnTo>
                    <a:pt x="34423" y="9337"/>
                  </a:lnTo>
                  <a:lnTo>
                    <a:pt x="9337" y="96670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440A7235-A8E1-4CB3-A3DE-E62383A5BF51}"/>
                </a:ext>
              </a:extLst>
            </p:cNvPr>
            <p:cNvSpPr/>
            <p:nvPr/>
          </p:nvSpPr>
          <p:spPr>
            <a:xfrm>
              <a:off x="2487773" y="6085875"/>
              <a:ext cx="56022" cy="68472"/>
            </a:xfrm>
            <a:custGeom>
              <a:avLst/>
              <a:gdLst>
                <a:gd name="connsiteX0" fmla="*/ 17865 w 56022"/>
                <a:gd name="connsiteY0" fmla="*/ 9337 h 68471"/>
                <a:gd name="connsiteX1" fmla="*/ 9337 w 56022"/>
                <a:gd name="connsiteY1" fmla="*/ 42639 h 68471"/>
                <a:gd name="connsiteX2" fmla="*/ 51229 w 56022"/>
                <a:gd name="connsiteY2" fmla="*/ 62185 h 684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6022" h="68471">
                  <a:moveTo>
                    <a:pt x="17865" y="9337"/>
                  </a:moveTo>
                  <a:lnTo>
                    <a:pt x="9337" y="42639"/>
                  </a:lnTo>
                  <a:lnTo>
                    <a:pt x="51229" y="62185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89FBF9E-8329-410F-8FB2-114280CD7698}"/>
                </a:ext>
              </a:extLst>
            </p:cNvPr>
            <p:cNvSpPr/>
            <p:nvPr/>
          </p:nvSpPr>
          <p:spPr>
            <a:xfrm>
              <a:off x="2496301" y="6085875"/>
              <a:ext cx="31124" cy="37348"/>
            </a:xfrm>
            <a:custGeom>
              <a:avLst/>
              <a:gdLst>
                <a:gd name="connsiteX0" fmla="*/ 27762 w 31123"/>
                <a:gd name="connsiteY0" fmla="*/ 31622 h 37348"/>
                <a:gd name="connsiteX1" fmla="*/ 9337 w 31123"/>
                <a:gd name="connsiteY1" fmla="*/ 9337 h 37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123" h="37348">
                  <a:moveTo>
                    <a:pt x="27762" y="31622"/>
                  </a:moveTo>
                  <a:lnTo>
                    <a:pt x="9337" y="9337"/>
                  </a:lnTo>
                </a:path>
              </a:pathLst>
            </a:custGeom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BF337E4-6ACE-4F81-BE30-046FAC6B4574}"/>
                </a:ext>
              </a:extLst>
            </p:cNvPr>
            <p:cNvSpPr/>
            <p:nvPr/>
          </p:nvSpPr>
          <p:spPr>
            <a:xfrm>
              <a:off x="2453475" y="6134988"/>
              <a:ext cx="68472" cy="49798"/>
            </a:xfrm>
            <a:custGeom>
              <a:avLst/>
              <a:gdLst>
                <a:gd name="connsiteX0" fmla="*/ 9337 w 68471"/>
                <a:gd name="connsiteY0" fmla="*/ 43013 h 49797"/>
                <a:gd name="connsiteX1" fmla="*/ 18799 w 68471"/>
                <a:gd name="connsiteY1" fmla="*/ 9337 h 49797"/>
                <a:gd name="connsiteX2" fmla="*/ 61376 w 68471"/>
                <a:gd name="connsiteY2" fmla="*/ 29256 h 49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8471" h="49797">
                  <a:moveTo>
                    <a:pt x="9337" y="43013"/>
                  </a:moveTo>
                  <a:lnTo>
                    <a:pt x="18799" y="9337"/>
                  </a:lnTo>
                  <a:lnTo>
                    <a:pt x="61376" y="29256"/>
                  </a:lnTo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2942BDE7-325B-4EC4-AD08-57E6DCE06D0E}"/>
                </a:ext>
              </a:extLst>
            </p:cNvPr>
            <p:cNvSpPr/>
            <p:nvPr/>
          </p:nvSpPr>
          <p:spPr>
            <a:xfrm>
              <a:off x="2473865" y="5976231"/>
              <a:ext cx="62247" cy="62247"/>
            </a:xfrm>
            <a:custGeom>
              <a:avLst/>
              <a:gdLst>
                <a:gd name="connsiteX0" fmla="*/ 57232 w 62247"/>
                <a:gd name="connsiteY0" fmla="*/ 34450 h 62247"/>
                <a:gd name="connsiteX1" fmla="*/ 32146 w 62247"/>
                <a:gd name="connsiteY1" fmla="*/ 57232 h 62247"/>
                <a:gd name="connsiteX2" fmla="*/ 9364 w 62247"/>
                <a:gd name="connsiteY2" fmla="*/ 32147 h 62247"/>
                <a:gd name="connsiteX3" fmla="*/ 34450 w 62247"/>
                <a:gd name="connsiteY3" fmla="*/ 9364 h 62247"/>
                <a:gd name="connsiteX4" fmla="*/ 57232 w 62247"/>
                <a:gd name="connsiteY4" fmla="*/ 34450 h 62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2247" h="62247">
                  <a:moveTo>
                    <a:pt x="57232" y="34450"/>
                  </a:moveTo>
                  <a:cubicBezTo>
                    <a:pt x="56610" y="47646"/>
                    <a:pt x="45343" y="57855"/>
                    <a:pt x="32146" y="57232"/>
                  </a:cubicBezTo>
                  <a:cubicBezTo>
                    <a:pt x="18950" y="56610"/>
                    <a:pt x="8742" y="45343"/>
                    <a:pt x="9364" y="32147"/>
                  </a:cubicBezTo>
                  <a:cubicBezTo>
                    <a:pt x="9986" y="18950"/>
                    <a:pt x="21253" y="8742"/>
                    <a:pt x="34450" y="9364"/>
                  </a:cubicBezTo>
                  <a:cubicBezTo>
                    <a:pt x="47646" y="9987"/>
                    <a:pt x="57855" y="21253"/>
                    <a:pt x="57232" y="34450"/>
                  </a:cubicBezTo>
                  <a:close/>
                </a:path>
              </a:pathLst>
            </a:custGeom>
            <a:noFill/>
            <a:ln w="1905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0D9D5FB3-CCFC-4852-B561-D0472A5A3B3F}"/>
              </a:ext>
            </a:extLst>
          </p:cNvPr>
          <p:cNvSpPr/>
          <p:nvPr/>
        </p:nvSpPr>
        <p:spPr>
          <a:xfrm>
            <a:off x="9252226" y="3169815"/>
            <a:ext cx="279492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«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Йиртқичлар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» </a:t>
            </a:r>
            <a:r>
              <a:rPr lang="ru-RU" sz="1400" dirty="0">
                <a:solidFill>
                  <a:schemeClr val="tx2"/>
                </a:solidFill>
              </a:rPr>
              <a:t>- </a:t>
            </a:r>
            <a:r>
              <a:rPr lang="ru-RU" sz="1400" dirty="0" err="1">
                <a:solidFill>
                  <a:schemeClr val="tx2"/>
                </a:solidFill>
              </a:rPr>
              <a:t>вақти-вақт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л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идабузарлик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д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ади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патолог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ирибгарлар</a:t>
            </a:r>
            <a:r>
              <a:rPr lang="ru-RU" sz="1400" dirty="0">
                <a:solidFill>
                  <a:schemeClr val="tx2"/>
                </a:solidFill>
              </a:rPr>
              <a:t>: </a:t>
            </a:r>
            <a:r>
              <a:rPr lang="ru-RU" sz="1400" dirty="0" err="1">
                <a:solidFill>
                  <a:schemeClr val="tx2"/>
                </a:solidFill>
              </a:rPr>
              <a:t>фирибга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шатилган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ўнг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бошқас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тиб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ян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ирибга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ади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  <a:r>
              <a:rPr lang="ru-RU" sz="1400" dirty="0" err="1">
                <a:solidFill>
                  <a:schemeClr val="tx2"/>
                </a:solidFill>
              </a:rPr>
              <a:t>Кўпинча</a:t>
            </a:r>
            <a:r>
              <a:rPr lang="ru-RU" sz="1400" dirty="0">
                <a:solidFill>
                  <a:schemeClr val="tx2"/>
                </a:solidFill>
              </a:rPr>
              <a:t> потенциал </a:t>
            </a:r>
            <a:r>
              <a:rPr lang="ru-RU" sz="1400" dirty="0" err="1">
                <a:solidFill>
                  <a:schemeClr val="tx2"/>
                </a:solidFill>
              </a:rPr>
              <a:t>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рувч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ириш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лди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ирибга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мконият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уқта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азар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ҳолашади</a:t>
            </a:r>
            <a:endParaRPr lang="en-US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3944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2C6541-2A31-4E7F-B834-4CE389EA3A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sz="4800" dirty="0" err="1"/>
              <a:t>Коррупциянинг</a:t>
            </a:r>
            <a:r>
              <a:rPr lang="ru-RU" sz="4800" dirty="0"/>
              <a:t>, шу </a:t>
            </a:r>
            <a:r>
              <a:rPr lang="ru-RU" sz="4800" dirty="0" err="1"/>
              <a:t>жумладан</a:t>
            </a:r>
            <a:r>
              <a:rPr lang="ru-RU" sz="4800" dirty="0"/>
              <a:t> </a:t>
            </a:r>
            <a:r>
              <a:rPr lang="ru-RU" sz="4800" dirty="0" err="1"/>
              <a:t>манфаатлар</a:t>
            </a:r>
            <a:r>
              <a:rPr lang="ru-RU" sz="4800" dirty="0"/>
              <a:t> </a:t>
            </a:r>
            <a:r>
              <a:rPr lang="ru-RU" sz="4800" dirty="0" err="1"/>
              <a:t>тўқнашувининг</a:t>
            </a:r>
            <a:r>
              <a:rPr lang="ru-RU" sz="4800" dirty="0"/>
              <a:t> </a:t>
            </a:r>
            <a:r>
              <a:rPr lang="ru-RU" sz="4800" dirty="0" err="1"/>
              <a:t>намоён</a:t>
            </a:r>
            <a:r>
              <a:rPr lang="ru-RU" sz="4800" dirty="0"/>
              <a:t> </a:t>
            </a:r>
            <a:r>
              <a:rPr lang="ru-RU" sz="4800" dirty="0" err="1"/>
              <a:t>бўлиш</a:t>
            </a:r>
            <a:r>
              <a:rPr lang="ru-RU" sz="4800" dirty="0"/>
              <a:t> </a:t>
            </a:r>
            <a:r>
              <a:rPr lang="ru-RU" sz="4800" dirty="0" err="1"/>
              <a:t>шакллари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EE0174C-B42B-4279-A654-0497B7B9D41F}"/>
              </a:ext>
            </a:extLst>
          </p:cNvPr>
          <p:cNvSpPr txBox="1">
            <a:spLocks/>
          </p:cNvSpPr>
          <p:nvPr/>
        </p:nvSpPr>
        <p:spPr>
          <a:xfrm>
            <a:off x="350378" y="5223794"/>
            <a:ext cx="2020192" cy="15216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9600" b="1" dirty="0">
                <a:solidFill>
                  <a:srgbClr val="1BD7D3"/>
                </a:solidFill>
                <a:latin typeface="Arial Black" panose="020B0A04020102020204" pitchFamily="34" charset="0"/>
              </a:rPr>
              <a:t>6</a:t>
            </a:r>
            <a:r>
              <a:rPr lang="ru-RU" sz="9600" b="1" dirty="0">
                <a:solidFill>
                  <a:srgbClr val="1BD7D3"/>
                </a:solidFill>
                <a:latin typeface="Arial Black" panose="020B0A04020102020204" pitchFamily="34" charset="0"/>
              </a:rPr>
              <a:t>.</a:t>
            </a:r>
            <a:endParaRPr lang="en-US" sz="9600" b="1" dirty="0">
              <a:solidFill>
                <a:srgbClr val="1BD7D3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67328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147D5-400D-4219-939D-5E43C7C4AB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оррупциянинг</a:t>
            </a:r>
            <a:r>
              <a:rPr lang="ru-RU" dirty="0"/>
              <a:t> </a:t>
            </a:r>
            <a:r>
              <a:rPr lang="ru-RU" dirty="0" err="1"/>
              <a:t>намоён</a:t>
            </a:r>
            <a:r>
              <a:rPr lang="ru-RU" dirty="0"/>
              <a:t> </a:t>
            </a:r>
            <a:r>
              <a:rPr lang="ru-RU" dirty="0" err="1"/>
              <a:t>бўлиш</a:t>
            </a:r>
            <a:r>
              <a:rPr lang="ru-RU" dirty="0"/>
              <a:t> </a:t>
            </a:r>
            <a:r>
              <a:rPr lang="ru-RU" dirty="0" err="1"/>
              <a:t>шакллари</a:t>
            </a:r>
            <a:endParaRPr lang="en-US" dirty="0"/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3C0C8BD6-46F8-4D57-B450-E8E4322A1644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42200E1-55CE-4264-8E3A-C942A5652031}"/>
              </a:ext>
            </a:extLst>
          </p:cNvPr>
          <p:cNvSpPr/>
          <p:nvPr/>
        </p:nvSpPr>
        <p:spPr>
          <a:xfrm>
            <a:off x="1261918" y="1425558"/>
            <a:ext cx="92488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000" b="1" dirty="0">
                <a:solidFill>
                  <a:srgbClr val="49A9F6"/>
                </a:solidFill>
              </a:rPr>
              <a:t>Коррупция </a:t>
            </a:r>
            <a:r>
              <a:rPr lang="ru-RU" sz="2000" b="1" dirty="0" err="1">
                <a:solidFill>
                  <a:srgbClr val="49A9F6"/>
                </a:solidFill>
              </a:rPr>
              <a:t>ҳодисас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қуйидаг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шакллард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бўлиш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мумкин</a:t>
            </a:r>
            <a:r>
              <a:rPr lang="ru-RU" sz="2000" b="1" dirty="0">
                <a:solidFill>
                  <a:srgbClr val="49A9F6"/>
                </a:solidFill>
              </a:rPr>
              <a:t>: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CE77DC4-969C-49FE-A4BD-519C84EB397D}"/>
              </a:ext>
            </a:extLst>
          </p:cNvPr>
          <p:cNvSpPr/>
          <p:nvPr/>
        </p:nvSpPr>
        <p:spPr>
          <a:xfrm>
            <a:off x="438150" y="2167003"/>
            <a:ext cx="3598460" cy="509567"/>
          </a:xfrm>
          <a:prstGeom prst="roundRect">
            <a:avLst>
              <a:gd name="adj" fmla="val 50000"/>
            </a:avLst>
          </a:prstGeom>
          <a:solidFill>
            <a:srgbClr val="49A9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Пора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94F1695-6586-413F-B0DD-04AED37964A1}"/>
              </a:ext>
            </a:extLst>
          </p:cNvPr>
          <p:cNvSpPr/>
          <p:nvPr/>
        </p:nvSpPr>
        <p:spPr>
          <a:xfrm>
            <a:off x="4294389" y="2167002"/>
            <a:ext cx="3598460" cy="509567"/>
          </a:xfrm>
          <a:prstGeom prst="roundRect">
            <a:avLst>
              <a:gd name="adj" fmla="val 50000"/>
            </a:avLst>
          </a:prstGeom>
          <a:solidFill>
            <a:srgbClr val="49A9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Растрата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6551F21-7BA7-41A7-9BC4-287B3A509C0E}"/>
              </a:ext>
            </a:extLst>
          </p:cNvPr>
          <p:cNvSpPr/>
          <p:nvPr/>
        </p:nvSpPr>
        <p:spPr>
          <a:xfrm>
            <a:off x="451782" y="4843292"/>
            <a:ext cx="3598460" cy="509567"/>
          </a:xfrm>
          <a:prstGeom prst="roundRect">
            <a:avLst>
              <a:gd name="adj" fmla="val 50000"/>
            </a:avLst>
          </a:prstGeom>
          <a:solidFill>
            <a:srgbClr val="49A9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chemeClr val="bg1"/>
                </a:solidFill>
              </a:rPr>
              <a:t>Тил</a:t>
            </a:r>
            <a:r>
              <a:rPr lang="ru-RU" sz="1400" b="1" dirty="0">
                <a:solidFill>
                  <a:schemeClr val="bg1"/>
                </a:solidFill>
              </a:rPr>
              <a:t> </a:t>
            </a:r>
            <a:r>
              <a:rPr lang="ru-RU" sz="1400" b="1" dirty="0" err="1">
                <a:solidFill>
                  <a:schemeClr val="bg1"/>
                </a:solidFill>
              </a:rPr>
              <a:t>бириктириш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51CA90C1-78BD-4A88-9D8F-22A777D5B6E3}"/>
              </a:ext>
            </a:extLst>
          </p:cNvPr>
          <p:cNvSpPr/>
          <p:nvPr/>
        </p:nvSpPr>
        <p:spPr>
          <a:xfrm>
            <a:off x="4298308" y="3763569"/>
            <a:ext cx="3598460" cy="509567"/>
          </a:xfrm>
          <a:prstGeom prst="roundRect">
            <a:avLst>
              <a:gd name="adj" fmla="val 50000"/>
            </a:avLst>
          </a:prstGeom>
          <a:solidFill>
            <a:srgbClr val="49A9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chemeClr val="bg1"/>
                </a:solidFill>
              </a:rPr>
              <a:t>Мансаб</a:t>
            </a:r>
            <a:r>
              <a:rPr lang="ru-RU" sz="1400" b="1" dirty="0">
                <a:solidFill>
                  <a:schemeClr val="bg1"/>
                </a:solidFill>
              </a:rPr>
              <a:t> </a:t>
            </a:r>
            <a:r>
              <a:rPr lang="ru-RU" sz="1400" b="1" dirty="0" err="1">
                <a:solidFill>
                  <a:schemeClr val="bg1"/>
                </a:solidFill>
              </a:rPr>
              <a:t>ваколатини</a:t>
            </a:r>
            <a:r>
              <a:rPr lang="ru-RU" sz="1400" b="1" dirty="0">
                <a:solidFill>
                  <a:schemeClr val="bg1"/>
                </a:solidFill>
              </a:rPr>
              <a:t> </a:t>
            </a:r>
            <a:r>
              <a:rPr lang="ru-RU" sz="1400" b="1" dirty="0" err="1">
                <a:solidFill>
                  <a:schemeClr val="bg1"/>
                </a:solidFill>
              </a:rPr>
              <a:t>суиистеъмол</a:t>
            </a:r>
            <a:r>
              <a:rPr lang="ru-RU" sz="1400" b="1" dirty="0">
                <a:solidFill>
                  <a:schemeClr val="bg1"/>
                </a:solidFill>
              </a:rPr>
              <a:t> </a:t>
            </a:r>
            <a:r>
              <a:rPr lang="ru-RU" sz="1400" b="1" dirty="0" err="1">
                <a:solidFill>
                  <a:schemeClr val="bg1"/>
                </a:solidFill>
              </a:rPr>
              <a:t>қилиш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5041F1C-F2F0-4E56-A309-6F5553016477}"/>
              </a:ext>
            </a:extLst>
          </p:cNvPr>
          <p:cNvSpPr/>
          <p:nvPr/>
        </p:nvSpPr>
        <p:spPr>
          <a:xfrm>
            <a:off x="440353" y="3558701"/>
            <a:ext cx="3598460" cy="509567"/>
          </a:xfrm>
          <a:prstGeom prst="roundRect">
            <a:avLst>
              <a:gd name="adj" fmla="val 50000"/>
            </a:avLst>
          </a:prstGeom>
          <a:solidFill>
            <a:srgbClr val="49A9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chemeClr val="bg1"/>
                </a:solidFill>
              </a:rPr>
              <a:t>Фирибгарлик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3A280DA-DB44-43DD-8D82-B557EA94B518}"/>
              </a:ext>
            </a:extLst>
          </p:cNvPr>
          <p:cNvSpPr/>
          <p:nvPr/>
        </p:nvSpPr>
        <p:spPr>
          <a:xfrm>
            <a:off x="8161543" y="2167002"/>
            <a:ext cx="3598460" cy="509567"/>
          </a:xfrm>
          <a:prstGeom prst="roundRect">
            <a:avLst>
              <a:gd name="adj" fmla="val 50000"/>
            </a:avLst>
          </a:prstGeom>
          <a:solidFill>
            <a:srgbClr val="49A9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Непотизм (</a:t>
            </a:r>
            <a:r>
              <a:rPr lang="ru-RU" sz="1400" b="1" dirty="0" err="1">
                <a:solidFill>
                  <a:schemeClr val="bg1"/>
                </a:solidFill>
              </a:rPr>
              <a:t>Қариндошчилик</a:t>
            </a:r>
            <a:r>
              <a:rPr lang="ru-RU" sz="14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4CB92F-954C-4490-9846-D2D00233E9E6}"/>
              </a:ext>
            </a:extLst>
          </p:cNvPr>
          <p:cNvSpPr/>
          <p:nvPr/>
        </p:nvSpPr>
        <p:spPr>
          <a:xfrm>
            <a:off x="431999" y="2837815"/>
            <a:ext cx="359846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dirty="0" err="1">
                <a:solidFill>
                  <a:schemeClr val="tx2"/>
                </a:solidFill>
              </a:rPr>
              <a:t>муайя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мтиёзлар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чу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га</a:t>
            </a:r>
            <a:r>
              <a:rPr lang="ru-RU" sz="1200" dirty="0">
                <a:solidFill>
                  <a:schemeClr val="tx2"/>
                </a:solidFill>
              </a:rPr>
              <a:t> пул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кофотлар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е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иш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1B392F-FFA9-4F67-AB3D-FC5FC29A3B3D}"/>
              </a:ext>
            </a:extLst>
          </p:cNvPr>
          <p:cNvSpPr/>
          <p:nvPr/>
        </p:nvSpPr>
        <p:spPr>
          <a:xfrm>
            <a:off x="4291313" y="2837815"/>
            <a:ext cx="359846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dirty="0" err="1">
                <a:solidFill>
                  <a:schemeClr val="tx2"/>
                </a:solidFill>
              </a:rPr>
              <a:t>хусус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вл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ектор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з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нс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вқеи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ойдалан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ол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зга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лк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злашти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ил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оди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тил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клидир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555443-506D-4B54-9484-04C2E06F59B1}"/>
              </a:ext>
            </a:extLst>
          </p:cNvPr>
          <p:cNvSpPr/>
          <p:nvPr/>
        </p:nvSpPr>
        <p:spPr>
          <a:xfrm>
            <a:off x="451781" y="5520391"/>
            <a:ext cx="359846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лар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лдаш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ўз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онун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уқуқлар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ақ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алғит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йўл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ил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чиқ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ақобат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екла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қсад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к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н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ртиқ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раф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ртасида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охт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елишув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яшири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амкорлик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83D4A3-0921-4B1B-848E-5C522CA96776}"/>
              </a:ext>
            </a:extLst>
          </p:cNvPr>
          <p:cNvSpPr/>
          <p:nvPr/>
        </p:nvSpPr>
        <p:spPr>
          <a:xfrm>
            <a:off x="4306662" y="4478003"/>
            <a:ext cx="359846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dirty="0" err="1">
                <a:solidFill>
                  <a:schemeClr val="tx2"/>
                </a:solidFill>
              </a:rPr>
              <a:t>мансабдо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омони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з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нс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вқеи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ону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ужжатлар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уз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ол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нфаатлар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зид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авиш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асд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ойдаланиш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ғаразл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нфаатлар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ўзл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оди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тилади</a:t>
            </a:r>
            <a:r>
              <a:rPr lang="ru-RU" sz="1200" dirty="0">
                <a:solidFill>
                  <a:schemeClr val="tx2"/>
                </a:solidFill>
              </a:rPr>
              <a:t>. (БМТ </a:t>
            </a:r>
            <a:r>
              <a:rPr lang="ru-RU" sz="1200" dirty="0" err="1">
                <a:solidFill>
                  <a:schemeClr val="tx2"/>
                </a:solidFill>
              </a:rPr>
              <a:t>Конвенциясининг</a:t>
            </a:r>
            <a:r>
              <a:rPr lang="ru-RU" sz="1200" dirty="0">
                <a:solidFill>
                  <a:schemeClr val="tx2"/>
                </a:solidFill>
              </a:rPr>
              <a:t> 19-моддаси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44BEDB-C5CA-4546-ABE8-D9551BA8A293}"/>
              </a:ext>
            </a:extLst>
          </p:cNvPr>
          <p:cNvSpPr/>
          <p:nvPr/>
        </p:nvSpPr>
        <p:spPr>
          <a:xfrm>
            <a:off x="451782" y="4273136"/>
            <a:ext cx="359846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dirty="0" err="1">
                <a:solidFill>
                  <a:schemeClr val="tx2"/>
                </a:solidFill>
              </a:rPr>
              <a:t>алда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шонч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уиистеъмол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рқал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иров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лк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ғирлаш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A03AD7-F7E4-42F7-A3ED-F472B8D6D2D8}"/>
              </a:ext>
            </a:extLst>
          </p:cNvPr>
          <p:cNvSpPr/>
          <p:nvPr/>
        </p:nvSpPr>
        <p:spPr>
          <a:xfrm>
            <a:off x="8176047" y="2887723"/>
            <a:ext cx="35984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dirty="0" err="1">
                <a:solidFill>
                  <a:schemeClr val="tx2"/>
                </a:solidFill>
              </a:rPr>
              <a:t>қариндошлар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ўстларини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касб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ифатлари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атъ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назар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нохолис</a:t>
            </a:r>
            <a:r>
              <a:rPr lang="ru-RU" sz="1200" dirty="0">
                <a:solidFill>
                  <a:schemeClr val="tx2"/>
                </a:solidFill>
              </a:rPr>
              <a:t>  </a:t>
            </a:r>
            <a:r>
              <a:rPr lang="ru-RU" sz="1200" dirty="0" err="1">
                <a:solidFill>
                  <a:schemeClr val="tx2"/>
                </a:solidFill>
              </a:rPr>
              <a:t>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мтиёз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ил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’минла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малиёти</a:t>
            </a:r>
            <a:r>
              <a:rPr lang="ru-RU" sz="1200" dirty="0">
                <a:solidFill>
                  <a:schemeClr val="tx2"/>
                </a:solidFill>
              </a:rPr>
              <a:t> (БМТ </a:t>
            </a:r>
            <a:r>
              <a:rPr lang="ru-RU" sz="1200" dirty="0" err="1">
                <a:solidFill>
                  <a:schemeClr val="tx2"/>
                </a:solidFill>
              </a:rPr>
              <a:t>конвенциясининг</a:t>
            </a:r>
            <a:r>
              <a:rPr lang="ru-RU" sz="1200" dirty="0">
                <a:solidFill>
                  <a:schemeClr val="tx2"/>
                </a:solidFill>
              </a:rPr>
              <a:t> 7-моддаси). Непотизм-</a:t>
            </a:r>
            <a:r>
              <a:rPr lang="ru-RU" sz="1200" dirty="0" err="1">
                <a:solidFill>
                  <a:schemeClr val="tx2"/>
                </a:solidFill>
              </a:rPr>
              <a:t>бу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нфаат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ўқнашуви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шахс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нфаатдорл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асм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 </a:t>
            </a:r>
            <a:r>
              <a:rPr lang="ru-RU" sz="1200" dirty="0" err="1">
                <a:solidFill>
                  <a:schemeClr val="tx2"/>
                </a:solidFill>
              </a:rPr>
              <a:t>вазифалар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ўғр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жариш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ъси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ади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ъси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мки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уқаролар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жамия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влат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нфаатлар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уқуқлар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ам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онун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нфаатлар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ртас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зиддия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юза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елади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юза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ели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мки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зият.о</a:t>
            </a:r>
            <a:endParaRPr lang="ru-RU" sz="1200" dirty="0">
              <a:solidFill>
                <a:schemeClr val="tx2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33B01F7-FAAD-431E-8AFA-F75B44E9E95A}"/>
              </a:ext>
            </a:extLst>
          </p:cNvPr>
          <p:cNvGrpSpPr/>
          <p:nvPr/>
        </p:nvGrpSpPr>
        <p:grpSpPr>
          <a:xfrm>
            <a:off x="741207" y="1354860"/>
            <a:ext cx="520711" cy="518443"/>
            <a:chOff x="8817753" y="2391900"/>
            <a:chExt cx="520711" cy="518443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B51C990F-3722-4B08-9F8E-F32ACF2C44A9}"/>
                </a:ext>
              </a:extLst>
            </p:cNvPr>
            <p:cNvSpPr/>
            <p:nvPr/>
          </p:nvSpPr>
          <p:spPr>
            <a:xfrm>
              <a:off x="8955464" y="2724027"/>
              <a:ext cx="129611" cy="24302"/>
            </a:xfrm>
            <a:custGeom>
              <a:avLst/>
              <a:gdLst>
                <a:gd name="connsiteX0" fmla="*/ 12151 w 129610"/>
                <a:gd name="connsiteY0" fmla="*/ 12151 h 24302"/>
                <a:gd name="connsiteX1" fmla="*/ 118189 w 129610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610" h="24302">
                  <a:moveTo>
                    <a:pt x="12151" y="12151"/>
                  </a:moveTo>
                  <a:lnTo>
                    <a:pt x="118189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958EA36-AE9E-4BB5-8083-42D6F170DC1A}"/>
                </a:ext>
              </a:extLst>
            </p:cNvPr>
            <p:cNvSpPr/>
            <p:nvPr/>
          </p:nvSpPr>
          <p:spPr>
            <a:xfrm>
              <a:off x="8955464" y="2764531"/>
              <a:ext cx="170114" cy="24302"/>
            </a:xfrm>
            <a:custGeom>
              <a:avLst/>
              <a:gdLst>
                <a:gd name="connsiteX0" fmla="*/ 12151 w 170114"/>
                <a:gd name="connsiteY0" fmla="*/ 12151 h 24302"/>
                <a:gd name="connsiteX1" fmla="*/ 158692 w 170114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0114" h="24302">
                  <a:moveTo>
                    <a:pt x="12151" y="12151"/>
                  </a:moveTo>
                  <a:lnTo>
                    <a:pt x="158692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9B9810E-866A-41F3-B151-2412DFACCB65}"/>
                </a:ext>
              </a:extLst>
            </p:cNvPr>
            <p:cNvSpPr/>
            <p:nvPr/>
          </p:nvSpPr>
          <p:spPr>
            <a:xfrm>
              <a:off x="8955464" y="2805034"/>
              <a:ext cx="56705" cy="24302"/>
            </a:xfrm>
            <a:custGeom>
              <a:avLst/>
              <a:gdLst>
                <a:gd name="connsiteX0" fmla="*/ 12151 w 56704"/>
                <a:gd name="connsiteY0" fmla="*/ 12151 h 24302"/>
                <a:gd name="connsiteX1" fmla="*/ 46012 w 56704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6704" h="24302">
                  <a:moveTo>
                    <a:pt x="12151" y="12151"/>
                  </a:moveTo>
                  <a:lnTo>
                    <a:pt x="46012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EE597DC-5F3A-46A9-80FC-5FB282659645}"/>
                </a:ext>
              </a:extLst>
            </p:cNvPr>
            <p:cNvSpPr/>
            <p:nvPr/>
          </p:nvSpPr>
          <p:spPr>
            <a:xfrm>
              <a:off x="8955464" y="2643021"/>
              <a:ext cx="162013" cy="24302"/>
            </a:xfrm>
            <a:custGeom>
              <a:avLst/>
              <a:gdLst>
                <a:gd name="connsiteX0" fmla="*/ 155290 w 162013"/>
                <a:gd name="connsiteY0" fmla="*/ 12151 h 24302"/>
                <a:gd name="connsiteX1" fmla="*/ 12151 w 162013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2013" h="24302">
                  <a:moveTo>
                    <a:pt x="155290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B57D945-AB10-4DFE-A514-1E635E72CC3C}"/>
                </a:ext>
              </a:extLst>
            </p:cNvPr>
            <p:cNvSpPr/>
            <p:nvPr/>
          </p:nvSpPr>
          <p:spPr>
            <a:xfrm>
              <a:off x="8955464" y="2602517"/>
              <a:ext cx="40503" cy="24302"/>
            </a:xfrm>
            <a:custGeom>
              <a:avLst/>
              <a:gdLst>
                <a:gd name="connsiteX0" fmla="*/ 30054 w 40503"/>
                <a:gd name="connsiteY0" fmla="*/ 12151 h 24302"/>
                <a:gd name="connsiteX1" fmla="*/ 12151 w 40503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03" h="24302">
                  <a:moveTo>
                    <a:pt x="30054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1C011EA2-F31E-453F-86A2-33F289A26FB8}"/>
                </a:ext>
              </a:extLst>
            </p:cNvPr>
            <p:cNvSpPr/>
            <p:nvPr/>
          </p:nvSpPr>
          <p:spPr>
            <a:xfrm>
              <a:off x="9007065" y="2602517"/>
              <a:ext cx="113409" cy="24302"/>
            </a:xfrm>
            <a:custGeom>
              <a:avLst/>
              <a:gdLst>
                <a:gd name="connsiteX0" fmla="*/ 107658 w 113409"/>
                <a:gd name="connsiteY0" fmla="*/ 12151 h 24302"/>
                <a:gd name="connsiteX1" fmla="*/ 12151 w 113409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3409" h="24302">
                  <a:moveTo>
                    <a:pt x="107658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EA81B2A1-61AA-451F-9FF5-C70D8CD382D8}"/>
                </a:ext>
              </a:extLst>
            </p:cNvPr>
            <p:cNvSpPr/>
            <p:nvPr/>
          </p:nvSpPr>
          <p:spPr>
            <a:xfrm>
              <a:off x="8955464" y="2562014"/>
              <a:ext cx="97208" cy="24302"/>
            </a:xfrm>
            <a:custGeom>
              <a:avLst/>
              <a:gdLst>
                <a:gd name="connsiteX0" fmla="*/ 88459 w 97208"/>
                <a:gd name="connsiteY0" fmla="*/ 12151 h 24302"/>
                <a:gd name="connsiteX1" fmla="*/ 12151 w 97208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08" h="24302">
                  <a:moveTo>
                    <a:pt x="88459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638C24B0-FD6B-495D-82E9-C0F4807AC1D4}"/>
                </a:ext>
              </a:extLst>
            </p:cNvPr>
            <p:cNvSpPr/>
            <p:nvPr/>
          </p:nvSpPr>
          <p:spPr>
            <a:xfrm>
              <a:off x="9067901" y="2562014"/>
              <a:ext cx="72906" cy="24302"/>
            </a:xfrm>
            <a:custGeom>
              <a:avLst/>
              <a:gdLst>
                <a:gd name="connsiteX0" fmla="*/ 67559 w 72906"/>
                <a:gd name="connsiteY0" fmla="*/ 12151 h 24302"/>
                <a:gd name="connsiteX1" fmla="*/ 12151 w 72906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906" h="24302">
                  <a:moveTo>
                    <a:pt x="67559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C6ECD00-ADA8-423C-B00E-98A6C1866A92}"/>
                </a:ext>
              </a:extLst>
            </p:cNvPr>
            <p:cNvSpPr/>
            <p:nvPr/>
          </p:nvSpPr>
          <p:spPr>
            <a:xfrm>
              <a:off x="9098198" y="2724027"/>
              <a:ext cx="64805" cy="24302"/>
            </a:xfrm>
            <a:custGeom>
              <a:avLst/>
              <a:gdLst>
                <a:gd name="connsiteX0" fmla="*/ 59783 w 64805"/>
                <a:gd name="connsiteY0" fmla="*/ 12151 h 24302"/>
                <a:gd name="connsiteX1" fmla="*/ 12151 w 64805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05" h="24302">
                  <a:moveTo>
                    <a:pt x="59783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4185562D-3238-4E62-BE0D-E5AEDE44E061}"/>
                </a:ext>
              </a:extLst>
            </p:cNvPr>
            <p:cNvSpPr/>
            <p:nvPr/>
          </p:nvSpPr>
          <p:spPr>
            <a:xfrm>
              <a:off x="9142023" y="2764531"/>
              <a:ext cx="81007" cy="24302"/>
            </a:xfrm>
            <a:custGeom>
              <a:avLst/>
              <a:gdLst>
                <a:gd name="connsiteX0" fmla="*/ 69828 w 81006"/>
                <a:gd name="connsiteY0" fmla="*/ 12151 h 24302"/>
                <a:gd name="connsiteX1" fmla="*/ 12151 w 81006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006" h="24302">
                  <a:moveTo>
                    <a:pt x="69828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CE836CA-FDF7-4283-A8E5-DF2AC307AFAA}"/>
                </a:ext>
              </a:extLst>
            </p:cNvPr>
            <p:cNvSpPr/>
            <p:nvPr/>
          </p:nvSpPr>
          <p:spPr>
            <a:xfrm>
              <a:off x="8955464" y="2683524"/>
              <a:ext cx="81007" cy="24302"/>
            </a:xfrm>
            <a:custGeom>
              <a:avLst/>
              <a:gdLst>
                <a:gd name="connsiteX0" fmla="*/ 12151 w 81006"/>
                <a:gd name="connsiteY0" fmla="*/ 12151 h 24302"/>
                <a:gd name="connsiteX1" fmla="*/ 75012 w 81006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006" h="24302">
                  <a:moveTo>
                    <a:pt x="12151" y="12151"/>
                  </a:moveTo>
                  <a:lnTo>
                    <a:pt x="75012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72D547D-C5A6-42AD-967E-28A63B622354}"/>
                </a:ext>
              </a:extLst>
            </p:cNvPr>
            <p:cNvSpPr/>
            <p:nvPr/>
          </p:nvSpPr>
          <p:spPr>
            <a:xfrm>
              <a:off x="9051214" y="2683524"/>
              <a:ext cx="81007" cy="24302"/>
            </a:xfrm>
            <a:custGeom>
              <a:avLst/>
              <a:gdLst>
                <a:gd name="connsiteX0" fmla="*/ 71448 w 81006"/>
                <a:gd name="connsiteY0" fmla="*/ 12151 h 24302"/>
                <a:gd name="connsiteX1" fmla="*/ 12151 w 81006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006" h="24302">
                  <a:moveTo>
                    <a:pt x="71448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33E7C88-9EE1-4245-AD0F-0E790BA42A96}"/>
                </a:ext>
              </a:extLst>
            </p:cNvPr>
            <p:cNvSpPr/>
            <p:nvPr/>
          </p:nvSpPr>
          <p:spPr>
            <a:xfrm>
              <a:off x="8955464" y="2521510"/>
              <a:ext cx="32403" cy="24302"/>
            </a:xfrm>
            <a:custGeom>
              <a:avLst/>
              <a:gdLst>
                <a:gd name="connsiteX0" fmla="*/ 24950 w 32402"/>
                <a:gd name="connsiteY0" fmla="*/ 12151 h 24302"/>
                <a:gd name="connsiteX1" fmla="*/ 12151 w 32402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402" h="24302">
                  <a:moveTo>
                    <a:pt x="24950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2FC25A65-7209-403C-A198-A56524FE7CE0}"/>
                </a:ext>
              </a:extLst>
            </p:cNvPr>
            <p:cNvSpPr/>
            <p:nvPr/>
          </p:nvSpPr>
          <p:spPr>
            <a:xfrm>
              <a:off x="9000747" y="2521510"/>
              <a:ext cx="137711" cy="24302"/>
            </a:xfrm>
            <a:custGeom>
              <a:avLst/>
              <a:gdLst>
                <a:gd name="connsiteX0" fmla="*/ 133580 w 137711"/>
                <a:gd name="connsiteY0" fmla="*/ 12151 h 24302"/>
                <a:gd name="connsiteX1" fmla="*/ 12151 w 137711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7711" h="24302">
                  <a:moveTo>
                    <a:pt x="133580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408B5EC-429F-4AAD-B62D-0C29414513AC}"/>
                </a:ext>
              </a:extLst>
            </p:cNvPr>
            <p:cNvSpPr/>
            <p:nvPr/>
          </p:nvSpPr>
          <p:spPr>
            <a:xfrm>
              <a:off x="9145506" y="2481007"/>
              <a:ext cx="72906" cy="24302"/>
            </a:xfrm>
            <a:custGeom>
              <a:avLst/>
              <a:gdLst>
                <a:gd name="connsiteX0" fmla="*/ 65129 w 72906"/>
                <a:gd name="connsiteY0" fmla="*/ 12151 h 24302"/>
                <a:gd name="connsiteX1" fmla="*/ 12151 w 72906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906" h="24302">
                  <a:moveTo>
                    <a:pt x="65129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C726684-A18A-443B-9171-BDE88DA2EB4F}"/>
                </a:ext>
              </a:extLst>
            </p:cNvPr>
            <p:cNvSpPr/>
            <p:nvPr/>
          </p:nvSpPr>
          <p:spPr>
            <a:xfrm>
              <a:off x="9176855" y="2440504"/>
              <a:ext cx="40503" cy="24302"/>
            </a:xfrm>
            <a:custGeom>
              <a:avLst/>
              <a:gdLst>
                <a:gd name="connsiteX0" fmla="*/ 33780 w 40503"/>
                <a:gd name="connsiteY0" fmla="*/ 12151 h 24302"/>
                <a:gd name="connsiteX1" fmla="*/ 12151 w 40503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03" h="24302">
                  <a:moveTo>
                    <a:pt x="33780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E1794EBE-1F2B-4543-8585-DAB967BD31FC}"/>
                </a:ext>
              </a:extLst>
            </p:cNvPr>
            <p:cNvSpPr/>
            <p:nvPr/>
          </p:nvSpPr>
          <p:spPr>
            <a:xfrm>
              <a:off x="9157981" y="2521510"/>
              <a:ext cx="64805" cy="24302"/>
            </a:xfrm>
            <a:custGeom>
              <a:avLst/>
              <a:gdLst>
                <a:gd name="connsiteX0" fmla="*/ 52654 w 64805"/>
                <a:gd name="connsiteY0" fmla="*/ 12151 h 24302"/>
                <a:gd name="connsiteX1" fmla="*/ 12151 w 64805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05" h="24302">
                  <a:moveTo>
                    <a:pt x="52654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525E518-387F-40C6-B72D-1CAF9361B91B}"/>
                </a:ext>
              </a:extLst>
            </p:cNvPr>
            <p:cNvSpPr/>
            <p:nvPr/>
          </p:nvSpPr>
          <p:spPr>
            <a:xfrm>
              <a:off x="8955464" y="2481007"/>
              <a:ext cx="64805" cy="24302"/>
            </a:xfrm>
            <a:custGeom>
              <a:avLst/>
              <a:gdLst>
                <a:gd name="connsiteX0" fmla="*/ 55652 w 64805"/>
                <a:gd name="connsiteY0" fmla="*/ 12151 h 24302"/>
                <a:gd name="connsiteX1" fmla="*/ 12151 w 64805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805" h="24302">
                  <a:moveTo>
                    <a:pt x="55652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AC03459-9CE8-417F-82FF-E5086A654D41}"/>
                </a:ext>
              </a:extLst>
            </p:cNvPr>
            <p:cNvSpPr/>
            <p:nvPr/>
          </p:nvSpPr>
          <p:spPr>
            <a:xfrm>
              <a:off x="9035418" y="2481007"/>
              <a:ext cx="89107" cy="24302"/>
            </a:xfrm>
            <a:custGeom>
              <a:avLst/>
              <a:gdLst>
                <a:gd name="connsiteX0" fmla="*/ 82708 w 89107"/>
                <a:gd name="connsiteY0" fmla="*/ 12151 h 24302"/>
                <a:gd name="connsiteX1" fmla="*/ 12151 w 89107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9107" h="24302">
                  <a:moveTo>
                    <a:pt x="82708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BE790CF-93F4-42C5-A1C0-A61F9B136DAC}"/>
                </a:ext>
              </a:extLst>
            </p:cNvPr>
            <p:cNvSpPr/>
            <p:nvPr/>
          </p:nvSpPr>
          <p:spPr>
            <a:xfrm>
              <a:off x="9117964" y="2805034"/>
              <a:ext cx="97208" cy="24302"/>
            </a:xfrm>
            <a:custGeom>
              <a:avLst/>
              <a:gdLst>
                <a:gd name="connsiteX0" fmla="*/ 92672 w 97208"/>
                <a:gd name="connsiteY0" fmla="*/ 12151 h 24302"/>
                <a:gd name="connsiteX1" fmla="*/ 12151 w 97208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208" h="24302">
                  <a:moveTo>
                    <a:pt x="92672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B9CDD68-F83B-4523-8AA1-22121F3154C1}"/>
                </a:ext>
              </a:extLst>
            </p:cNvPr>
            <p:cNvSpPr/>
            <p:nvPr/>
          </p:nvSpPr>
          <p:spPr>
            <a:xfrm>
              <a:off x="9023996" y="2805034"/>
              <a:ext cx="72906" cy="24302"/>
            </a:xfrm>
            <a:custGeom>
              <a:avLst/>
              <a:gdLst>
                <a:gd name="connsiteX0" fmla="*/ 66669 w 72906"/>
                <a:gd name="connsiteY0" fmla="*/ 12151 h 24302"/>
                <a:gd name="connsiteX1" fmla="*/ 12151 w 72906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906" h="24302">
                  <a:moveTo>
                    <a:pt x="66669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BD4409A5-FA49-4DE9-AC71-0EAC853DB5D7}"/>
                </a:ext>
              </a:extLst>
            </p:cNvPr>
            <p:cNvSpPr/>
            <p:nvPr/>
          </p:nvSpPr>
          <p:spPr>
            <a:xfrm>
              <a:off x="8955464" y="2440504"/>
              <a:ext cx="210617" cy="24302"/>
            </a:xfrm>
            <a:custGeom>
              <a:avLst/>
              <a:gdLst>
                <a:gd name="connsiteX0" fmla="*/ 200816 w 210617"/>
                <a:gd name="connsiteY0" fmla="*/ 12151 h 24302"/>
                <a:gd name="connsiteX1" fmla="*/ 12151 w 210617"/>
                <a:gd name="connsiteY1" fmla="*/ 12151 h 24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0617" h="24302">
                  <a:moveTo>
                    <a:pt x="200816" y="12151"/>
                  </a:moveTo>
                  <a:lnTo>
                    <a:pt x="12151" y="1215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D602C36-E5E8-46F7-959D-335EEA085C2E}"/>
                </a:ext>
              </a:extLst>
            </p:cNvPr>
            <p:cNvSpPr/>
            <p:nvPr/>
          </p:nvSpPr>
          <p:spPr>
            <a:xfrm>
              <a:off x="8866357" y="2391900"/>
              <a:ext cx="396933" cy="153913"/>
            </a:xfrm>
            <a:custGeom>
              <a:avLst/>
              <a:gdLst>
                <a:gd name="connsiteX0" fmla="*/ 384782 w 396932"/>
                <a:gd name="connsiteY0" fmla="*/ 145650 h 153912"/>
                <a:gd name="connsiteX1" fmla="*/ 384782 w 396932"/>
                <a:gd name="connsiteY1" fmla="*/ 60755 h 153912"/>
                <a:gd name="connsiteX2" fmla="*/ 336178 w 396932"/>
                <a:gd name="connsiteY2" fmla="*/ 12151 h 153912"/>
                <a:gd name="connsiteX3" fmla="*/ 12151 w 396932"/>
                <a:gd name="connsiteY3" fmla="*/ 12151 h 15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6932" h="153912">
                  <a:moveTo>
                    <a:pt x="384782" y="145650"/>
                  </a:moveTo>
                  <a:lnTo>
                    <a:pt x="384782" y="60755"/>
                  </a:lnTo>
                  <a:cubicBezTo>
                    <a:pt x="384782" y="33942"/>
                    <a:pt x="362991" y="12151"/>
                    <a:pt x="336178" y="12151"/>
                  </a:cubicBezTo>
                  <a:lnTo>
                    <a:pt x="12151" y="12151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0ED23C4-DEC6-42E0-B6CD-79316C6D7D15}"/>
                </a:ext>
              </a:extLst>
            </p:cNvPr>
            <p:cNvSpPr/>
            <p:nvPr/>
          </p:nvSpPr>
          <p:spPr>
            <a:xfrm>
              <a:off x="8817753" y="2391900"/>
              <a:ext cx="445537" cy="518443"/>
            </a:xfrm>
            <a:custGeom>
              <a:avLst/>
              <a:gdLst>
                <a:gd name="connsiteX0" fmla="*/ 85057 w 445537"/>
                <a:gd name="connsiteY0" fmla="*/ 141762 h 518443"/>
                <a:gd name="connsiteX1" fmla="*/ 12151 w 445537"/>
                <a:gd name="connsiteY1" fmla="*/ 141762 h 518443"/>
                <a:gd name="connsiteX2" fmla="*/ 12151 w 445537"/>
                <a:gd name="connsiteY2" fmla="*/ 60755 h 518443"/>
                <a:gd name="connsiteX3" fmla="*/ 60755 w 445537"/>
                <a:gd name="connsiteY3" fmla="*/ 12151 h 518443"/>
                <a:gd name="connsiteX4" fmla="*/ 109359 w 445537"/>
                <a:gd name="connsiteY4" fmla="*/ 60755 h 518443"/>
                <a:gd name="connsiteX5" fmla="*/ 109359 w 445537"/>
                <a:gd name="connsiteY5" fmla="*/ 514393 h 518443"/>
                <a:gd name="connsiteX6" fmla="*/ 149862 w 445537"/>
                <a:gd name="connsiteY6" fmla="*/ 473889 h 518443"/>
                <a:gd name="connsiteX7" fmla="*/ 190366 w 445537"/>
                <a:gd name="connsiteY7" fmla="*/ 514393 h 518443"/>
                <a:gd name="connsiteX8" fmla="*/ 230869 w 445537"/>
                <a:gd name="connsiteY8" fmla="*/ 473889 h 518443"/>
                <a:gd name="connsiteX9" fmla="*/ 271373 w 445537"/>
                <a:gd name="connsiteY9" fmla="*/ 514393 h 518443"/>
                <a:gd name="connsiteX10" fmla="*/ 311876 w 445537"/>
                <a:gd name="connsiteY10" fmla="*/ 473889 h 518443"/>
                <a:gd name="connsiteX11" fmla="*/ 352379 w 445537"/>
                <a:gd name="connsiteY11" fmla="*/ 514393 h 518443"/>
                <a:gd name="connsiteX12" fmla="*/ 392883 w 445537"/>
                <a:gd name="connsiteY12" fmla="*/ 473889 h 518443"/>
                <a:gd name="connsiteX13" fmla="*/ 433386 w 445537"/>
                <a:gd name="connsiteY13" fmla="*/ 514393 h 518443"/>
                <a:gd name="connsiteX14" fmla="*/ 433386 w 445537"/>
                <a:gd name="connsiteY14" fmla="*/ 360642 h 518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45537" h="518443">
                  <a:moveTo>
                    <a:pt x="85057" y="141762"/>
                  </a:moveTo>
                  <a:lnTo>
                    <a:pt x="12151" y="141762"/>
                  </a:lnTo>
                  <a:lnTo>
                    <a:pt x="12151" y="60755"/>
                  </a:lnTo>
                  <a:cubicBezTo>
                    <a:pt x="12151" y="33942"/>
                    <a:pt x="33942" y="12151"/>
                    <a:pt x="60755" y="12151"/>
                  </a:cubicBezTo>
                  <a:cubicBezTo>
                    <a:pt x="87568" y="12151"/>
                    <a:pt x="109359" y="33942"/>
                    <a:pt x="109359" y="60755"/>
                  </a:cubicBezTo>
                  <a:lnTo>
                    <a:pt x="109359" y="514393"/>
                  </a:lnTo>
                  <a:lnTo>
                    <a:pt x="149862" y="473889"/>
                  </a:lnTo>
                  <a:lnTo>
                    <a:pt x="190366" y="514393"/>
                  </a:lnTo>
                  <a:lnTo>
                    <a:pt x="230869" y="473889"/>
                  </a:lnTo>
                  <a:lnTo>
                    <a:pt x="271373" y="514393"/>
                  </a:lnTo>
                  <a:lnTo>
                    <a:pt x="311876" y="473889"/>
                  </a:lnTo>
                  <a:lnTo>
                    <a:pt x="352379" y="514393"/>
                  </a:lnTo>
                  <a:lnTo>
                    <a:pt x="392883" y="473889"/>
                  </a:lnTo>
                  <a:lnTo>
                    <a:pt x="433386" y="514393"/>
                  </a:lnTo>
                  <a:lnTo>
                    <a:pt x="433386" y="360642"/>
                  </a:lnTo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DD7F38A5-A5FE-4602-8289-432236C873DA}"/>
                </a:ext>
              </a:extLst>
            </p:cNvPr>
            <p:cNvSpPr/>
            <p:nvPr/>
          </p:nvSpPr>
          <p:spPr>
            <a:xfrm>
              <a:off x="9130763" y="2553913"/>
              <a:ext cx="178215" cy="178215"/>
            </a:xfrm>
            <a:custGeom>
              <a:avLst/>
              <a:gdLst>
                <a:gd name="connsiteX0" fmla="*/ 170114 w 178214"/>
                <a:gd name="connsiteY0" fmla="*/ 91133 h 178214"/>
                <a:gd name="connsiteX1" fmla="*/ 91133 w 178214"/>
                <a:gd name="connsiteY1" fmla="*/ 170114 h 178214"/>
                <a:gd name="connsiteX2" fmla="*/ 12151 w 178214"/>
                <a:gd name="connsiteY2" fmla="*/ 91133 h 178214"/>
                <a:gd name="connsiteX3" fmla="*/ 91133 w 178214"/>
                <a:gd name="connsiteY3" fmla="*/ 12151 h 178214"/>
                <a:gd name="connsiteX4" fmla="*/ 170114 w 178214"/>
                <a:gd name="connsiteY4" fmla="*/ 91133 h 17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214" h="178214">
                  <a:moveTo>
                    <a:pt x="170114" y="91133"/>
                  </a:moveTo>
                  <a:cubicBezTo>
                    <a:pt x="170114" y="134753"/>
                    <a:pt x="134753" y="170114"/>
                    <a:pt x="91133" y="170114"/>
                  </a:cubicBezTo>
                  <a:cubicBezTo>
                    <a:pt x="47513" y="170114"/>
                    <a:pt x="12151" y="134753"/>
                    <a:pt x="12151" y="91133"/>
                  </a:cubicBezTo>
                  <a:cubicBezTo>
                    <a:pt x="12151" y="47512"/>
                    <a:pt x="47513" y="12151"/>
                    <a:pt x="91133" y="12151"/>
                  </a:cubicBezTo>
                  <a:cubicBezTo>
                    <a:pt x="134753" y="12151"/>
                    <a:pt x="170114" y="47512"/>
                    <a:pt x="170114" y="91133"/>
                  </a:cubicBezTo>
                  <a:close/>
                </a:path>
              </a:pathLst>
            </a:custGeom>
            <a:noFill/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08AC4926-DFE7-42D2-A62C-E25E11EE6D79}"/>
                </a:ext>
              </a:extLst>
            </p:cNvPr>
            <p:cNvSpPr/>
            <p:nvPr/>
          </p:nvSpPr>
          <p:spPr>
            <a:xfrm>
              <a:off x="9265558" y="2688708"/>
              <a:ext cx="72906" cy="72906"/>
            </a:xfrm>
            <a:custGeom>
              <a:avLst/>
              <a:gdLst>
                <a:gd name="connsiteX0" fmla="*/ 12151 w 72906"/>
                <a:gd name="connsiteY0" fmla="*/ 12151 h 72906"/>
                <a:gd name="connsiteX1" fmla="*/ 66830 w 72906"/>
                <a:gd name="connsiteY1" fmla="*/ 66831 h 7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906" h="72906">
                  <a:moveTo>
                    <a:pt x="12151" y="12151"/>
                  </a:moveTo>
                  <a:lnTo>
                    <a:pt x="66830" y="66831"/>
                  </a:lnTo>
                </a:path>
              </a:pathLst>
            </a:custGeom>
            <a:ln w="19050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45" name="Group 681">
            <a:extLst>
              <a:ext uri="{FF2B5EF4-FFF2-40B4-BE49-F238E27FC236}">
                <a16:creationId xmlns:a16="http://schemas.microsoft.com/office/drawing/2014/main" id="{3BA503DD-87F8-43FD-B530-0FDC9B7AAA3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6447" y="2237536"/>
            <a:ext cx="352425" cy="363538"/>
            <a:chOff x="3245" y="1587"/>
            <a:chExt cx="222" cy="229"/>
          </a:xfrm>
          <a:solidFill>
            <a:schemeClr val="bg1"/>
          </a:solidFill>
        </p:grpSpPr>
        <p:sp>
          <p:nvSpPr>
            <p:cNvPr id="46" name="Oval 682">
              <a:extLst>
                <a:ext uri="{FF2B5EF4-FFF2-40B4-BE49-F238E27FC236}">
                  <a16:creationId xmlns:a16="http://schemas.microsoft.com/office/drawing/2014/main" id="{AC204931-B4A3-40FA-AFEF-D0347E350D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6" y="1765"/>
              <a:ext cx="9" cy="9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Oval 683">
              <a:extLst>
                <a:ext uri="{FF2B5EF4-FFF2-40B4-BE49-F238E27FC236}">
                  <a16:creationId xmlns:a16="http://schemas.microsoft.com/office/drawing/2014/main" id="{12309AFA-4AE3-4A29-9A50-CF11CAB311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7" y="1711"/>
              <a:ext cx="9" cy="9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684">
              <a:extLst>
                <a:ext uri="{FF2B5EF4-FFF2-40B4-BE49-F238E27FC236}">
                  <a16:creationId xmlns:a16="http://schemas.microsoft.com/office/drawing/2014/main" id="{FF54D06E-10DA-4FC5-B3FE-FBE0434AE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" y="1653"/>
              <a:ext cx="33" cy="67"/>
            </a:xfrm>
            <a:custGeom>
              <a:avLst/>
              <a:gdLst>
                <a:gd name="T0" fmla="*/ 552 w 912"/>
                <a:gd name="T1" fmla="*/ 813 h 1877"/>
                <a:gd name="T2" fmla="*/ 480 w 912"/>
                <a:gd name="T3" fmla="*/ 813 h 1877"/>
                <a:gd name="T4" fmla="*/ 433 w 912"/>
                <a:gd name="T5" fmla="*/ 813 h 1877"/>
                <a:gd name="T6" fmla="*/ 360 w 912"/>
                <a:gd name="T7" fmla="*/ 813 h 1877"/>
                <a:gd name="T8" fmla="*/ 250 w 912"/>
                <a:gd name="T9" fmla="*/ 703 h 1877"/>
                <a:gd name="T10" fmla="*/ 250 w 912"/>
                <a:gd name="T11" fmla="*/ 592 h 1877"/>
                <a:gd name="T12" fmla="*/ 360 w 912"/>
                <a:gd name="T13" fmla="*/ 482 h 1877"/>
                <a:gd name="T14" fmla="*/ 573 w 912"/>
                <a:gd name="T15" fmla="*/ 482 h 1877"/>
                <a:gd name="T16" fmla="*/ 662 w 912"/>
                <a:gd name="T17" fmla="*/ 571 h 1877"/>
                <a:gd name="T18" fmla="*/ 787 w 912"/>
                <a:gd name="T19" fmla="*/ 696 h 1877"/>
                <a:gd name="T20" fmla="*/ 912 w 912"/>
                <a:gd name="T21" fmla="*/ 571 h 1877"/>
                <a:gd name="T22" fmla="*/ 581 w 912"/>
                <a:gd name="T23" fmla="*/ 232 h 1877"/>
                <a:gd name="T24" fmla="*/ 581 w 912"/>
                <a:gd name="T25" fmla="*/ 125 h 1877"/>
                <a:gd name="T26" fmla="*/ 456 w 912"/>
                <a:gd name="T27" fmla="*/ 0 h 1877"/>
                <a:gd name="T28" fmla="*/ 331 w 912"/>
                <a:gd name="T29" fmla="*/ 125 h 1877"/>
                <a:gd name="T30" fmla="*/ 331 w 912"/>
                <a:gd name="T31" fmla="*/ 233 h 1877"/>
                <a:gd name="T32" fmla="*/ 0 w 912"/>
                <a:gd name="T33" fmla="*/ 592 h 1877"/>
                <a:gd name="T34" fmla="*/ 0 w 912"/>
                <a:gd name="T35" fmla="*/ 703 h 1877"/>
                <a:gd name="T36" fmla="*/ 360 w 912"/>
                <a:gd name="T37" fmla="*/ 1063 h 1877"/>
                <a:gd name="T38" fmla="*/ 433 w 912"/>
                <a:gd name="T39" fmla="*/ 1063 h 1877"/>
                <a:gd name="T40" fmla="*/ 480 w 912"/>
                <a:gd name="T41" fmla="*/ 1063 h 1877"/>
                <a:gd name="T42" fmla="*/ 552 w 912"/>
                <a:gd name="T43" fmla="*/ 1063 h 1877"/>
                <a:gd name="T44" fmla="*/ 662 w 912"/>
                <a:gd name="T45" fmla="*/ 1173 h 1877"/>
                <a:gd name="T46" fmla="*/ 662 w 912"/>
                <a:gd name="T47" fmla="*/ 1285 h 1877"/>
                <a:gd name="T48" fmla="*/ 552 w 912"/>
                <a:gd name="T49" fmla="*/ 1395 h 1877"/>
                <a:gd name="T50" fmla="*/ 339 w 912"/>
                <a:gd name="T51" fmla="*/ 1395 h 1877"/>
                <a:gd name="T52" fmla="*/ 250 w 912"/>
                <a:gd name="T53" fmla="*/ 1306 h 1877"/>
                <a:gd name="T54" fmla="*/ 125 w 912"/>
                <a:gd name="T55" fmla="*/ 1181 h 1877"/>
                <a:gd name="T56" fmla="*/ 0 w 912"/>
                <a:gd name="T57" fmla="*/ 1306 h 1877"/>
                <a:gd name="T58" fmla="*/ 331 w 912"/>
                <a:gd name="T59" fmla="*/ 1645 h 1877"/>
                <a:gd name="T60" fmla="*/ 331 w 912"/>
                <a:gd name="T61" fmla="*/ 1752 h 1877"/>
                <a:gd name="T62" fmla="*/ 456 w 912"/>
                <a:gd name="T63" fmla="*/ 1877 h 1877"/>
                <a:gd name="T64" fmla="*/ 581 w 912"/>
                <a:gd name="T65" fmla="*/ 1752 h 1877"/>
                <a:gd name="T66" fmla="*/ 581 w 912"/>
                <a:gd name="T67" fmla="*/ 1644 h 1877"/>
                <a:gd name="T68" fmla="*/ 912 w 912"/>
                <a:gd name="T69" fmla="*/ 1285 h 1877"/>
                <a:gd name="T70" fmla="*/ 912 w 912"/>
                <a:gd name="T71" fmla="*/ 1173 h 1877"/>
                <a:gd name="T72" fmla="*/ 552 w 912"/>
                <a:gd name="T73" fmla="*/ 813 h 1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12" h="1877">
                  <a:moveTo>
                    <a:pt x="552" y="813"/>
                  </a:moveTo>
                  <a:lnTo>
                    <a:pt x="480" y="813"/>
                  </a:lnTo>
                  <a:lnTo>
                    <a:pt x="433" y="813"/>
                  </a:lnTo>
                  <a:lnTo>
                    <a:pt x="360" y="813"/>
                  </a:lnTo>
                  <a:cubicBezTo>
                    <a:pt x="299" y="813"/>
                    <a:pt x="250" y="764"/>
                    <a:pt x="250" y="703"/>
                  </a:cubicBezTo>
                  <a:lnTo>
                    <a:pt x="250" y="592"/>
                  </a:lnTo>
                  <a:cubicBezTo>
                    <a:pt x="250" y="531"/>
                    <a:pt x="299" y="482"/>
                    <a:pt x="360" y="482"/>
                  </a:cubicBezTo>
                  <a:lnTo>
                    <a:pt x="573" y="482"/>
                  </a:lnTo>
                  <a:cubicBezTo>
                    <a:pt x="622" y="482"/>
                    <a:pt x="662" y="522"/>
                    <a:pt x="662" y="571"/>
                  </a:cubicBezTo>
                  <a:cubicBezTo>
                    <a:pt x="662" y="640"/>
                    <a:pt x="718" y="696"/>
                    <a:pt x="787" y="696"/>
                  </a:cubicBezTo>
                  <a:cubicBezTo>
                    <a:pt x="856" y="696"/>
                    <a:pt x="912" y="640"/>
                    <a:pt x="912" y="571"/>
                  </a:cubicBezTo>
                  <a:cubicBezTo>
                    <a:pt x="912" y="387"/>
                    <a:pt x="764" y="236"/>
                    <a:pt x="581" y="232"/>
                  </a:cubicBezTo>
                  <a:lnTo>
                    <a:pt x="581" y="125"/>
                  </a:lnTo>
                  <a:cubicBezTo>
                    <a:pt x="581" y="56"/>
                    <a:pt x="525" y="0"/>
                    <a:pt x="456" y="0"/>
                  </a:cubicBezTo>
                  <a:cubicBezTo>
                    <a:pt x="387" y="0"/>
                    <a:pt x="331" y="56"/>
                    <a:pt x="331" y="125"/>
                  </a:cubicBezTo>
                  <a:lnTo>
                    <a:pt x="331" y="233"/>
                  </a:lnTo>
                  <a:cubicBezTo>
                    <a:pt x="146" y="248"/>
                    <a:pt x="0" y="403"/>
                    <a:pt x="0" y="592"/>
                  </a:cubicBezTo>
                  <a:lnTo>
                    <a:pt x="0" y="703"/>
                  </a:lnTo>
                  <a:cubicBezTo>
                    <a:pt x="0" y="902"/>
                    <a:pt x="162" y="1063"/>
                    <a:pt x="360" y="1063"/>
                  </a:cubicBezTo>
                  <a:lnTo>
                    <a:pt x="433" y="1063"/>
                  </a:lnTo>
                  <a:lnTo>
                    <a:pt x="480" y="1063"/>
                  </a:lnTo>
                  <a:lnTo>
                    <a:pt x="552" y="1063"/>
                  </a:lnTo>
                  <a:cubicBezTo>
                    <a:pt x="613" y="1063"/>
                    <a:pt x="662" y="1113"/>
                    <a:pt x="662" y="1173"/>
                  </a:cubicBezTo>
                  <a:lnTo>
                    <a:pt x="662" y="1285"/>
                  </a:lnTo>
                  <a:cubicBezTo>
                    <a:pt x="662" y="1346"/>
                    <a:pt x="613" y="1395"/>
                    <a:pt x="552" y="1395"/>
                  </a:cubicBezTo>
                  <a:lnTo>
                    <a:pt x="339" y="1395"/>
                  </a:lnTo>
                  <a:cubicBezTo>
                    <a:pt x="290" y="1395"/>
                    <a:pt x="250" y="1355"/>
                    <a:pt x="250" y="1306"/>
                  </a:cubicBezTo>
                  <a:cubicBezTo>
                    <a:pt x="250" y="1237"/>
                    <a:pt x="194" y="1181"/>
                    <a:pt x="125" y="1181"/>
                  </a:cubicBezTo>
                  <a:cubicBezTo>
                    <a:pt x="56" y="1181"/>
                    <a:pt x="0" y="1237"/>
                    <a:pt x="0" y="1306"/>
                  </a:cubicBezTo>
                  <a:cubicBezTo>
                    <a:pt x="0" y="1490"/>
                    <a:pt x="148" y="1640"/>
                    <a:pt x="331" y="1645"/>
                  </a:cubicBezTo>
                  <a:lnTo>
                    <a:pt x="331" y="1752"/>
                  </a:lnTo>
                  <a:cubicBezTo>
                    <a:pt x="331" y="1821"/>
                    <a:pt x="387" y="1877"/>
                    <a:pt x="456" y="1877"/>
                  </a:cubicBezTo>
                  <a:cubicBezTo>
                    <a:pt x="525" y="1877"/>
                    <a:pt x="581" y="1821"/>
                    <a:pt x="581" y="1752"/>
                  </a:cubicBezTo>
                  <a:lnTo>
                    <a:pt x="581" y="1644"/>
                  </a:lnTo>
                  <a:cubicBezTo>
                    <a:pt x="766" y="1629"/>
                    <a:pt x="912" y="1474"/>
                    <a:pt x="912" y="1285"/>
                  </a:cubicBezTo>
                  <a:lnTo>
                    <a:pt x="912" y="1173"/>
                  </a:lnTo>
                  <a:cubicBezTo>
                    <a:pt x="912" y="975"/>
                    <a:pt x="751" y="813"/>
                    <a:pt x="552" y="8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685">
              <a:extLst>
                <a:ext uri="{FF2B5EF4-FFF2-40B4-BE49-F238E27FC236}">
                  <a16:creationId xmlns:a16="http://schemas.microsoft.com/office/drawing/2014/main" id="{25D37FEC-8D79-4962-AF60-01ACD93F84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45" y="1587"/>
              <a:ext cx="222" cy="229"/>
            </a:xfrm>
            <a:custGeom>
              <a:avLst/>
              <a:gdLst>
                <a:gd name="T0" fmla="*/ 5875 w 6193"/>
                <a:gd name="T1" fmla="*/ 3990 h 6404"/>
                <a:gd name="T2" fmla="*/ 5508 w 6193"/>
                <a:gd name="T3" fmla="*/ 3999 h 6404"/>
                <a:gd name="T4" fmla="*/ 4660 w 6193"/>
                <a:gd name="T5" fmla="*/ 4528 h 6404"/>
                <a:gd name="T6" fmla="*/ 5612 w 6193"/>
                <a:gd name="T7" fmla="*/ 4226 h 6404"/>
                <a:gd name="T8" fmla="*/ 5910 w 6193"/>
                <a:gd name="T9" fmla="*/ 4343 h 6404"/>
                <a:gd name="T10" fmla="*/ 5794 w 6193"/>
                <a:gd name="T11" fmla="*/ 4642 h 6404"/>
                <a:gd name="T12" fmla="*/ 3392 w 6193"/>
                <a:gd name="T13" fmla="*/ 5335 h 6404"/>
                <a:gd name="T14" fmla="*/ 1798 w 6193"/>
                <a:gd name="T15" fmla="*/ 5019 h 6404"/>
                <a:gd name="T16" fmla="*/ 1354 w 6193"/>
                <a:gd name="T17" fmla="*/ 4033 h 6404"/>
                <a:gd name="T18" fmla="*/ 2874 w 6193"/>
                <a:gd name="T19" fmla="*/ 3735 h 6404"/>
                <a:gd name="T20" fmla="*/ 4186 w 6193"/>
                <a:gd name="T21" fmla="*/ 4435 h 6404"/>
                <a:gd name="T22" fmla="*/ 3004 w 6193"/>
                <a:gd name="T23" fmla="*/ 4255 h 6404"/>
                <a:gd name="T24" fmla="*/ 2924 w 6193"/>
                <a:gd name="T25" fmla="*/ 4492 h 6404"/>
                <a:gd name="T26" fmla="*/ 3988 w 6193"/>
                <a:gd name="T27" fmla="*/ 4826 h 6404"/>
                <a:gd name="T28" fmla="*/ 4146 w 6193"/>
                <a:gd name="T29" fmla="*/ 3936 h 6404"/>
                <a:gd name="T30" fmla="*/ 2717 w 6193"/>
                <a:gd name="T31" fmla="*/ 3434 h 6404"/>
                <a:gd name="T32" fmla="*/ 3953 w 6193"/>
                <a:gd name="T33" fmla="*/ 1507 h 6404"/>
                <a:gd name="T34" fmla="*/ 5645 w 6193"/>
                <a:gd name="T35" fmla="*/ 2743 h 6404"/>
                <a:gd name="T36" fmla="*/ 5770 w 6193"/>
                <a:gd name="T37" fmla="*/ 3194 h 6404"/>
                <a:gd name="T38" fmla="*/ 5895 w 6193"/>
                <a:gd name="T39" fmla="*/ 2743 h 6404"/>
                <a:gd name="T40" fmla="*/ 4695 w 6193"/>
                <a:gd name="T41" fmla="*/ 908 h 6404"/>
                <a:gd name="T42" fmla="*/ 5022 w 6193"/>
                <a:gd name="T43" fmla="*/ 267 h 6404"/>
                <a:gd name="T44" fmla="*/ 4567 w 6193"/>
                <a:gd name="T45" fmla="*/ 15 h 6404"/>
                <a:gd name="T46" fmla="*/ 4186 w 6193"/>
                <a:gd name="T47" fmla="*/ 115 h 6404"/>
                <a:gd name="T48" fmla="*/ 3839 w 6193"/>
                <a:gd name="T49" fmla="*/ 12 h 6404"/>
                <a:gd name="T50" fmla="*/ 3361 w 6193"/>
                <a:gd name="T51" fmla="*/ 243 h 6404"/>
                <a:gd name="T52" fmla="*/ 3681 w 6193"/>
                <a:gd name="T53" fmla="*/ 907 h 6404"/>
                <a:gd name="T54" fmla="*/ 2467 w 6193"/>
                <a:gd name="T55" fmla="*/ 2743 h 6404"/>
                <a:gd name="T56" fmla="*/ 1861 w 6193"/>
                <a:gd name="T57" fmla="*/ 3535 h 6404"/>
                <a:gd name="T58" fmla="*/ 1103 w 6193"/>
                <a:gd name="T59" fmla="*/ 3689 h 6404"/>
                <a:gd name="T60" fmla="*/ 75 w 6193"/>
                <a:gd name="T61" fmla="*/ 4041 h 6404"/>
                <a:gd name="T62" fmla="*/ 0 w 6193"/>
                <a:gd name="T63" fmla="*/ 6279 h 6404"/>
                <a:gd name="T64" fmla="*/ 125 w 6193"/>
                <a:gd name="T65" fmla="*/ 6404 h 6404"/>
                <a:gd name="T66" fmla="*/ 1718 w 6193"/>
                <a:gd name="T67" fmla="*/ 5615 h 6404"/>
                <a:gd name="T68" fmla="*/ 1889 w 6193"/>
                <a:gd name="T69" fmla="*/ 5253 h 6404"/>
                <a:gd name="T70" fmla="*/ 2691 w 6193"/>
                <a:gd name="T71" fmla="*/ 5266 h 6404"/>
                <a:gd name="T72" fmla="*/ 4284 w 6193"/>
                <a:gd name="T73" fmla="*/ 5582 h 6404"/>
                <a:gd name="T74" fmla="*/ 6147 w 6193"/>
                <a:gd name="T75" fmla="*/ 4606 h 6404"/>
                <a:gd name="T76" fmla="*/ 4445 w 6193"/>
                <a:gd name="T77" fmla="*/ 1257 h 6404"/>
                <a:gd name="T78" fmla="*/ 3953 w 6193"/>
                <a:gd name="T79" fmla="*/ 1257 h 6404"/>
                <a:gd name="T80" fmla="*/ 3931 w 6193"/>
                <a:gd name="T81" fmla="*/ 1000 h 6404"/>
                <a:gd name="T82" fmla="*/ 4445 w 6193"/>
                <a:gd name="T83" fmla="*/ 1257 h 6404"/>
                <a:gd name="T84" fmla="*/ 3883 w 6193"/>
                <a:gd name="T85" fmla="*/ 263 h 6404"/>
                <a:gd name="T86" fmla="*/ 4226 w 6193"/>
                <a:gd name="T87" fmla="*/ 366 h 6404"/>
                <a:gd name="T88" fmla="*/ 4725 w 6193"/>
                <a:gd name="T89" fmla="*/ 361 h 6404"/>
                <a:gd name="T90" fmla="*/ 3879 w 6193"/>
                <a:gd name="T91" fmla="*/ 749 h 6404"/>
                <a:gd name="T92" fmla="*/ 1613 w 6193"/>
                <a:gd name="T93" fmla="*/ 5387 h 6404"/>
                <a:gd name="T94" fmla="*/ 250 w 6193"/>
                <a:gd name="T95" fmla="*/ 6076 h 6404"/>
                <a:gd name="T96" fmla="*/ 602 w 6193"/>
                <a:gd name="T97" fmla="*/ 5397 h 6404"/>
                <a:gd name="T98" fmla="*/ 492 w 6193"/>
                <a:gd name="T99" fmla="*/ 5172 h 6404"/>
                <a:gd name="T100" fmla="*/ 250 w 6193"/>
                <a:gd name="T101" fmla="*/ 4238 h 6404"/>
                <a:gd name="T102" fmla="*/ 1013 w 6193"/>
                <a:gd name="T103" fmla="*/ 3923 h 6404"/>
                <a:gd name="T104" fmla="*/ 1074 w 6193"/>
                <a:gd name="T105" fmla="*/ 4019 h 6404"/>
                <a:gd name="T106" fmla="*/ 1075 w 6193"/>
                <a:gd name="T107" fmla="*/ 4019 h 6404"/>
                <a:gd name="T108" fmla="*/ 1613 w 6193"/>
                <a:gd name="T109" fmla="*/ 5387 h 6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193" h="6404">
                  <a:moveTo>
                    <a:pt x="6139" y="4242"/>
                  </a:moveTo>
                  <a:cubicBezTo>
                    <a:pt x="6087" y="4125"/>
                    <a:pt x="5994" y="4036"/>
                    <a:pt x="5875" y="3990"/>
                  </a:cubicBezTo>
                  <a:cubicBezTo>
                    <a:pt x="5756" y="3944"/>
                    <a:pt x="5627" y="3947"/>
                    <a:pt x="5510" y="3998"/>
                  </a:cubicBezTo>
                  <a:cubicBezTo>
                    <a:pt x="5509" y="3998"/>
                    <a:pt x="5509" y="3999"/>
                    <a:pt x="5508" y="3999"/>
                  </a:cubicBezTo>
                  <a:lnTo>
                    <a:pt x="4721" y="4362"/>
                  </a:lnTo>
                  <a:cubicBezTo>
                    <a:pt x="4658" y="4391"/>
                    <a:pt x="4631" y="4465"/>
                    <a:pt x="4660" y="4528"/>
                  </a:cubicBezTo>
                  <a:cubicBezTo>
                    <a:pt x="4689" y="4591"/>
                    <a:pt x="4763" y="4618"/>
                    <a:pt x="4826" y="4589"/>
                  </a:cubicBezTo>
                  <a:lnTo>
                    <a:pt x="5612" y="4226"/>
                  </a:lnTo>
                  <a:cubicBezTo>
                    <a:pt x="5667" y="4202"/>
                    <a:pt x="5728" y="4201"/>
                    <a:pt x="5785" y="4223"/>
                  </a:cubicBezTo>
                  <a:cubicBezTo>
                    <a:pt x="5841" y="4245"/>
                    <a:pt x="5886" y="4287"/>
                    <a:pt x="5910" y="4343"/>
                  </a:cubicBezTo>
                  <a:cubicBezTo>
                    <a:pt x="5935" y="4398"/>
                    <a:pt x="5936" y="4460"/>
                    <a:pt x="5914" y="4516"/>
                  </a:cubicBezTo>
                  <a:cubicBezTo>
                    <a:pt x="5892" y="4573"/>
                    <a:pt x="5850" y="4617"/>
                    <a:pt x="5794" y="4642"/>
                  </a:cubicBezTo>
                  <a:lnTo>
                    <a:pt x="4183" y="5353"/>
                  </a:lnTo>
                  <a:cubicBezTo>
                    <a:pt x="3929" y="5465"/>
                    <a:pt x="3640" y="5459"/>
                    <a:pt x="3392" y="5335"/>
                  </a:cubicBezTo>
                  <a:lnTo>
                    <a:pt x="2802" y="5042"/>
                  </a:lnTo>
                  <a:cubicBezTo>
                    <a:pt x="2486" y="4885"/>
                    <a:pt x="2121" y="4877"/>
                    <a:pt x="1798" y="5019"/>
                  </a:cubicBezTo>
                  <a:lnTo>
                    <a:pt x="1791" y="5023"/>
                  </a:lnTo>
                  <a:lnTo>
                    <a:pt x="1354" y="4033"/>
                  </a:lnTo>
                  <a:lnTo>
                    <a:pt x="1962" y="3764"/>
                  </a:lnTo>
                  <a:cubicBezTo>
                    <a:pt x="2252" y="3636"/>
                    <a:pt x="2576" y="3626"/>
                    <a:pt x="2874" y="3735"/>
                  </a:cubicBezTo>
                  <a:lnTo>
                    <a:pt x="4060" y="4171"/>
                  </a:lnTo>
                  <a:cubicBezTo>
                    <a:pt x="4166" y="4209"/>
                    <a:pt x="4223" y="4328"/>
                    <a:pt x="4186" y="4435"/>
                  </a:cubicBezTo>
                  <a:cubicBezTo>
                    <a:pt x="4149" y="4544"/>
                    <a:pt x="4030" y="4602"/>
                    <a:pt x="3921" y="4565"/>
                  </a:cubicBezTo>
                  <a:lnTo>
                    <a:pt x="3004" y="4255"/>
                  </a:lnTo>
                  <a:cubicBezTo>
                    <a:pt x="2939" y="4233"/>
                    <a:pt x="2868" y="4268"/>
                    <a:pt x="2845" y="4333"/>
                  </a:cubicBezTo>
                  <a:cubicBezTo>
                    <a:pt x="2823" y="4399"/>
                    <a:pt x="2858" y="4470"/>
                    <a:pt x="2924" y="4492"/>
                  </a:cubicBezTo>
                  <a:lnTo>
                    <a:pt x="3841" y="4802"/>
                  </a:lnTo>
                  <a:cubicBezTo>
                    <a:pt x="3890" y="4818"/>
                    <a:pt x="3939" y="4826"/>
                    <a:pt x="3988" y="4826"/>
                  </a:cubicBezTo>
                  <a:cubicBezTo>
                    <a:pt x="4179" y="4826"/>
                    <a:pt x="4358" y="4706"/>
                    <a:pt x="4423" y="4516"/>
                  </a:cubicBezTo>
                  <a:cubicBezTo>
                    <a:pt x="4503" y="4281"/>
                    <a:pt x="4379" y="4021"/>
                    <a:pt x="4146" y="3936"/>
                  </a:cubicBezTo>
                  <a:lnTo>
                    <a:pt x="2960" y="3500"/>
                  </a:lnTo>
                  <a:cubicBezTo>
                    <a:pt x="2881" y="3471"/>
                    <a:pt x="2799" y="3449"/>
                    <a:pt x="2717" y="3434"/>
                  </a:cubicBezTo>
                  <a:lnTo>
                    <a:pt x="2717" y="2743"/>
                  </a:lnTo>
                  <a:cubicBezTo>
                    <a:pt x="2717" y="2062"/>
                    <a:pt x="3272" y="1507"/>
                    <a:pt x="3953" y="1507"/>
                  </a:cubicBezTo>
                  <a:lnTo>
                    <a:pt x="4409" y="1507"/>
                  </a:lnTo>
                  <a:cubicBezTo>
                    <a:pt x="5091" y="1507"/>
                    <a:pt x="5645" y="2062"/>
                    <a:pt x="5645" y="2743"/>
                  </a:cubicBezTo>
                  <a:lnTo>
                    <a:pt x="5645" y="3069"/>
                  </a:lnTo>
                  <a:cubicBezTo>
                    <a:pt x="5645" y="3138"/>
                    <a:pt x="5701" y="3194"/>
                    <a:pt x="5770" y="3194"/>
                  </a:cubicBezTo>
                  <a:cubicBezTo>
                    <a:pt x="5839" y="3194"/>
                    <a:pt x="5895" y="3138"/>
                    <a:pt x="5895" y="3069"/>
                  </a:cubicBezTo>
                  <a:lnTo>
                    <a:pt x="5895" y="2743"/>
                  </a:lnTo>
                  <a:cubicBezTo>
                    <a:pt x="5895" y="2021"/>
                    <a:pt x="5378" y="1418"/>
                    <a:pt x="4695" y="1285"/>
                  </a:cubicBezTo>
                  <a:lnTo>
                    <a:pt x="4695" y="908"/>
                  </a:lnTo>
                  <a:lnTo>
                    <a:pt x="5011" y="368"/>
                  </a:lnTo>
                  <a:cubicBezTo>
                    <a:pt x="5029" y="338"/>
                    <a:pt x="5033" y="301"/>
                    <a:pt x="5022" y="267"/>
                  </a:cubicBezTo>
                  <a:cubicBezTo>
                    <a:pt x="5011" y="233"/>
                    <a:pt x="4987" y="206"/>
                    <a:pt x="4955" y="191"/>
                  </a:cubicBezTo>
                  <a:lnTo>
                    <a:pt x="4567" y="15"/>
                  </a:lnTo>
                  <a:cubicBezTo>
                    <a:pt x="4537" y="2"/>
                    <a:pt x="4504" y="0"/>
                    <a:pt x="4473" y="11"/>
                  </a:cubicBezTo>
                  <a:lnTo>
                    <a:pt x="4186" y="115"/>
                  </a:lnTo>
                  <a:lnTo>
                    <a:pt x="3931" y="13"/>
                  </a:lnTo>
                  <a:cubicBezTo>
                    <a:pt x="3901" y="1"/>
                    <a:pt x="3869" y="1"/>
                    <a:pt x="3839" y="12"/>
                  </a:cubicBezTo>
                  <a:lnTo>
                    <a:pt x="3434" y="169"/>
                  </a:lnTo>
                  <a:cubicBezTo>
                    <a:pt x="3400" y="182"/>
                    <a:pt x="3374" y="209"/>
                    <a:pt x="3361" y="243"/>
                  </a:cubicBezTo>
                  <a:cubicBezTo>
                    <a:pt x="3349" y="277"/>
                    <a:pt x="3352" y="314"/>
                    <a:pt x="3370" y="346"/>
                  </a:cubicBezTo>
                  <a:lnTo>
                    <a:pt x="3681" y="907"/>
                  </a:lnTo>
                  <a:lnTo>
                    <a:pt x="3681" y="1282"/>
                  </a:lnTo>
                  <a:cubicBezTo>
                    <a:pt x="2991" y="1411"/>
                    <a:pt x="2467" y="2017"/>
                    <a:pt x="2467" y="2743"/>
                  </a:cubicBezTo>
                  <a:lnTo>
                    <a:pt x="2467" y="3410"/>
                  </a:lnTo>
                  <a:cubicBezTo>
                    <a:pt x="2261" y="3408"/>
                    <a:pt x="2054" y="3450"/>
                    <a:pt x="1861" y="3535"/>
                  </a:cubicBezTo>
                  <a:lnTo>
                    <a:pt x="1248" y="3806"/>
                  </a:lnTo>
                  <a:cubicBezTo>
                    <a:pt x="1213" y="3753"/>
                    <a:pt x="1163" y="3713"/>
                    <a:pt x="1103" y="3689"/>
                  </a:cubicBezTo>
                  <a:cubicBezTo>
                    <a:pt x="1026" y="3660"/>
                    <a:pt x="942" y="3661"/>
                    <a:pt x="866" y="3695"/>
                  </a:cubicBezTo>
                  <a:lnTo>
                    <a:pt x="75" y="4041"/>
                  </a:lnTo>
                  <a:cubicBezTo>
                    <a:pt x="30" y="4061"/>
                    <a:pt x="0" y="4106"/>
                    <a:pt x="0" y="4156"/>
                  </a:cubicBezTo>
                  <a:lnTo>
                    <a:pt x="0" y="6279"/>
                  </a:lnTo>
                  <a:cubicBezTo>
                    <a:pt x="0" y="6322"/>
                    <a:pt x="23" y="6363"/>
                    <a:pt x="60" y="6385"/>
                  </a:cubicBezTo>
                  <a:cubicBezTo>
                    <a:pt x="80" y="6398"/>
                    <a:pt x="103" y="6404"/>
                    <a:pt x="125" y="6404"/>
                  </a:cubicBezTo>
                  <a:cubicBezTo>
                    <a:pt x="145" y="6404"/>
                    <a:pt x="164" y="6400"/>
                    <a:pt x="182" y="6391"/>
                  </a:cubicBezTo>
                  <a:lnTo>
                    <a:pt x="1718" y="5615"/>
                  </a:lnTo>
                  <a:cubicBezTo>
                    <a:pt x="1792" y="5581"/>
                    <a:pt x="1849" y="5521"/>
                    <a:pt x="1878" y="5445"/>
                  </a:cubicBezTo>
                  <a:cubicBezTo>
                    <a:pt x="1902" y="5383"/>
                    <a:pt x="1906" y="5316"/>
                    <a:pt x="1889" y="5253"/>
                  </a:cubicBezTo>
                  <a:lnTo>
                    <a:pt x="1899" y="5248"/>
                  </a:lnTo>
                  <a:cubicBezTo>
                    <a:pt x="2153" y="5136"/>
                    <a:pt x="2442" y="5142"/>
                    <a:pt x="2691" y="5266"/>
                  </a:cubicBezTo>
                  <a:lnTo>
                    <a:pt x="3280" y="5559"/>
                  </a:lnTo>
                  <a:cubicBezTo>
                    <a:pt x="3596" y="5716"/>
                    <a:pt x="3962" y="5724"/>
                    <a:pt x="4284" y="5582"/>
                  </a:cubicBezTo>
                  <a:lnTo>
                    <a:pt x="5895" y="4870"/>
                  </a:lnTo>
                  <a:cubicBezTo>
                    <a:pt x="6012" y="4819"/>
                    <a:pt x="6101" y="4725"/>
                    <a:pt x="6147" y="4606"/>
                  </a:cubicBezTo>
                  <a:cubicBezTo>
                    <a:pt x="6193" y="4488"/>
                    <a:pt x="6190" y="4358"/>
                    <a:pt x="6139" y="4242"/>
                  </a:cubicBezTo>
                  <a:close/>
                  <a:moveTo>
                    <a:pt x="4445" y="1257"/>
                  </a:moveTo>
                  <a:lnTo>
                    <a:pt x="4409" y="1257"/>
                  </a:lnTo>
                  <a:lnTo>
                    <a:pt x="3953" y="1257"/>
                  </a:lnTo>
                  <a:lnTo>
                    <a:pt x="3931" y="1257"/>
                  </a:lnTo>
                  <a:lnTo>
                    <a:pt x="3931" y="1000"/>
                  </a:lnTo>
                  <a:lnTo>
                    <a:pt x="4445" y="1000"/>
                  </a:lnTo>
                  <a:lnTo>
                    <a:pt x="4445" y="1257"/>
                  </a:lnTo>
                  <a:close/>
                  <a:moveTo>
                    <a:pt x="3658" y="350"/>
                  </a:moveTo>
                  <a:lnTo>
                    <a:pt x="3883" y="263"/>
                  </a:lnTo>
                  <a:lnTo>
                    <a:pt x="4137" y="365"/>
                  </a:lnTo>
                  <a:cubicBezTo>
                    <a:pt x="4165" y="376"/>
                    <a:pt x="4197" y="377"/>
                    <a:pt x="4226" y="366"/>
                  </a:cubicBezTo>
                  <a:lnTo>
                    <a:pt x="4510" y="264"/>
                  </a:lnTo>
                  <a:lnTo>
                    <a:pt x="4725" y="361"/>
                  </a:lnTo>
                  <a:lnTo>
                    <a:pt x="4498" y="749"/>
                  </a:lnTo>
                  <a:lnTo>
                    <a:pt x="3879" y="749"/>
                  </a:lnTo>
                  <a:lnTo>
                    <a:pt x="3658" y="350"/>
                  </a:lnTo>
                  <a:close/>
                  <a:moveTo>
                    <a:pt x="1613" y="5387"/>
                  </a:moveTo>
                  <a:cubicBezTo>
                    <a:pt x="1611" y="5388"/>
                    <a:pt x="1609" y="5389"/>
                    <a:pt x="1607" y="5390"/>
                  </a:cubicBezTo>
                  <a:lnTo>
                    <a:pt x="250" y="6076"/>
                  </a:lnTo>
                  <a:lnTo>
                    <a:pt x="250" y="5569"/>
                  </a:lnTo>
                  <a:lnTo>
                    <a:pt x="602" y="5397"/>
                  </a:lnTo>
                  <a:cubicBezTo>
                    <a:pt x="664" y="5366"/>
                    <a:pt x="689" y="5291"/>
                    <a:pt x="659" y="5229"/>
                  </a:cubicBezTo>
                  <a:cubicBezTo>
                    <a:pt x="628" y="5167"/>
                    <a:pt x="554" y="5142"/>
                    <a:pt x="492" y="5172"/>
                  </a:cubicBezTo>
                  <a:lnTo>
                    <a:pt x="250" y="5291"/>
                  </a:lnTo>
                  <a:lnTo>
                    <a:pt x="250" y="4238"/>
                  </a:lnTo>
                  <a:lnTo>
                    <a:pt x="967" y="3924"/>
                  </a:lnTo>
                  <a:cubicBezTo>
                    <a:pt x="987" y="3915"/>
                    <a:pt x="1004" y="3919"/>
                    <a:pt x="1013" y="3923"/>
                  </a:cubicBezTo>
                  <a:cubicBezTo>
                    <a:pt x="1021" y="3926"/>
                    <a:pt x="1037" y="3934"/>
                    <a:pt x="1046" y="3954"/>
                  </a:cubicBezTo>
                  <a:lnTo>
                    <a:pt x="1074" y="4019"/>
                  </a:lnTo>
                  <a:cubicBezTo>
                    <a:pt x="1075" y="4019"/>
                    <a:pt x="1075" y="4019"/>
                    <a:pt x="1075" y="4019"/>
                  </a:cubicBezTo>
                  <a:lnTo>
                    <a:pt x="1075" y="4019"/>
                  </a:lnTo>
                  <a:lnTo>
                    <a:pt x="1644" y="5309"/>
                  </a:lnTo>
                  <a:cubicBezTo>
                    <a:pt x="1657" y="5339"/>
                    <a:pt x="1644" y="5374"/>
                    <a:pt x="1613" y="538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0" name="Group 225">
            <a:extLst>
              <a:ext uri="{FF2B5EF4-FFF2-40B4-BE49-F238E27FC236}">
                <a16:creationId xmlns:a16="http://schemas.microsoft.com/office/drawing/2014/main" id="{81D8AA50-A1AD-4771-B61C-9072152064C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27444" y="2258274"/>
            <a:ext cx="347918" cy="341227"/>
            <a:chOff x="3772" y="3417"/>
            <a:chExt cx="156" cy="153"/>
          </a:xfrm>
          <a:solidFill>
            <a:schemeClr val="bg1"/>
          </a:solidFill>
        </p:grpSpPr>
        <p:sp>
          <p:nvSpPr>
            <p:cNvPr id="51" name="Freeform 226">
              <a:extLst>
                <a:ext uri="{FF2B5EF4-FFF2-40B4-BE49-F238E27FC236}">
                  <a16:creationId xmlns:a16="http://schemas.microsoft.com/office/drawing/2014/main" id="{1921777E-7AE8-49D4-B81F-C1A0295686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" y="3417"/>
              <a:ext cx="156" cy="153"/>
            </a:xfrm>
            <a:custGeom>
              <a:avLst/>
              <a:gdLst>
                <a:gd name="T0" fmla="*/ 5331 w 6131"/>
                <a:gd name="T1" fmla="*/ 3001 h 6001"/>
                <a:gd name="T2" fmla="*/ 5531 w 6131"/>
                <a:gd name="T3" fmla="*/ 1001 h 6001"/>
                <a:gd name="T4" fmla="*/ 5731 w 6131"/>
                <a:gd name="T5" fmla="*/ 1901 h 6001"/>
                <a:gd name="T6" fmla="*/ 5631 w 6131"/>
                <a:gd name="T7" fmla="*/ 801 h 6001"/>
                <a:gd name="T8" fmla="*/ 5331 w 6131"/>
                <a:gd name="T9" fmla="*/ 501 h 6001"/>
                <a:gd name="T10" fmla="*/ 5231 w 6131"/>
                <a:gd name="T11" fmla="*/ 101 h 6001"/>
                <a:gd name="T12" fmla="*/ 4731 w 6131"/>
                <a:gd name="T13" fmla="*/ 1 h 6001"/>
                <a:gd name="T14" fmla="*/ 4631 w 6131"/>
                <a:gd name="T15" fmla="*/ 401 h 6001"/>
                <a:gd name="T16" fmla="*/ 4531 w 6131"/>
                <a:gd name="T17" fmla="*/ 3001 h 6001"/>
                <a:gd name="T18" fmla="*/ 3280 w 6131"/>
                <a:gd name="T19" fmla="*/ 1201 h 6001"/>
                <a:gd name="T20" fmla="*/ 182 w 6131"/>
                <a:gd name="T21" fmla="*/ 1201 h 6001"/>
                <a:gd name="T22" fmla="*/ 231 w 6131"/>
                <a:gd name="T23" fmla="*/ 3001 h 6001"/>
                <a:gd name="T24" fmla="*/ 131 w 6131"/>
                <a:gd name="T25" fmla="*/ 5901 h 6001"/>
                <a:gd name="T26" fmla="*/ 6031 w 6131"/>
                <a:gd name="T27" fmla="*/ 6001 h 6001"/>
                <a:gd name="T28" fmla="*/ 6131 w 6131"/>
                <a:gd name="T29" fmla="*/ 3101 h 6001"/>
                <a:gd name="T30" fmla="*/ 5131 w 6131"/>
                <a:gd name="T31" fmla="*/ 4601 h 6001"/>
                <a:gd name="T32" fmla="*/ 4731 w 6131"/>
                <a:gd name="T33" fmla="*/ 4401 h 6001"/>
                <a:gd name="T34" fmla="*/ 5131 w 6131"/>
                <a:gd name="T35" fmla="*/ 4601 h 6001"/>
                <a:gd name="T36" fmla="*/ 4931 w 6131"/>
                <a:gd name="T37" fmla="*/ 4985 h 6001"/>
                <a:gd name="T38" fmla="*/ 4992 w 6131"/>
                <a:gd name="T39" fmla="*/ 4801 h 6001"/>
                <a:gd name="T40" fmla="*/ 4731 w 6131"/>
                <a:gd name="T41" fmla="*/ 4201 h 6001"/>
                <a:gd name="T42" fmla="*/ 5131 w 6131"/>
                <a:gd name="T43" fmla="*/ 1001 h 6001"/>
                <a:gd name="T44" fmla="*/ 4731 w 6131"/>
                <a:gd name="T45" fmla="*/ 801 h 6001"/>
                <a:gd name="T46" fmla="*/ 5131 w 6131"/>
                <a:gd name="T47" fmla="*/ 601 h 6001"/>
                <a:gd name="T48" fmla="*/ 4731 w 6131"/>
                <a:gd name="T49" fmla="*/ 801 h 6001"/>
                <a:gd name="T50" fmla="*/ 5031 w 6131"/>
                <a:gd name="T51" fmla="*/ 201 h 6001"/>
                <a:gd name="T52" fmla="*/ 4831 w 6131"/>
                <a:gd name="T53" fmla="*/ 401 h 6001"/>
                <a:gd name="T54" fmla="*/ 331 w 6131"/>
                <a:gd name="T55" fmla="*/ 1601 h 6001"/>
                <a:gd name="T56" fmla="*/ 2721 w 6131"/>
                <a:gd name="T57" fmla="*/ 611 h 6001"/>
                <a:gd name="T58" fmla="*/ 1731 w 6131"/>
                <a:gd name="T59" fmla="*/ 3001 h 6001"/>
                <a:gd name="T60" fmla="*/ 5931 w 6131"/>
                <a:gd name="T61" fmla="*/ 5801 h 6001"/>
                <a:gd name="T62" fmla="*/ 331 w 6131"/>
                <a:gd name="T63" fmla="*/ 3201 h 6001"/>
                <a:gd name="T64" fmla="*/ 4531 w 6131"/>
                <a:gd name="T65" fmla="*/ 4701 h 6001"/>
                <a:gd name="T66" fmla="*/ 4659 w 6131"/>
                <a:gd name="T67" fmla="*/ 4801 h 6001"/>
                <a:gd name="T68" fmla="*/ 5026 w 6131"/>
                <a:gd name="T69" fmla="*/ 5333 h 6001"/>
                <a:gd name="T70" fmla="*/ 5231 w 6131"/>
                <a:gd name="T71" fmla="*/ 4801 h 6001"/>
                <a:gd name="T72" fmla="*/ 5331 w 6131"/>
                <a:gd name="T73" fmla="*/ 3201 h 6001"/>
                <a:gd name="T74" fmla="*/ 5931 w 6131"/>
                <a:gd name="T75" fmla="*/ 5801 h 6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131" h="6001">
                  <a:moveTo>
                    <a:pt x="6031" y="3001"/>
                  </a:moveTo>
                  <a:lnTo>
                    <a:pt x="5331" y="3001"/>
                  </a:lnTo>
                  <a:lnTo>
                    <a:pt x="5331" y="1001"/>
                  </a:lnTo>
                  <a:lnTo>
                    <a:pt x="5531" y="1001"/>
                  </a:lnTo>
                  <a:lnTo>
                    <a:pt x="5531" y="1901"/>
                  </a:lnTo>
                  <a:lnTo>
                    <a:pt x="5731" y="1901"/>
                  </a:lnTo>
                  <a:lnTo>
                    <a:pt x="5731" y="901"/>
                  </a:lnTo>
                  <a:cubicBezTo>
                    <a:pt x="5731" y="846"/>
                    <a:pt x="5686" y="801"/>
                    <a:pt x="5631" y="801"/>
                  </a:cubicBezTo>
                  <a:lnTo>
                    <a:pt x="5331" y="801"/>
                  </a:lnTo>
                  <a:lnTo>
                    <a:pt x="5331" y="501"/>
                  </a:lnTo>
                  <a:cubicBezTo>
                    <a:pt x="5331" y="446"/>
                    <a:pt x="5286" y="401"/>
                    <a:pt x="5231" y="401"/>
                  </a:cubicBezTo>
                  <a:lnTo>
                    <a:pt x="5231" y="101"/>
                  </a:lnTo>
                  <a:cubicBezTo>
                    <a:pt x="5231" y="46"/>
                    <a:pt x="5186" y="1"/>
                    <a:pt x="5131" y="1"/>
                  </a:cubicBezTo>
                  <a:lnTo>
                    <a:pt x="4731" y="1"/>
                  </a:lnTo>
                  <a:cubicBezTo>
                    <a:pt x="4676" y="1"/>
                    <a:pt x="4631" y="46"/>
                    <a:pt x="4631" y="101"/>
                  </a:cubicBezTo>
                  <a:lnTo>
                    <a:pt x="4631" y="401"/>
                  </a:lnTo>
                  <a:cubicBezTo>
                    <a:pt x="4576" y="401"/>
                    <a:pt x="4531" y="446"/>
                    <a:pt x="4531" y="501"/>
                  </a:cubicBezTo>
                  <a:lnTo>
                    <a:pt x="4531" y="3001"/>
                  </a:lnTo>
                  <a:lnTo>
                    <a:pt x="2504" y="3001"/>
                  </a:lnTo>
                  <a:cubicBezTo>
                    <a:pt x="3143" y="2648"/>
                    <a:pt x="3462" y="1908"/>
                    <a:pt x="3280" y="1201"/>
                  </a:cubicBezTo>
                  <a:cubicBezTo>
                    <a:pt x="3098" y="494"/>
                    <a:pt x="2461" y="0"/>
                    <a:pt x="1731" y="0"/>
                  </a:cubicBezTo>
                  <a:cubicBezTo>
                    <a:pt x="1001" y="0"/>
                    <a:pt x="364" y="494"/>
                    <a:pt x="182" y="1201"/>
                  </a:cubicBezTo>
                  <a:cubicBezTo>
                    <a:pt x="0" y="1908"/>
                    <a:pt x="319" y="2648"/>
                    <a:pt x="958" y="3001"/>
                  </a:cubicBezTo>
                  <a:lnTo>
                    <a:pt x="231" y="3001"/>
                  </a:lnTo>
                  <a:cubicBezTo>
                    <a:pt x="176" y="3001"/>
                    <a:pt x="131" y="3046"/>
                    <a:pt x="131" y="3101"/>
                  </a:cubicBezTo>
                  <a:lnTo>
                    <a:pt x="131" y="5901"/>
                  </a:lnTo>
                  <a:cubicBezTo>
                    <a:pt x="131" y="5956"/>
                    <a:pt x="176" y="6001"/>
                    <a:pt x="231" y="6001"/>
                  </a:cubicBezTo>
                  <a:lnTo>
                    <a:pt x="6031" y="6001"/>
                  </a:lnTo>
                  <a:cubicBezTo>
                    <a:pt x="6086" y="6001"/>
                    <a:pt x="6131" y="5956"/>
                    <a:pt x="6131" y="5901"/>
                  </a:cubicBezTo>
                  <a:lnTo>
                    <a:pt x="6131" y="3101"/>
                  </a:lnTo>
                  <a:cubicBezTo>
                    <a:pt x="6131" y="3046"/>
                    <a:pt x="6086" y="3001"/>
                    <a:pt x="6031" y="3001"/>
                  </a:cubicBezTo>
                  <a:close/>
                  <a:moveTo>
                    <a:pt x="5131" y="4601"/>
                  </a:moveTo>
                  <a:lnTo>
                    <a:pt x="4731" y="4601"/>
                  </a:lnTo>
                  <a:lnTo>
                    <a:pt x="4731" y="4401"/>
                  </a:lnTo>
                  <a:lnTo>
                    <a:pt x="5131" y="4401"/>
                  </a:lnTo>
                  <a:lnTo>
                    <a:pt x="5131" y="4601"/>
                  </a:lnTo>
                  <a:close/>
                  <a:moveTo>
                    <a:pt x="4992" y="4801"/>
                  </a:moveTo>
                  <a:lnTo>
                    <a:pt x="4931" y="4985"/>
                  </a:lnTo>
                  <a:lnTo>
                    <a:pt x="4870" y="4801"/>
                  </a:lnTo>
                  <a:lnTo>
                    <a:pt x="4992" y="4801"/>
                  </a:lnTo>
                  <a:close/>
                  <a:moveTo>
                    <a:pt x="5131" y="4201"/>
                  </a:moveTo>
                  <a:lnTo>
                    <a:pt x="4731" y="4201"/>
                  </a:lnTo>
                  <a:lnTo>
                    <a:pt x="4731" y="1001"/>
                  </a:lnTo>
                  <a:lnTo>
                    <a:pt x="5131" y="1001"/>
                  </a:lnTo>
                  <a:lnTo>
                    <a:pt x="5131" y="4201"/>
                  </a:lnTo>
                  <a:close/>
                  <a:moveTo>
                    <a:pt x="4731" y="801"/>
                  </a:moveTo>
                  <a:lnTo>
                    <a:pt x="4731" y="601"/>
                  </a:lnTo>
                  <a:lnTo>
                    <a:pt x="5131" y="601"/>
                  </a:lnTo>
                  <a:lnTo>
                    <a:pt x="5131" y="801"/>
                  </a:lnTo>
                  <a:lnTo>
                    <a:pt x="4731" y="801"/>
                  </a:lnTo>
                  <a:close/>
                  <a:moveTo>
                    <a:pt x="4831" y="201"/>
                  </a:moveTo>
                  <a:lnTo>
                    <a:pt x="5031" y="201"/>
                  </a:lnTo>
                  <a:lnTo>
                    <a:pt x="5031" y="401"/>
                  </a:lnTo>
                  <a:lnTo>
                    <a:pt x="4831" y="401"/>
                  </a:lnTo>
                  <a:lnTo>
                    <a:pt x="4831" y="201"/>
                  </a:lnTo>
                  <a:close/>
                  <a:moveTo>
                    <a:pt x="331" y="1601"/>
                  </a:moveTo>
                  <a:cubicBezTo>
                    <a:pt x="331" y="1035"/>
                    <a:pt x="672" y="524"/>
                    <a:pt x="1195" y="308"/>
                  </a:cubicBezTo>
                  <a:cubicBezTo>
                    <a:pt x="1718" y="91"/>
                    <a:pt x="2321" y="211"/>
                    <a:pt x="2721" y="611"/>
                  </a:cubicBezTo>
                  <a:cubicBezTo>
                    <a:pt x="3121" y="1011"/>
                    <a:pt x="3241" y="1614"/>
                    <a:pt x="3024" y="2137"/>
                  </a:cubicBezTo>
                  <a:cubicBezTo>
                    <a:pt x="2808" y="2660"/>
                    <a:pt x="2297" y="3001"/>
                    <a:pt x="1731" y="3001"/>
                  </a:cubicBezTo>
                  <a:cubicBezTo>
                    <a:pt x="958" y="3000"/>
                    <a:pt x="332" y="2374"/>
                    <a:pt x="331" y="1601"/>
                  </a:cubicBezTo>
                  <a:close/>
                  <a:moveTo>
                    <a:pt x="5931" y="5801"/>
                  </a:moveTo>
                  <a:lnTo>
                    <a:pt x="331" y="5801"/>
                  </a:lnTo>
                  <a:lnTo>
                    <a:pt x="331" y="3201"/>
                  </a:lnTo>
                  <a:lnTo>
                    <a:pt x="4531" y="3201"/>
                  </a:lnTo>
                  <a:lnTo>
                    <a:pt x="4531" y="4701"/>
                  </a:lnTo>
                  <a:cubicBezTo>
                    <a:pt x="4531" y="4756"/>
                    <a:pt x="4576" y="4801"/>
                    <a:pt x="4631" y="4801"/>
                  </a:cubicBezTo>
                  <a:lnTo>
                    <a:pt x="4659" y="4801"/>
                  </a:lnTo>
                  <a:lnTo>
                    <a:pt x="4836" y="5333"/>
                  </a:lnTo>
                  <a:cubicBezTo>
                    <a:pt x="4866" y="5424"/>
                    <a:pt x="4996" y="5424"/>
                    <a:pt x="5026" y="5333"/>
                  </a:cubicBezTo>
                  <a:lnTo>
                    <a:pt x="5203" y="4801"/>
                  </a:lnTo>
                  <a:lnTo>
                    <a:pt x="5231" y="4801"/>
                  </a:lnTo>
                  <a:cubicBezTo>
                    <a:pt x="5286" y="4801"/>
                    <a:pt x="5331" y="4756"/>
                    <a:pt x="5331" y="4701"/>
                  </a:cubicBezTo>
                  <a:lnTo>
                    <a:pt x="5331" y="3201"/>
                  </a:lnTo>
                  <a:lnTo>
                    <a:pt x="5931" y="3201"/>
                  </a:lnTo>
                  <a:lnTo>
                    <a:pt x="5931" y="580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227">
              <a:extLst>
                <a:ext uri="{FF2B5EF4-FFF2-40B4-BE49-F238E27FC236}">
                  <a16:creationId xmlns:a16="http://schemas.microsoft.com/office/drawing/2014/main" id="{86B2EC23-D254-4E85-82F1-7EE977A9FF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0" y="3524"/>
              <a:ext cx="92" cy="16"/>
            </a:xfrm>
            <a:custGeom>
              <a:avLst/>
              <a:gdLst>
                <a:gd name="T0" fmla="*/ 3500 w 3600"/>
                <a:gd name="T1" fmla="*/ 0 h 600"/>
                <a:gd name="T2" fmla="*/ 100 w 3600"/>
                <a:gd name="T3" fmla="*/ 0 h 600"/>
                <a:gd name="T4" fmla="*/ 0 w 3600"/>
                <a:gd name="T5" fmla="*/ 100 h 600"/>
                <a:gd name="T6" fmla="*/ 0 w 3600"/>
                <a:gd name="T7" fmla="*/ 500 h 600"/>
                <a:gd name="T8" fmla="*/ 100 w 3600"/>
                <a:gd name="T9" fmla="*/ 600 h 600"/>
                <a:gd name="T10" fmla="*/ 3500 w 3600"/>
                <a:gd name="T11" fmla="*/ 600 h 600"/>
                <a:gd name="T12" fmla="*/ 3600 w 3600"/>
                <a:gd name="T13" fmla="*/ 500 h 600"/>
                <a:gd name="T14" fmla="*/ 3600 w 3600"/>
                <a:gd name="T15" fmla="*/ 100 h 600"/>
                <a:gd name="T16" fmla="*/ 3500 w 3600"/>
                <a:gd name="T17" fmla="*/ 0 h 600"/>
                <a:gd name="T18" fmla="*/ 3400 w 3600"/>
                <a:gd name="T19" fmla="*/ 400 h 600"/>
                <a:gd name="T20" fmla="*/ 200 w 3600"/>
                <a:gd name="T21" fmla="*/ 400 h 600"/>
                <a:gd name="T22" fmla="*/ 200 w 3600"/>
                <a:gd name="T23" fmla="*/ 200 h 600"/>
                <a:gd name="T24" fmla="*/ 3400 w 3600"/>
                <a:gd name="T25" fmla="*/ 200 h 600"/>
                <a:gd name="T26" fmla="*/ 3400 w 3600"/>
                <a:gd name="T27" fmla="*/ 400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00" h="600">
                  <a:moveTo>
                    <a:pt x="3500" y="0"/>
                  </a:moveTo>
                  <a:lnTo>
                    <a:pt x="100" y="0"/>
                  </a:lnTo>
                  <a:cubicBezTo>
                    <a:pt x="45" y="0"/>
                    <a:pt x="0" y="45"/>
                    <a:pt x="0" y="100"/>
                  </a:cubicBezTo>
                  <a:lnTo>
                    <a:pt x="0" y="500"/>
                  </a:lnTo>
                  <a:cubicBezTo>
                    <a:pt x="0" y="555"/>
                    <a:pt x="45" y="600"/>
                    <a:pt x="100" y="600"/>
                  </a:cubicBezTo>
                  <a:lnTo>
                    <a:pt x="3500" y="600"/>
                  </a:lnTo>
                  <a:cubicBezTo>
                    <a:pt x="3555" y="600"/>
                    <a:pt x="3600" y="555"/>
                    <a:pt x="3600" y="500"/>
                  </a:cubicBezTo>
                  <a:lnTo>
                    <a:pt x="3600" y="100"/>
                  </a:lnTo>
                  <a:cubicBezTo>
                    <a:pt x="3600" y="45"/>
                    <a:pt x="3555" y="0"/>
                    <a:pt x="3500" y="0"/>
                  </a:cubicBezTo>
                  <a:close/>
                  <a:moveTo>
                    <a:pt x="3400" y="400"/>
                  </a:moveTo>
                  <a:lnTo>
                    <a:pt x="200" y="400"/>
                  </a:lnTo>
                  <a:lnTo>
                    <a:pt x="200" y="200"/>
                  </a:lnTo>
                  <a:lnTo>
                    <a:pt x="3400" y="200"/>
                  </a:lnTo>
                  <a:lnTo>
                    <a:pt x="3400" y="4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Rectangle 228">
              <a:extLst>
                <a:ext uri="{FF2B5EF4-FFF2-40B4-BE49-F238E27FC236}">
                  <a16:creationId xmlns:a16="http://schemas.microsoft.com/office/drawing/2014/main" id="{7EF688D4-9766-4E54-963E-1A924FC806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5" y="3550"/>
              <a:ext cx="5" cy="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Rectangle 229">
              <a:extLst>
                <a:ext uri="{FF2B5EF4-FFF2-40B4-BE49-F238E27FC236}">
                  <a16:creationId xmlns:a16="http://schemas.microsoft.com/office/drawing/2014/main" id="{0EFC91BA-7F97-48A2-AD48-B73318269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" y="3550"/>
              <a:ext cx="26" cy="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Rectangle 230">
              <a:extLst>
                <a:ext uri="{FF2B5EF4-FFF2-40B4-BE49-F238E27FC236}">
                  <a16:creationId xmlns:a16="http://schemas.microsoft.com/office/drawing/2014/main" id="{D0EB792C-1822-4AD9-886B-9E28F386F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0" y="3509"/>
              <a:ext cx="21" cy="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Rectangle 231">
              <a:extLst>
                <a:ext uri="{FF2B5EF4-FFF2-40B4-BE49-F238E27FC236}">
                  <a16:creationId xmlns:a16="http://schemas.microsoft.com/office/drawing/2014/main" id="{EB45B9E2-B3C9-4110-9680-589E053960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16" y="3509"/>
              <a:ext cx="20" cy="5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232">
              <a:extLst>
                <a:ext uri="{FF2B5EF4-FFF2-40B4-BE49-F238E27FC236}">
                  <a16:creationId xmlns:a16="http://schemas.microsoft.com/office/drawing/2014/main" id="{CD245517-677E-4F36-9721-BB239F2960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3" y="3427"/>
              <a:ext cx="64" cy="64"/>
            </a:xfrm>
            <a:custGeom>
              <a:avLst/>
              <a:gdLst>
                <a:gd name="T0" fmla="*/ 1294 w 2494"/>
                <a:gd name="T1" fmla="*/ 0 h 2494"/>
                <a:gd name="T2" fmla="*/ 185 w 2494"/>
                <a:gd name="T3" fmla="*/ 741 h 2494"/>
                <a:gd name="T4" fmla="*/ 446 w 2494"/>
                <a:gd name="T5" fmla="*/ 2048 h 2494"/>
                <a:gd name="T6" fmla="*/ 1753 w 2494"/>
                <a:gd name="T7" fmla="*/ 2309 h 2494"/>
                <a:gd name="T8" fmla="*/ 2494 w 2494"/>
                <a:gd name="T9" fmla="*/ 1200 h 2494"/>
                <a:gd name="T10" fmla="*/ 1294 w 2494"/>
                <a:gd name="T11" fmla="*/ 0 h 2494"/>
                <a:gd name="T12" fmla="*/ 1294 w 2494"/>
                <a:gd name="T13" fmla="*/ 2200 h 2494"/>
                <a:gd name="T14" fmla="*/ 370 w 2494"/>
                <a:gd name="T15" fmla="*/ 1583 h 2494"/>
                <a:gd name="T16" fmla="*/ 587 w 2494"/>
                <a:gd name="T17" fmla="*/ 493 h 2494"/>
                <a:gd name="T18" fmla="*/ 1677 w 2494"/>
                <a:gd name="T19" fmla="*/ 276 h 2494"/>
                <a:gd name="T20" fmla="*/ 2294 w 2494"/>
                <a:gd name="T21" fmla="*/ 1200 h 2494"/>
                <a:gd name="T22" fmla="*/ 1294 w 2494"/>
                <a:gd name="T23" fmla="*/ 2200 h 2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94" h="2494">
                  <a:moveTo>
                    <a:pt x="1294" y="0"/>
                  </a:moveTo>
                  <a:cubicBezTo>
                    <a:pt x="809" y="0"/>
                    <a:pt x="371" y="292"/>
                    <a:pt x="185" y="741"/>
                  </a:cubicBezTo>
                  <a:cubicBezTo>
                    <a:pt x="0" y="1189"/>
                    <a:pt x="102" y="1705"/>
                    <a:pt x="446" y="2048"/>
                  </a:cubicBezTo>
                  <a:cubicBezTo>
                    <a:pt x="789" y="2392"/>
                    <a:pt x="1305" y="2494"/>
                    <a:pt x="1753" y="2309"/>
                  </a:cubicBezTo>
                  <a:cubicBezTo>
                    <a:pt x="2202" y="2123"/>
                    <a:pt x="2494" y="1685"/>
                    <a:pt x="2494" y="1200"/>
                  </a:cubicBezTo>
                  <a:cubicBezTo>
                    <a:pt x="2493" y="538"/>
                    <a:pt x="1956" y="1"/>
                    <a:pt x="1294" y="0"/>
                  </a:cubicBezTo>
                  <a:close/>
                  <a:moveTo>
                    <a:pt x="1294" y="2200"/>
                  </a:moveTo>
                  <a:cubicBezTo>
                    <a:pt x="890" y="2200"/>
                    <a:pt x="525" y="1956"/>
                    <a:pt x="370" y="1583"/>
                  </a:cubicBezTo>
                  <a:cubicBezTo>
                    <a:pt x="215" y="1209"/>
                    <a:pt x="301" y="779"/>
                    <a:pt x="587" y="493"/>
                  </a:cubicBezTo>
                  <a:cubicBezTo>
                    <a:pt x="873" y="207"/>
                    <a:pt x="1303" y="121"/>
                    <a:pt x="1677" y="276"/>
                  </a:cubicBezTo>
                  <a:cubicBezTo>
                    <a:pt x="2050" y="431"/>
                    <a:pt x="2294" y="796"/>
                    <a:pt x="2294" y="1200"/>
                  </a:cubicBezTo>
                  <a:cubicBezTo>
                    <a:pt x="2293" y="1752"/>
                    <a:pt x="1846" y="2199"/>
                    <a:pt x="1294" y="22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233">
              <a:extLst>
                <a:ext uri="{FF2B5EF4-FFF2-40B4-BE49-F238E27FC236}">
                  <a16:creationId xmlns:a16="http://schemas.microsoft.com/office/drawing/2014/main" id="{7D640643-83FC-4250-9B94-C7E9B6E64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5" y="3438"/>
              <a:ext cx="22" cy="40"/>
            </a:xfrm>
            <a:custGeom>
              <a:avLst/>
              <a:gdLst>
                <a:gd name="T0" fmla="*/ 422 w 844"/>
                <a:gd name="T1" fmla="*/ 300 h 1600"/>
                <a:gd name="T2" fmla="*/ 622 w 844"/>
                <a:gd name="T3" fmla="*/ 500 h 1600"/>
                <a:gd name="T4" fmla="*/ 822 w 844"/>
                <a:gd name="T5" fmla="*/ 500 h 1600"/>
                <a:gd name="T6" fmla="*/ 522 w 844"/>
                <a:gd name="T7" fmla="*/ 114 h 1600"/>
                <a:gd name="T8" fmla="*/ 522 w 844"/>
                <a:gd name="T9" fmla="*/ 0 h 1600"/>
                <a:gd name="T10" fmla="*/ 322 w 844"/>
                <a:gd name="T11" fmla="*/ 0 h 1600"/>
                <a:gd name="T12" fmla="*/ 322 w 844"/>
                <a:gd name="T13" fmla="*/ 114 h 1600"/>
                <a:gd name="T14" fmla="*/ 25 w 844"/>
                <a:gd name="T15" fmla="*/ 551 h 1600"/>
                <a:gd name="T16" fmla="*/ 422 w 844"/>
                <a:gd name="T17" fmla="*/ 900 h 1600"/>
                <a:gd name="T18" fmla="*/ 563 w 844"/>
                <a:gd name="T19" fmla="*/ 1241 h 1600"/>
                <a:gd name="T20" fmla="*/ 222 w 844"/>
                <a:gd name="T21" fmla="*/ 1100 h 1600"/>
                <a:gd name="T22" fmla="*/ 22 w 844"/>
                <a:gd name="T23" fmla="*/ 1100 h 1600"/>
                <a:gd name="T24" fmla="*/ 322 w 844"/>
                <a:gd name="T25" fmla="*/ 1486 h 1600"/>
                <a:gd name="T26" fmla="*/ 322 w 844"/>
                <a:gd name="T27" fmla="*/ 1600 h 1600"/>
                <a:gd name="T28" fmla="*/ 522 w 844"/>
                <a:gd name="T29" fmla="*/ 1600 h 1600"/>
                <a:gd name="T30" fmla="*/ 522 w 844"/>
                <a:gd name="T31" fmla="*/ 1486 h 1600"/>
                <a:gd name="T32" fmla="*/ 819 w 844"/>
                <a:gd name="T33" fmla="*/ 1049 h 1600"/>
                <a:gd name="T34" fmla="*/ 422 w 844"/>
                <a:gd name="T35" fmla="*/ 700 h 1600"/>
                <a:gd name="T36" fmla="*/ 222 w 844"/>
                <a:gd name="T37" fmla="*/ 500 h 1600"/>
                <a:gd name="T38" fmla="*/ 422 w 844"/>
                <a:gd name="T39" fmla="*/ 30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44" h="1600">
                  <a:moveTo>
                    <a:pt x="422" y="300"/>
                  </a:moveTo>
                  <a:cubicBezTo>
                    <a:pt x="532" y="300"/>
                    <a:pt x="622" y="390"/>
                    <a:pt x="622" y="500"/>
                  </a:cubicBezTo>
                  <a:lnTo>
                    <a:pt x="822" y="500"/>
                  </a:lnTo>
                  <a:cubicBezTo>
                    <a:pt x="821" y="318"/>
                    <a:pt x="698" y="160"/>
                    <a:pt x="522" y="114"/>
                  </a:cubicBezTo>
                  <a:lnTo>
                    <a:pt x="522" y="0"/>
                  </a:lnTo>
                  <a:lnTo>
                    <a:pt x="322" y="0"/>
                  </a:lnTo>
                  <a:lnTo>
                    <a:pt x="322" y="114"/>
                  </a:lnTo>
                  <a:cubicBezTo>
                    <a:pt x="127" y="164"/>
                    <a:pt x="0" y="352"/>
                    <a:pt x="25" y="551"/>
                  </a:cubicBezTo>
                  <a:cubicBezTo>
                    <a:pt x="51" y="751"/>
                    <a:pt x="221" y="900"/>
                    <a:pt x="422" y="900"/>
                  </a:cubicBezTo>
                  <a:cubicBezTo>
                    <a:pt x="600" y="900"/>
                    <a:pt x="689" y="1115"/>
                    <a:pt x="563" y="1241"/>
                  </a:cubicBezTo>
                  <a:cubicBezTo>
                    <a:pt x="437" y="1367"/>
                    <a:pt x="222" y="1278"/>
                    <a:pt x="222" y="1100"/>
                  </a:cubicBezTo>
                  <a:lnTo>
                    <a:pt x="22" y="1100"/>
                  </a:lnTo>
                  <a:cubicBezTo>
                    <a:pt x="23" y="1282"/>
                    <a:pt x="146" y="1440"/>
                    <a:pt x="322" y="1486"/>
                  </a:cubicBezTo>
                  <a:lnTo>
                    <a:pt x="322" y="1600"/>
                  </a:lnTo>
                  <a:lnTo>
                    <a:pt x="522" y="1600"/>
                  </a:lnTo>
                  <a:lnTo>
                    <a:pt x="522" y="1486"/>
                  </a:lnTo>
                  <a:cubicBezTo>
                    <a:pt x="717" y="1436"/>
                    <a:pt x="844" y="1248"/>
                    <a:pt x="819" y="1049"/>
                  </a:cubicBezTo>
                  <a:cubicBezTo>
                    <a:pt x="793" y="849"/>
                    <a:pt x="623" y="700"/>
                    <a:pt x="422" y="700"/>
                  </a:cubicBezTo>
                  <a:cubicBezTo>
                    <a:pt x="312" y="700"/>
                    <a:pt x="222" y="610"/>
                    <a:pt x="222" y="500"/>
                  </a:cubicBezTo>
                  <a:cubicBezTo>
                    <a:pt x="222" y="390"/>
                    <a:pt x="312" y="300"/>
                    <a:pt x="422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9" name="Group 390">
            <a:extLst>
              <a:ext uri="{FF2B5EF4-FFF2-40B4-BE49-F238E27FC236}">
                <a16:creationId xmlns:a16="http://schemas.microsoft.com/office/drawing/2014/main" id="{FA0BE160-D44B-432F-878B-4A5FA68BA87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84651" y="3853343"/>
            <a:ext cx="305962" cy="342410"/>
            <a:chOff x="2466" y="618"/>
            <a:chExt cx="2745" cy="3072"/>
          </a:xfrm>
          <a:solidFill>
            <a:schemeClr val="bg1"/>
          </a:solidFill>
        </p:grpSpPr>
        <p:sp>
          <p:nvSpPr>
            <p:cNvPr id="60" name="Freeform 391">
              <a:extLst>
                <a:ext uri="{FF2B5EF4-FFF2-40B4-BE49-F238E27FC236}">
                  <a16:creationId xmlns:a16="http://schemas.microsoft.com/office/drawing/2014/main" id="{4812E804-AC42-45F5-AA45-D062BFDB89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5" y="859"/>
              <a:ext cx="1341" cy="1340"/>
            </a:xfrm>
            <a:custGeom>
              <a:avLst/>
              <a:gdLst>
                <a:gd name="T0" fmla="*/ 1396 w 2793"/>
                <a:gd name="T1" fmla="*/ 0 h 2793"/>
                <a:gd name="T2" fmla="*/ 0 w 2793"/>
                <a:gd name="T3" fmla="*/ 1396 h 2793"/>
                <a:gd name="T4" fmla="*/ 1396 w 2793"/>
                <a:gd name="T5" fmla="*/ 2793 h 2793"/>
                <a:gd name="T6" fmla="*/ 2793 w 2793"/>
                <a:gd name="T7" fmla="*/ 1396 h 2793"/>
                <a:gd name="T8" fmla="*/ 1396 w 2793"/>
                <a:gd name="T9" fmla="*/ 0 h 2793"/>
                <a:gd name="T10" fmla="*/ 1396 w 2793"/>
                <a:gd name="T11" fmla="*/ 2605 h 2793"/>
                <a:gd name="T12" fmla="*/ 188 w 2793"/>
                <a:gd name="T13" fmla="*/ 1396 h 2793"/>
                <a:gd name="T14" fmla="*/ 1396 w 2793"/>
                <a:gd name="T15" fmla="*/ 188 h 2793"/>
                <a:gd name="T16" fmla="*/ 2605 w 2793"/>
                <a:gd name="T17" fmla="*/ 1396 h 2793"/>
                <a:gd name="T18" fmla="*/ 1396 w 2793"/>
                <a:gd name="T19" fmla="*/ 2605 h 2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93" h="2793">
                  <a:moveTo>
                    <a:pt x="1396" y="0"/>
                  </a:moveTo>
                  <a:cubicBezTo>
                    <a:pt x="626" y="0"/>
                    <a:pt x="0" y="626"/>
                    <a:pt x="0" y="1396"/>
                  </a:cubicBezTo>
                  <a:cubicBezTo>
                    <a:pt x="0" y="2166"/>
                    <a:pt x="626" y="2793"/>
                    <a:pt x="1396" y="2793"/>
                  </a:cubicBezTo>
                  <a:cubicBezTo>
                    <a:pt x="2166" y="2793"/>
                    <a:pt x="2793" y="2166"/>
                    <a:pt x="2793" y="1396"/>
                  </a:cubicBezTo>
                  <a:cubicBezTo>
                    <a:pt x="2793" y="626"/>
                    <a:pt x="2166" y="0"/>
                    <a:pt x="1396" y="0"/>
                  </a:cubicBezTo>
                  <a:close/>
                  <a:moveTo>
                    <a:pt x="1396" y="2605"/>
                  </a:moveTo>
                  <a:cubicBezTo>
                    <a:pt x="730" y="2605"/>
                    <a:pt x="188" y="2063"/>
                    <a:pt x="188" y="1396"/>
                  </a:cubicBezTo>
                  <a:cubicBezTo>
                    <a:pt x="188" y="730"/>
                    <a:pt x="730" y="188"/>
                    <a:pt x="1396" y="188"/>
                  </a:cubicBezTo>
                  <a:cubicBezTo>
                    <a:pt x="2063" y="188"/>
                    <a:pt x="2605" y="730"/>
                    <a:pt x="2605" y="1396"/>
                  </a:cubicBezTo>
                  <a:cubicBezTo>
                    <a:pt x="2605" y="2063"/>
                    <a:pt x="2063" y="2605"/>
                    <a:pt x="1396" y="2605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392">
              <a:extLst>
                <a:ext uri="{FF2B5EF4-FFF2-40B4-BE49-F238E27FC236}">
                  <a16:creationId xmlns:a16="http://schemas.microsoft.com/office/drawing/2014/main" id="{C87C85F6-1723-4FB6-BFD5-3BEA9C0DB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7" y="1003"/>
              <a:ext cx="475" cy="1052"/>
            </a:xfrm>
            <a:custGeom>
              <a:avLst/>
              <a:gdLst>
                <a:gd name="T0" fmla="*/ 896 w 990"/>
                <a:gd name="T1" fmla="*/ 889 h 2191"/>
                <a:gd name="T2" fmla="*/ 990 w 990"/>
                <a:gd name="T3" fmla="*/ 795 h 2191"/>
                <a:gd name="T4" fmla="*/ 990 w 990"/>
                <a:gd name="T5" fmla="*/ 695 h 2191"/>
                <a:gd name="T6" fmla="*/ 595 w 990"/>
                <a:gd name="T7" fmla="*/ 300 h 2191"/>
                <a:gd name="T8" fmla="*/ 589 w 990"/>
                <a:gd name="T9" fmla="*/ 300 h 2191"/>
                <a:gd name="T10" fmla="*/ 589 w 990"/>
                <a:gd name="T11" fmla="*/ 94 h 2191"/>
                <a:gd name="T12" fmla="*/ 495 w 990"/>
                <a:gd name="T13" fmla="*/ 0 h 2191"/>
                <a:gd name="T14" fmla="*/ 401 w 990"/>
                <a:gd name="T15" fmla="*/ 94 h 2191"/>
                <a:gd name="T16" fmla="*/ 401 w 990"/>
                <a:gd name="T17" fmla="*/ 302 h 2191"/>
                <a:gd name="T18" fmla="*/ 0 w 990"/>
                <a:gd name="T19" fmla="*/ 745 h 2191"/>
                <a:gd name="T20" fmla="*/ 445 w 990"/>
                <a:gd name="T21" fmla="*/ 1189 h 2191"/>
                <a:gd name="T22" fmla="*/ 545 w 990"/>
                <a:gd name="T23" fmla="*/ 1189 h 2191"/>
                <a:gd name="T24" fmla="*/ 802 w 990"/>
                <a:gd name="T25" fmla="*/ 1446 h 2191"/>
                <a:gd name="T26" fmla="*/ 545 w 990"/>
                <a:gd name="T27" fmla="*/ 1703 h 2191"/>
                <a:gd name="T28" fmla="*/ 395 w 990"/>
                <a:gd name="T29" fmla="*/ 1703 h 2191"/>
                <a:gd name="T30" fmla="*/ 188 w 990"/>
                <a:gd name="T31" fmla="*/ 1496 h 2191"/>
                <a:gd name="T32" fmla="*/ 94 w 990"/>
                <a:gd name="T33" fmla="*/ 1402 h 2191"/>
                <a:gd name="T34" fmla="*/ 0 w 990"/>
                <a:gd name="T35" fmla="*/ 1496 h 2191"/>
                <a:gd name="T36" fmla="*/ 395 w 990"/>
                <a:gd name="T37" fmla="*/ 1891 h 2191"/>
                <a:gd name="T38" fmla="*/ 401 w 990"/>
                <a:gd name="T39" fmla="*/ 1891 h 2191"/>
                <a:gd name="T40" fmla="*/ 401 w 990"/>
                <a:gd name="T41" fmla="*/ 2097 h 2191"/>
                <a:gd name="T42" fmla="*/ 495 w 990"/>
                <a:gd name="T43" fmla="*/ 2191 h 2191"/>
                <a:gd name="T44" fmla="*/ 589 w 990"/>
                <a:gd name="T45" fmla="*/ 2097 h 2191"/>
                <a:gd name="T46" fmla="*/ 589 w 990"/>
                <a:gd name="T47" fmla="*/ 1889 h 2191"/>
                <a:gd name="T48" fmla="*/ 990 w 990"/>
                <a:gd name="T49" fmla="*/ 1446 h 2191"/>
                <a:gd name="T50" fmla="*/ 545 w 990"/>
                <a:gd name="T51" fmla="*/ 1002 h 2191"/>
                <a:gd name="T52" fmla="*/ 445 w 990"/>
                <a:gd name="T53" fmla="*/ 1002 h 2191"/>
                <a:gd name="T54" fmla="*/ 188 w 990"/>
                <a:gd name="T55" fmla="*/ 745 h 2191"/>
                <a:gd name="T56" fmla="*/ 445 w 990"/>
                <a:gd name="T57" fmla="*/ 488 h 2191"/>
                <a:gd name="T58" fmla="*/ 595 w 990"/>
                <a:gd name="T59" fmla="*/ 488 h 2191"/>
                <a:gd name="T60" fmla="*/ 802 w 990"/>
                <a:gd name="T61" fmla="*/ 695 h 2191"/>
                <a:gd name="T62" fmla="*/ 802 w 990"/>
                <a:gd name="T63" fmla="*/ 795 h 2191"/>
                <a:gd name="T64" fmla="*/ 896 w 990"/>
                <a:gd name="T65" fmla="*/ 889 h 2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90" h="2191">
                  <a:moveTo>
                    <a:pt x="896" y="889"/>
                  </a:moveTo>
                  <a:cubicBezTo>
                    <a:pt x="948" y="889"/>
                    <a:pt x="990" y="847"/>
                    <a:pt x="990" y="795"/>
                  </a:cubicBezTo>
                  <a:lnTo>
                    <a:pt x="990" y="695"/>
                  </a:lnTo>
                  <a:cubicBezTo>
                    <a:pt x="990" y="477"/>
                    <a:pt x="813" y="300"/>
                    <a:pt x="595" y="300"/>
                  </a:cubicBezTo>
                  <a:lnTo>
                    <a:pt x="589" y="300"/>
                  </a:lnTo>
                  <a:lnTo>
                    <a:pt x="589" y="94"/>
                  </a:lnTo>
                  <a:cubicBezTo>
                    <a:pt x="589" y="42"/>
                    <a:pt x="547" y="0"/>
                    <a:pt x="495" y="0"/>
                  </a:cubicBezTo>
                  <a:cubicBezTo>
                    <a:pt x="443" y="0"/>
                    <a:pt x="401" y="42"/>
                    <a:pt x="401" y="94"/>
                  </a:cubicBezTo>
                  <a:lnTo>
                    <a:pt x="401" y="302"/>
                  </a:lnTo>
                  <a:cubicBezTo>
                    <a:pt x="176" y="324"/>
                    <a:pt x="0" y="514"/>
                    <a:pt x="0" y="745"/>
                  </a:cubicBezTo>
                  <a:cubicBezTo>
                    <a:pt x="0" y="990"/>
                    <a:pt x="200" y="1189"/>
                    <a:pt x="445" y="1189"/>
                  </a:cubicBezTo>
                  <a:lnTo>
                    <a:pt x="545" y="1189"/>
                  </a:lnTo>
                  <a:cubicBezTo>
                    <a:pt x="687" y="1189"/>
                    <a:pt x="802" y="1305"/>
                    <a:pt x="802" y="1446"/>
                  </a:cubicBezTo>
                  <a:cubicBezTo>
                    <a:pt x="802" y="1588"/>
                    <a:pt x="687" y="1703"/>
                    <a:pt x="545" y="1703"/>
                  </a:cubicBezTo>
                  <a:lnTo>
                    <a:pt x="395" y="1703"/>
                  </a:lnTo>
                  <a:cubicBezTo>
                    <a:pt x="281" y="1703"/>
                    <a:pt x="188" y="1610"/>
                    <a:pt x="188" y="1496"/>
                  </a:cubicBezTo>
                  <a:cubicBezTo>
                    <a:pt x="188" y="1444"/>
                    <a:pt x="146" y="1402"/>
                    <a:pt x="94" y="1402"/>
                  </a:cubicBezTo>
                  <a:cubicBezTo>
                    <a:pt x="42" y="1402"/>
                    <a:pt x="0" y="1444"/>
                    <a:pt x="0" y="1496"/>
                  </a:cubicBezTo>
                  <a:cubicBezTo>
                    <a:pt x="0" y="1714"/>
                    <a:pt x="177" y="1891"/>
                    <a:pt x="395" y="1891"/>
                  </a:cubicBezTo>
                  <a:lnTo>
                    <a:pt x="401" y="1891"/>
                  </a:lnTo>
                  <a:lnTo>
                    <a:pt x="401" y="2097"/>
                  </a:lnTo>
                  <a:cubicBezTo>
                    <a:pt x="401" y="2149"/>
                    <a:pt x="443" y="2191"/>
                    <a:pt x="495" y="2191"/>
                  </a:cubicBezTo>
                  <a:cubicBezTo>
                    <a:pt x="547" y="2191"/>
                    <a:pt x="589" y="2149"/>
                    <a:pt x="589" y="2097"/>
                  </a:cubicBezTo>
                  <a:lnTo>
                    <a:pt x="589" y="1889"/>
                  </a:lnTo>
                  <a:cubicBezTo>
                    <a:pt x="814" y="1866"/>
                    <a:pt x="990" y="1677"/>
                    <a:pt x="990" y="1446"/>
                  </a:cubicBezTo>
                  <a:cubicBezTo>
                    <a:pt x="990" y="1201"/>
                    <a:pt x="790" y="1002"/>
                    <a:pt x="545" y="1002"/>
                  </a:cubicBezTo>
                  <a:lnTo>
                    <a:pt x="445" y="1002"/>
                  </a:lnTo>
                  <a:cubicBezTo>
                    <a:pt x="303" y="1002"/>
                    <a:pt x="188" y="886"/>
                    <a:pt x="188" y="745"/>
                  </a:cubicBezTo>
                  <a:cubicBezTo>
                    <a:pt x="188" y="603"/>
                    <a:pt x="303" y="488"/>
                    <a:pt x="445" y="488"/>
                  </a:cubicBezTo>
                  <a:lnTo>
                    <a:pt x="595" y="488"/>
                  </a:lnTo>
                  <a:cubicBezTo>
                    <a:pt x="709" y="488"/>
                    <a:pt x="802" y="581"/>
                    <a:pt x="802" y="695"/>
                  </a:cubicBezTo>
                  <a:lnTo>
                    <a:pt x="802" y="795"/>
                  </a:lnTo>
                  <a:cubicBezTo>
                    <a:pt x="802" y="847"/>
                    <a:pt x="844" y="889"/>
                    <a:pt x="896" y="889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393">
              <a:extLst>
                <a:ext uri="{FF2B5EF4-FFF2-40B4-BE49-F238E27FC236}">
                  <a16:creationId xmlns:a16="http://schemas.microsoft.com/office/drawing/2014/main" id="{FEB7F00A-1C34-4EA6-B9D1-4A3B76A6CC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6" y="618"/>
              <a:ext cx="2745" cy="3072"/>
            </a:xfrm>
            <a:custGeom>
              <a:avLst/>
              <a:gdLst>
                <a:gd name="T0" fmla="*/ 5358 w 5717"/>
                <a:gd name="T1" fmla="*/ 1760 h 6400"/>
                <a:gd name="T2" fmla="*/ 4997 w 5717"/>
                <a:gd name="T3" fmla="*/ 1847 h 6400"/>
                <a:gd name="T4" fmla="*/ 4903 w 5717"/>
                <a:gd name="T5" fmla="*/ 0 h 6400"/>
                <a:gd name="T6" fmla="*/ 0 w 5717"/>
                <a:gd name="T7" fmla="*/ 94 h 6400"/>
                <a:gd name="T8" fmla="*/ 94 w 5717"/>
                <a:gd name="T9" fmla="*/ 1296 h 6400"/>
                <a:gd name="T10" fmla="*/ 188 w 5717"/>
                <a:gd name="T11" fmla="*/ 188 h 6400"/>
                <a:gd name="T12" fmla="*/ 4809 w 5717"/>
                <a:gd name="T13" fmla="*/ 2023 h 6400"/>
                <a:gd name="T14" fmla="*/ 2958 w 5717"/>
                <a:gd name="T15" fmla="*/ 3886 h 6400"/>
                <a:gd name="T16" fmla="*/ 2798 w 5717"/>
                <a:gd name="T17" fmla="*/ 4471 h 6400"/>
                <a:gd name="T18" fmla="*/ 2604 w 5717"/>
                <a:gd name="T19" fmla="*/ 4798 h 6400"/>
                <a:gd name="T20" fmla="*/ 2931 w 5717"/>
                <a:gd name="T21" fmla="*/ 4604 h 6400"/>
                <a:gd name="T22" fmla="*/ 3516 w 5717"/>
                <a:gd name="T23" fmla="*/ 4444 h 6400"/>
                <a:gd name="T24" fmla="*/ 4809 w 5717"/>
                <a:gd name="T25" fmla="*/ 3310 h 6400"/>
                <a:gd name="T26" fmla="*/ 4658 w 5717"/>
                <a:gd name="T27" fmla="*/ 3593 h 6400"/>
                <a:gd name="T28" fmla="*/ 4809 w 5717"/>
                <a:gd name="T29" fmla="*/ 3576 h 6400"/>
                <a:gd name="T30" fmla="*/ 3801 w 5717"/>
                <a:gd name="T31" fmla="*/ 5110 h 6400"/>
                <a:gd name="T32" fmla="*/ 3707 w 5717"/>
                <a:gd name="T33" fmla="*/ 6212 h 6400"/>
                <a:gd name="T34" fmla="*/ 188 w 5717"/>
                <a:gd name="T35" fmla="*/ 1641 h 6400"/>
                <a:gd name="T36" fmla="*/ 0 w 5717"/>
                <a:gd name="T37" fmla="*/ 1641 h 6400"/>
                <a:gd name="T38" fmla="*/ 94 w 5717"/>
                <a:gd name="T39" fmla="*/ 6400 h 6400"/>
                <a:gd name="T40" fmla="*/ 3867 w 5717"/>
                <a:gd name="T41" fmla="*/ 6372 h 6400"/>
                <a:gd name="T42" fmla="*/ 4997 w 5717"/>
                <a:gd name="T43" fmla="*/ 5204 h 6400"/>
                <a:gd name="T44" fmla="*/ 5500 w 5717"/>
                <a:gd name="T45" fmla="*/ 2885 h 6400"/>
                <a:gd name="T46" fmla="*/ 5354 w 5717"/>
                <a:gd name="T47" fmla="*/ 2606 h 6400"/>
                <a:gd name="T48" fmla="*/ 5642 w 5717"/>
                <a:gd name="T49" fmla="*/ 2044 h 6400"/>
                <a:gd name="T50" fmla="*/ 3895 w 5717"/>
                <a:gd name="T51" fmla="*/ 5298 h 6400"/>
                <a:gd name="T52" fmla="*/ 3895 w 5717"/>
                <a:gd name="T53" fmla="*/ 6079 h 6400"/>
                <a:gd name="T54" fmla="*/ 3075 w 5717"/>
                <a:gd name="T55" fmla="*/ 4136 h 6400"/>
                <a:gd name="T56" fmla="*/ 3012 w 5717"/>
                <a:gd name="T57" fmla="*/ 4390 h 6400"/>
                <a:gd name="T58" fmla="*/ 3157 w 5717"/>
                <a:gd name="T59" fmla="*/ 3952 h 6400"/>
                <a:gd name="T60" fmla="*/ 5088 w 5717"/>
                <a:gd name="T61" fmla="*/ 2606 h 6400"/>
                <a:gd name="T62" fmla="*/ 4997 w 5717"/>
                <a:gd name="T63" fmla="*/ 3122 h 6400"/>
                <a:gd name="T64" fmla="*/ 5221 w 5717"/>
                <a:gd name="T65" fmla="*/ 2739 h 6400"/>
                <a:gd name="T66" fmla="*/ 4997 w 5717"/>
                <a:gd name="T67" fmla="*/ 3122 h 6400"/>
                <a:gd name="T68" fmla="*/ 5221 w 5717"/>
                <a:gd name="T69" fmla="*/ 2473 h 6400"/>
                <a:gd name="T70" fmla="*/ 5216 w 5717"/>
                <a:gd name="T71" fmla="*/ 1893 h 6400"/>
                <a:gd name="T72" fmla="*/ 5225 w 5717"/>
                <a:gd name="T73" fmla="*/ 1893 h 6400"/>
                <a:gd name="T74" fmla="*/ 5511 w 5717"/>
                <a:gd name="T75" fmla="*/ 2181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717" h="6400">
                  <a:moveTo>
                    <a:pt x="5642" y="2044"/>
                  </a:moveTo>
                  <a:lnTo>
                    <a:pt x="5358" y="1760"/>
                  </a:lnTo>
                  <a:cubicBezTo>
                    <a:pt x="5283" y="1685"/>
                    <a:pt x="5158" y="1685"/>
                    <a:pt x="5084" y="1760"/>
                  </a:cubicBezTo>
                  <a:lnTo>
                    <a:pt x="4997" y="1847"/>
                  </a:lnTo>
                  <a:lnTo>
                    <a:pt x="4997" y="94"/>
                  </a:lnTo>
                  <a:cubicBezTo>
                    <a:pt x="4997" y="42"/>
                    <a:pt x="4955" y="0"/>
                    <a:pt x="4903" y="0"/>
                  </a:cubicBez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lnTo>
                    <a:pt x="0" y="1202"/>
                  </a:lnTo>
                  <a:cubicBezTo>
                    <a:pt x="0" y="1254"/>
                    <a:pt x="42" y="1296"/>
                    <a:pt x="94" y="1296"/>
                  </a:cubicBezTo>
                  <a:cubicBezTo>
                    <a:pt x="146" y="1296"/>
                    <a:pt x="188" y="1254"/>
                    <a:pt x="188" y="1202"/>
                  </a:cubicBezTo>
                  <a:lnTo>
                    <a:pt x="188" y="188"/>
                  </a:lnTo>
                  <a:lnTo>
                    <a:pt x="4809" y="188"/>
                  </a:lnTo>
                  <a:lnTo>
                    <a:pt x="4809" y="2023"/>
                  </a:lnTo>
                  <a:cubicBezTo>
                    <a:pt x="4809" y="2027"/>
                    <a:pt x="4809" y="2030"/>
                    <a:pt x="4810" y="2034"/>
                  </a:cubicBezTo>
                  <a:lnTo>
                    <a:pt x="2958" y="3886"/>
                  </a:lnTo>
                  <a:cubicBezTo>
                    <a:pt x="2946" y="3898"/>
                    <a:pt x="2938" y="3913"/>
                    <a:pt x="2933" y="3929"/>
                  </a:cubicBezTo>
                  <a:lnTo>
                    <a:pt x="2798" y="4471"/>
                  </a:lnTo>
                  <a:lnTo>
                    <a:pt x="2604" y="4665"/>
                  </a:lnTo>
                  <a:cubicBezTo>
                    <a:pt x="2567" y="4702"/>
                    <a:pt x="2567" y="4761"/>
                    <a:pt x="2604" y="4798"/>
                  </a:cubicBezTo>
                  <a:cubicBezTo>
                    <a:pt x="2640" y="4834"/>
                    <a:pt x="2700" y="4834"/>
                    <a:pt x="2737" y="4798"/>
                  </a:cubicBezTo>
                  <a:lnTo>
                    <a:pt x="2931" y="4604"/>
                  </a:lnTo>
                  <a:lnTo>
                    <a:pt x="3472" y="4468"/>
                  </a:lnTo>
                  <a:cubicBezTo>
                    <a:pt x="3489" y="4464"/>
                    <a:pt x="3504" y="4456"/>
                    <a:pt x="3516" y="4444"/>
                  </a:cubicBezTo>
                  <a:lnTo>
                    <a:pt x="4809" y="3150"/>
                  </a:lnTo>
                  <a:lnTo>
                    <a:pt x="4809" y="3310"/>
                  </a:lnTo>
                  <a:lnTo>
                    <a:pt x="4658" y="3461"/>
                  </a:lnTo>
                  <a:cubicBezTo>
                    <a:pt x="4622" y="3497"/>
                    <a:pt x="4622" y="3557"/>
                    <a:pt x="4658" y="3593"/>
                  </a:cubicBezTo>
                  <a:cubicBezTo>
                    <a:pt x="4683" y="3618"/>
                    <a:pt x="4721" y="3627"/>
                    <a:pt x="4755" y="3616"/>
                  </a:cubicBezTo>
                  <a:cubicBezTo>
                    <a:pt x="4777" y="3608"/>
                    <a:pt x="4793" y="3592"/>
                    <a:pt x="4809" y="3576"/>
                  </a:cubicBezTo>
                  <a:lnTo>
                    <a:pt x="4809" y="5110"/>
                  </a:lnTo>
                  <a:lnTo>
                    <a:pt x="3801" y="5110"/>
                  </a:lnTo>
                  <a:cubicBezTo>
                    <a:pt x="3749" y="5110"/>
                    <a:pt x="3707" y="5152"/>
                    <a:pt x="3707" y="5204"/>
                  </a:cubicBezTo>
                  <a:lnTo>
                    <a:pt x="3707" y="6212"/>
                  </a:lnTo>
                  <a:lnTo>
                    <a:pt x="188" y="6212"/>
                  </a:lnTo>
                  <a:lnTo>
                    <a:pt x="188" y="1641"/>
                  </a:lnTo>
                  <a:cubicBezTo>
                    <a:pt x="188" y="1589"/>
                    <a:pt x="146" y="1547"/>
                    <a:pt x="94" y="1547"/>
                  </a:cubicBezTo>
                  <a:cubicBezTo>
                    <a:pt x="42" y="1547"/>
                    <a:pt x="0" y="1589"/>
                    <a:pt x="0" y="1641"/>
                  </a:cubicBezTo>
                  <a:lnTo>
                    <a:pt x="0" y="6306"/>
                  </a:lnTo>
                  <a:cubicBezTo>
                    <a:pt x="0" y="6358"/>
                    <a:pt x="42" y="6400"/>
                    <a:pt x="94" y="6400"/>
                  </a:cubicBezTo>
                  <a:lnTo>
                    <a:pt x="3801" y="6400"/>
                  </a:lnTo>
                  <a:cubicBezTo>
                    <a:pt x="3826" y="6400"/>
                    <a:pt x="3850" y="6390"/>
                    <a:pt x="3867" y="6372"/>
                  </a:cubicBezTo>
                  <a:lnTo>
                    <a:pt x="4969" y="5270"/>
                  </a:lnTo>
                  <a:cubicBezTo>
                    <a:pt x="4987" y="5253"/>
                    <a:pt x="4997" y="5229"/>
                    <a:pt x="4997" y="5204"/>
                  </a:cubicBezTo>
                  <a:lnTo>
                    <a:pt x="4997" y="3388"/>
                  </a:lnTo>
                  <a:lnTo>
                    <a:pt x="5500" y="2885"/>
                  </a:lnTo>
                  <a:cubicBezTo>
                    <a:pt x="5536" y="2848"/>
                    <a:pt x="5536" y="2789"/>
                    <a:pt x="5500" y="2752"/>
                  </a:cubicBezTo>
                  <a:lnTo>
                    <a:pt x="5354" y="2606"/>
                  </a:lnTo>
                  <a:lnTo>
                    <a:pt x="5641" y="2318"/>
                  </a:lnTo>
                  <a:cubicBezTo>
                    <a:pt x="5717" y="2242"/>
                    <a:pt x="5717" y="2119"/>
                    <a:pt x="5642" y="2044"/>
                  </a:cubicBezTo>
                  <a:close/>
                  <a:moveTo>
                    <a:pt x="3895" y="6079"/>
                  </a:moveTo>
                  <a:lnTo>
                    <a:pt x="3895" y="5298"/>
                  </a:lnTo>
                  <a:lnTo>
                    <a:pt x="4676" y="5298"/>
                  </a:lnTo>
                  <a:lnTo>
                    <a:pt x="3895" y="6079"/>
                  </a:lnTo>
                  <a:close/>
                  <a:moveTo>
                    <a:pt x="3012" y="4390"/>
                  </a:moveTo>
                  <a:lnTo>
                    <a:pt x="3075" y="4136"/>
                  </a:lnTo>
                  <a:lnTo>
                    <a:pt x="3266" y="4326"/>
                  </a:lnTo>
                  <a:lnTo>
                    <a:pt x="3012" y="4390"/>
                  </a:lnTo>
                  <a:close/>
                  <a:moveTo>
                    <a:pt x="3450" y="4244"/>
                  </a:moveTo>
                  <a:lnTo>
                    <a:pt x="3157" y="3952"/>
                  </a:lnTo>
                  <a:lnTo>
                    <a:pt x="4796" y="2314"/>
                  </a:lnTo>
                  <a:lnTo>
                    <a:pt x="5088" y="2606"/>
                  </a:lnTo>
                  <a:lnTo>
                    <a:pt x="3450" y="4244"/>
                  </a:lnTo>
                  <a:close/>
                  <a:moveTo>
                    <a:pt x="4997" y="3122"/>
                  </a:moveTo>
                  <a:lnTo>
                    <a:pt x="4997" y="2963"/>
                  </a:lnTo>
                  <a:lnTo>
                    <a:pt x="5221" y="2739"/>
                  </a:lnTo>
                  <a:lnTo>
                    <a:pt x="5301" y="2818"/>
                  </a:lnTo>
                  <a:lnTo>
                    <a:pt x="4997" y="3122"/>
                  </a:lnTo>
                  <a:close/>
                  <a:moveTo>
                    <a:pt x="5509" y="2185"/>
                  </a:moveTo>
                  <a:lnTo>
                    <a:pt x="5221" y="2473"/>
                  </a:lnTo>
                  <a:lnTo>
                    <a:pt x="4929" y="2181"/>
                  </a:lnTo>
                  <a:lnTo>
                    <a:pt x="5216" y="1893"/>
                  </a:lnTo>
                  <a:cubicBezTo>
                    <a:pt x="5217" y="1893"/>
                    <a:pt x="5218" y="1891"/>
                    <a:pt x="5221" y="1891"/>
                  </a:cubicBezTo>
                  <a:cubicBezTo>
                    <a:pt x="5223" y="1891"/>
                    <a:pt x="5225" y="1893"/>
                    <a:pt x="5225" y="1893"/>
                  </a:cubicBezTo>
                  <a:lnTo>
                    <a:pt x="5509" y="2176"/>
                  </a:lnTo>
                  <a:cubicBezTo>
                    <a:pt x="5509" y="2177"/>
                    <a:pt x="5511" y="2178"/>
                    <a:pt x="5511" y="2181"/>
                  </a:cubicBezTo>
                  <a:cubicBezTo>
                    <a:pt x="5511" y="2183"/>
                    <a:pt x="5509" y="2185"/>
                    <a:pt x="5509" y="2185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394">
              <a:extLst>
                <a:ext uri="{FF2B5EF4-FFF2-40B4-BE49-F238E27FC236}">
                  <a16:creationId xmlns:a16="http://schemas.microsoft.com/office/drawing/2014/main" id="{B6C47B73-C6B4-447E-A149-A43B599AD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8" y="2830"/>
              <a:ext cx="427" cy="91"/>
            </a:xfrm>
            <a:custGeom>
              <a:avLst/>
              <a:gdLst>
                <a:gd name="T0" fmla="*/ 795 w 889"/>
                <a:gd name="T1" fmla="*/ 0 h 188"/>
                <a:gd name="T2" fmla="*/ 94 w 889"/>
                <a:gd name="T3" fmla="*/ 0 h 188"/>
                <a:gd name="T4" fmla="*/ 0 w 889"/>
                <a:gd name="T5" fmla="*/ 94 h 188"/>
                <a:gd name="T6" fmla="*/ 94 w 889"/>
                <a:gd name="T7" fmla="*/ 188 h 188"/>
                <a:gd name="T8" fmla="*/ 795 w 889"/>
                <a:gd name="T9" fmla="*/ 188 h 188"/>
                <a:gd name="T10" fmla="*/ 889 w 889"/>
                <a:gd name="T11" fmla="*/ 94 h 188"/>
                <a:gd name="T12" fmla="*/ 795 w 889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9" h="188">
                  <a:moveTo>
                    <a:pt x="795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795" y="188"/>
                  </a:lnTo>
                  <a:cubicBezTo>
                    <a:pt x="847" y="188"/>
                    <a:pt x="889" y="146"/>
                    <a:pt x="889" y="94"/>
                  </a:cubicBezTo>
                  <a:cubicBezTo>
                    <a:pt x="889" y="42"/>
                    <a:pt x="847" y="0"/>
                    <a:pt x="795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395">
              <a:extLst>
                <a:ext uri="{FF2B5EF4-FFF2-40B4-BE49-F238E27FC236}">
                  <a16:creationId xmlns:a16="http://schemas.microsoft.com/office/drawing/2014/main" id="{F3888BF6-A98B-4D04-9C9C-E94C51976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8" y="3071"/>
              <a:ext cx="956" cy="90"/>
            </a:xfrm>
            <a:custGeom>
              <a:avLst/>
              <a:gdLst>
                <a:gd name="T0" fmla="*/ 1897 w 1991"/>
                <a:gd name="T1" fmla="*/ 0 h 188"/>
                <a:gd name="T2" fmla="*/ 94 w 1991"/>
                <a:gd name="T3" fmla="*/ 0 h 188"/>
                <a:gd name="T4" fmla="*/ 0 w 1991"/>
                <a:gd name="T5" fmla="*/ 94 h 188"/>
                <a:gd name="T6" fmla="*/ 94 w 1991"/>
                <a:gd name="T7" fmla="*/ 188 h 188"/>
                <a:gd name="T8" fmla="*/ 1897 w 1991"/>
                <a:gd name="T9" fmla="*/ 188 h 188"/>
                <a:gd name="T10" fmla="*/ 1991 w 1991"/>
                <a:gd name="T11" fmla="*/ 94 h 188"/>
                <a:gd name="T12" fmla="*/ 1897 w 1991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1" h="188">
                  <a:moveTo>
                    <a:pt x="1897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1897" y="188"/>
                  </a:lnTo>
                  <a:cubicBezTo>
                    <a:pt x="1949" y="188"/>
                    <a:pt x="1991" y="146"/>
                    <a:pt x="1991" y="94"/>
                  </a:cubicBezTo>
                  <a:cubicBezTo>
                    <a:pt x="1991" y="42"/>
                    <a:pt x="1949" y="0"/>
                    <a:pt x="1897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396">
              <a:extLst>
                <a:ext uri="{FF2B5EF4-FFF2-40B4-BE49-F238E27FC236}">
                  <a16:creationId xmlns:a16="http://schemas.microsoft.com/office/drawing/2014/main" id="{85B2C3FC-3394-47F8-8FC2-BBA4319AB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8" y="3311"/>
              <a:ext cx="282" cy="91"/>
            </a:xfrm>
            <a:custGeom>
              <a:avLst/>
              <a:gdLst>
                <a:gd name="T0" fmla="*/ 494 w 588"/>
                <a:gd name="T1" fmla="*/ 0 h 188"/>
                <a:gd name="T2" fmla="*/ 94 w 588"/>
                <a:gd name="T3" fmla="*/ 0 h 188"/>
                <a:gd name="T4" fmla="*/ 0 w 588"/>
                <a:gd name="T5" fmla="*/ 94 h 188"/>
                <a:gd name="T6" fmla="*/ 94 w 588"/>
                <a:gd name="T7" fmla="*/ 188 h 188"/>
                <a:gd name="T8" fmla="*/ 494 w 588"/>
                <a:gd name="T9" fmla="*/ 188 h 188"/>
                <a:gd name="T10" fmla="*/ 588 w 588"/>
                <a:gd name="T11" fmla="*/ 94 h 188"/>
                <a:gd name="T12" fmla="*/ 494 w 588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8" h="188">
                  <a:moveTo>
                    <a:pt x="494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494" y="188"/>
                  </a:lnTo>
                  <a:cubicBezTo>
                    <a:pt x="546" y="188"/>
                    <a:pt x="588" y="146"/>
                    <a:pt x="588" y="94"/>
                  </a:cubicBezTo>
                  <a:cubicBezTo>
                    <a:pt x="588" y="42"/>
                    <a:pt x="546" y="0"/>
                    <a:pt x="494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397">
              <a:extLst>
                <a:ext uri="{FF2B5EF4-FFF2-40B4-BE49-F238E27FC236}">
                  <a16:creationId xmlns:a16="http://schemas.microsoft.com/office/drawing/2014/main" id="{57218FA8-23AC-40AB-B637-431FCB596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2" y="3311"/>
              <a:ext cx="572" cy="91"/>
            </a:xfrm>
            <a:custGeom>
              <a:avLst/>
              <a:gdLst>
                <a:gd name="T0" fmla="*/ 1096 w 1190"/>
                <a:gd name="T1" fmla="*/ 0 h 188"/>
                <a:gd name="T2" fmla="*/ 94 w 1190"/>
                <a:gd name="T3" fmla="*/ 0 h 188"/>
                <a:gd name="T4" fmla="*/ 0 w 1190"/>
                <a:gd name="T5" fmla="*/ 94 h 188"/>
                <a:gd name="T6" fmla="*/ 94 w 1190"/>
                <a:gd name="T7" fmla="*/ 188 h 188"/>
                <a:gd name="T8" fmla="*/ 1096 w 1190"/>
                <a:gd name="T9" fmla="*/ 188 h 188"/>
                <a:gd name="T10" fmla="*/ 1190 w 1190"/>
                <a:gd name="T11" fmla="*/ 94 h 188"/>
                <a:gd name="T12" fmla="*/ 1096 w 1190"/>
                <a:gd name="T13" fmla="*/ 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0" h="188">
                  <a:moveTo>
                    <a:pt x="1096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cubicBezTo>
                    <a:pt x="0" y="146"/>
                    <a:pt x="42" y="188"/>
                    <a:pt x="94" y="188"/>
                  </a:cubicBezTo>
                  <a:lnTo>
                    <a:pt x="1096" y="188"/>
                  </a:lnTo>
                  <a:cubicBezTo>
                    <a:pt x="1148" y="188"/>
                    <a:pt x="1190" y="146"/>
                    <a:pt x="1190" y="94"/>
                  </a:cubicBezTo>
                  <a:cubicBezTo>
                    <a:pt x="1190" y="42"/>
                    <a:pt x="1148" y="0"/>
                    <a:pt x="1096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338D">
                      <a:alpha val="0"/>
                    </a:srgb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7" name="Group 511">
            <a:extLst>
              <a:ext uri="{FF2B5EF4-FFF2-40B4-BE49-F238E27FC236}">
                <a16:creationId xmlns:a16="http://schemas.microsoft.com/office/drawing/2014/main" id="{023763D6-8312-45D6-87D1-79711ED27D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5917" y="3635928"/>
            <a:ext cx="325438" cy="363538"/>
            <a:chOff x="1205" y="2062"/>
            <a:chExt cx="205" cy="229"/>
          </a:xfrm>
          <a:solidFill>
            <a:schemeClr val="bg1"/>
          </a:solidFill>
        </p:grpSpPr>
        <p:sp>
          <p:nvSpPr>
            <p:cNvPr id="68" name="Freeform 512">
              <a:extLst>
                <a:ext uri="{FF2B5EF4-FFF2-40B4-BE49-F238E27FC236}">
                  <a16:creationId xmlns:a16="http://schemas.microsoft.com/office/drawing/2014/main" id="{F3034DC1-772D-48C6-858F-FCB42BCB5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6" y="2122"/>
              <a:ext cx="9" cy="9"/>
            </a:xfrm>
            <a:custGeom>
              <a:avLst/>
              <a:gdLst>
                <a:gd name="T0" fmla="*/ 125 w 250"/>
                <a:gd name="T1" fmla="*/ 250 h 250"/>
                <a:gd name="T2" fmla="*/ 125 w 250"/>
                <a:gd name="T3" fmla="*/ 250 h 250"/>
                <a:gd name="T4" fmla="*/ 250 w 250"/>
                <a:gd name="T5" fmla="*/ 125 h 250"/>
                <a:gd name="T6" fmla="*/ 125 w 250"/>
                <a:gd name="T7" fmla="*/ 0 h 250"/>
                <a:gd name="T8" fmla="*/ 0 w 250"/>
                <a:gd name="T9" fmla="*/ 125 h 250"/>
                <a:gd name="T10" fmla="*/ 125 w 250"/>
                <a:gd name="T11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250">
                  <a:moveTo>
                    <a:pt x="125" y="250"/>
                  </a:moveTo>
                  <a:lnTo>
                    <a:pt x="125" y="250"/>
                  </a:ln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513">
              <a:extLst>
                <a:ext uri="{FF2B5EF4-FFF2-40B4-BE49-F238E27FC236}">
                  <a16:creationId xmlns:a16="http://schemas.microsoft.com/office/drawing/2014/main" id="{48049995-6CB9-4DCC-B682-8F698CA4E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6" y="2122"/>
              <a:ext cx="9" cy="9"/>
            </a:xfrm>
            <a:custGeom>
              <a:avLst/>
              <a:gdLst>
                <a:gd name="T0" fmla="*/ 125 w 250"/>
                <a:gd name="T1" fmla="*/ 250 h 250"/>
                <a:gd name="T2" fmla="*/ 125 w 250"/>
                <a:gd name="T3" fmla="*/ 250 h 250"/>
                <a:gd name="T4" fmla="*/ 250 w 250"/>
                <a:gd name="T5" fmla="*/ 125 h 250"/>
                <a:gd name="T6" fmla="*/ 125 w 250"/>
                <a:gd name="T7" fmla="*/ 0 h 250"/>
                <a:gd name="T8" fmla="*/ 0 w 250"/>
                <a:gd name="T9" fmla="*/ 125 h 250"/>
                <a:gd name="T10" fmla="*/ 125 w 250"/>
                <a:gd name="T11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250">
                  <a:moveTo>
                    <a:pt x="125" y="250"/>
                  </a:moveTo>
                  <a:lnTo>
                    <a:pt x="125" y="250"/>
                  </a:ln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514">
              <a:extLst>
                <a:ext uri="{FF2B5EF4-FFF2-40B4-BE49-F238E27FC236}">
                  <a16:creationId xmlns:a16="http://schemas.microsoft.com/office/drawing/2014/main" id="{5D4D7BEF-C5A0-432D-9ADF-5BE62ADEA7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9" y="2109"/>
              <a:ext cx="72" cy="35"/>
            </a:xfrm>
            <a:custGeom>
              <a:avLst/>
              <a:gdLst>
                <a:gd name="T0" fmla="*/ 500 w 2000"/>
                <a:gd name="T1" fmla="*/ 1000 h 1000"/>
                <a:gd name="T2" fmla="*/ 1500 w 2000"/>
                <a:gd name="T3" fmla="*/ 1000 h 1000"/>
                <a:gd name="T4" fmla="*/ 2000 w 2000"/>
                <a:gd name="T5" fmla="*/ 500 h 1000"/>
                <a:gd name="T6" fmla="*/ 1500 w 2000"/>
                <a:gd name="T7" fmla="*/ 0 h 1000"/>
                <a:gd name="T8" fmla="*/ 500 w 2000"/>
                <a:gd name="T9" fmla="*/ 0 h 1000"/>
                <a:gd name="T10" fmla="*/ 0 w 2000"/>
                <a:gd name="T11" fmla="*/ 500 h 1000"/>
                <a:gd name="T12" fmla="*/ 500 w 2000"/>
                <a:gd name="T13" fmla="*/ 1000 h 1000"/>
                <a:gd name="T14" fmla="*/ 500 w 2000"/>
                <a:gd name="T15" fmla="*/ 250 h 1000"/>
                <a:gd name="T16" fmla="*/ 1500 w 2000"/>
                <a:gd name="T17" fmla="*/ 250 h 1000"/>
                <a:gd name="T18" fmla="*/ 1750 w 2000"/>
                <a:gd name="T19" fmla="*/ 500 h 1000"/>
                <a:gd name="T20" fmla="*/ 1500 w 2000"/>
                <a:gd name="T21" fmla="*/ 750 h 1000"/>
                <a:gd name="T22" fmla="*/ 500 w 2000"/>
                <a:gd name="T23" fmla="*/ 750 h 1000"/>
                <a:gd name="T24" fmla="*/ 250 w 2000"/>
                <a:gd name="T25" fmla="*/ 500 h 1000"/>
                <a:gd name="T26" fmla="*/ 500 w 2000"/>
                <a:gd name="T27" fmla="*/ 25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00" h="1000">
                  <a:moveTo>
                    <a:pt x="500" y="1000"/>
                  </a:moveTo>
                  <a:lnTo>
                    <a:pt x="1500" y="1000"/>
                  </a:lnTo>
                  <a:cubicBezTo>
                    <a:pt x="1776" y="1000"/>
                    <a:pt x="2000" y="776"/>
                    <a:pt x="2000" y="500"/>
                  </a:cubicBezTo>
                  <a:cubicBezTo>
                    <a:pt x="2000" y="224"/>
                    <a:pt x="1776" y="0"/>
                    <a:pt x="1500" y="0"/>
                  </a:cubicBezTo>
                  <a:lnTo>
                    <a:pt x="500" y="0"/>
                  </a:lnTo>
                  <a:cubicBezTo>
                    <a:pt x="224" y="0"/>
                    <a:pt x="0" y="224"/>
                    <a:pt x="0" y="500"/>
                  </a:cubicBezTo>
                  <a:cubicBezTo>
                    <a:pt x="0" y="776"/>
                    <a:pt x="224" y="1000"/>
                    <a:pt x="500" y="1000"/>
                  </a:cubicBezTo>
                  <a:close/>
                  <a:moveTo>
                    <a:pt x="500" y="250"/>
                  </a:moveTo>
                  <a:lnTo>
                    <a:pt x="1500" y="250"/>
                  </a:lnTo>
                  <a:cubicBezTo>
                    <a:pt x="1638" y="250"/>
                    <a:pt x="1750" y="362"/>
                    <a:pt x="1750" y="500"/>
                  </a:cubicBezTo>
                  <a:cubicBezTo>
                    <a:pt x="1750" y="638"/>
                    <a:pt x="1638" y="750"/>
                    <a:pt x="1500" y="750"/>
                  </a:cubicBezTo>
                  <a:lnTo>
                    <a:pt x="500" y="750"/>
                  </a:lnTo>
                  <a:cubicBezTo>
                    <a:pt x="362" y="750"/>
                    <a:pt x="250" y="638"/>
                    <a:pt x="250" y="500"/>
                  </a:cubicBezTo>
                  <a:cubicBezTo>
                    <a:pt x="250" y="362"/>
                    <a:pt x="362" y="250"/>
                    <a:pt x="500" y="2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515">
              <a:extLst>
                <a:ext uri="{FF2B5EF4-FFF2-40B4-BE49-F238E27FC236}">
                  <a16:creationId xmlns:a16="http://schemas.microsoft.com/office/drawing/2014/main" id="{A2486A79-7996-42EA-9AF9-FFC9A720C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4" y="2220"/>
              <a:ext cx="26" cy="46"/>
            </a:xfrm>
            <a:custGeom>
              <a:avLst/>
              <a:gdLst>
                <a:gd name="T0" fmla="*/ 485 w 727"/>
                <a:gd name="T1" fmla="*/ 567 h 1290"/>
                <a:gd name="T2" fmla="*/ 303 w 727"/>
                <a:gd name="T3" fmla="*/ 492 h 1290"/>
                <a:gd name="T4" fmla="*/ 264 w 727"/>
                <a:gd name="T5" fmla="*/ 453 h 1290"/>
                <a:gd name="T6" fmla="*/ 264 w 727"/>
                <a:gd name="T7" fmla="*/ 398 h 1290"/>
                <a:gd name="T8" fmla="*/ 303 w 727"/>
                <a:gd name="T9" fmla="*/ 360 h 1290"/>
                <a:gd name="T10" fmla="*/ 358 w 727"/>
                <a:gd name="T11" fmla="*/ 359 h 1290"/>
                <a:gd name="T12" fmla="*/ 449 w 727"/>
                <a:gd name="T13" fmla="*/ 397 h 1290"/>
                <a:gd name="T14" fmla="*/ 612 w 727"/>
                <a:gd name="T15" fmla="*/ 329 h 1290"/>
                <a:gd name="T16" fmla="*/ 545 w 727"/>
                <a:gd name="T17" fmla="*/ 166 h 1290"/>
                <a:gd name="T18" fmla="*/ 471 w 727"/>
                <a:gd name="T19" fmla="*/ 136 h 1290"/>
                <a:gd name="T20" fmla="*/ 471 w 727"/>
                <a:gd name="T21" fmla="*/ 125 h 1290"/>
                <a:gd name="T22" fmla="*/ 346 w 727"/>
                <a:gd name="T23" fmla="*/ 0 h 1290"/>
                <a:gd name="T24" fmla="*/ 221 w 727"/>
                <a:gd name="T25" fmla="*/ 123 h 1290"/>
                <a:gd name="T26" fmla="*/ 208 w 727"/>
                <a:gd name="T27" fmla="*/ 129 h 1290"/>
                <a:gd name="T28" fmla="*/ 33 w 727"/>
                <a:gd name="T29" fmla="*/ 303 h 1290"/>
                <a:gd name="T30" fmla="*/ 34 w 727"/>
                <a:gd name="T31" fmla="*/ 549 h 1290"/>
                <a:gd name="T32" fmla="*/ 207 w 727"/>
                <a:gd name="T33" fmla="*/ 723 h 1290"/>
                <a:gd name="T34" fmla="*/ 389 w 727"/>
                <a:gd name="T35" fmla="*/ 798 h 1290"/>
                <a:gd name="T36" fmla="*/ 428 w 727"/>
                <a:gd name="T37" fmla="*/ 892 h 1290"/>
                <a:gd name="T38" fmla="*/ 334 w 727"/>
                <a:gd name="T39" fmla="*/ 931 h 1290"/>
                <a:gd name="T40" fmla="*/ 243 w 727"/>
                <a:gd name="T41" fmla="*/ 893 h 1290"/>
                <a:gd name="T42" fmla="*/ 80 w 727"/>
                <a:gd name="T43" fmla="*/ 961 h 1290"/>
                <a:gd name="T44" fmla="*/ 148 w 727"/>
                <a:gd name="T45" fmla="*/ 1124 h 1290"/>
                <a:gd name="T46" fmla="*/ 221 w 727"/>
                <a:gd name="T47" fmla="*/ 1155 h 1290"/>
                <a:gd name="T48" fmla="*/ 221 w 727"/>
                <a:gd name="T49" fmla="*/ 1165 h 1290"/>
                <a:gd name="T50" fmla="*/ 346 w 727"/>
                <a:gd name="T51" fmla="*/ 1290 h 1290"/>
                <a:gd name="T52" fmla="*/ 471 w 727"/>
                <a:gd name="T53" fmla="*/ 1167 h 1290"/>
                <a:gd name="T54" fmla="*/ 659 w 727"/>
                <a:gd name="T55" fmla="*/ 988 h 1290"/>
                <a:gd name="T56" fmla="*/ 485 w 727"/>
                <a:gd name="T57" fmla="*/ 567 h 1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27" h="1290">
                  <a:moveTo>
                    <a:pt x="485" y="567"/>
                  </a:moveTo>
                  <a:lnTo>
                    <a:pt x="303" y="492"/>
                  </a:lnTo>
                  <a:cubicBezTo>
                    <a:pt x="286" y="485"/>
                    <a:pt x="272" y="471"/>
                    <a:pt x="264" y="453"/>
                  </a:cubicBezTo>
                  <a:cubicBezTo>
                    <a:pt x="257" y="435"/>
                    <a:pt x="257" y="416"/>
                    <a:pt x="264" y="398"/>
                  </a:cubicBezTo>
                  <a:cubicBezTo>
                    <a:pt x="272" y="381"/>
                    <a:pt x="285" y="367"/>
                    <a:pt x="303" y="360"/>
                  </a:cubicBezTo>
                  <a:cubicBezTo>
                    <a:pt x="321" y="352"/>
                    <a:pt x="341" y="352"/>
                    <a:pt x="358" y="359"/>
                  </a:cubicBezTo>
                  <a:lnTo>
                    <a:pt x="449" y="397"/>
                  </a:lnTo>
                  <a:cubicBezTo>
                    <a:pt x="513" y="423"/>
                    <a:pt x="586" y="393"/>
                    <a:pt x="612" y="329"/>
                  </a:cubicBezTo>
                  <a:cubicBezTo>
                    <a:pt x="639" y="266"/>
                    <a:pt x="608" y="192"/>
                    <a:pt x="545" y="166"/>
                  </a:cubicBezTo>
                  <a:lnTo>
                    <a:pt x="471" y="136"/>
                  </a:lnTo>
                  <a:lnTo>
                    <a:pt x="471" y="125"/>
                  </a:lnTo>
                  <a:cubicBezTo>
                    <a:pt x="471" y="56"/>
                    <a:pt x="415" y="0"/>
                    <a:pt x="346" y="0"/>
                  </a:cubicBezTo>
                  <a:cubicBezTo>
                    <a:pt x="278" y="0"/>
                    <a:pt x="222" y="55"/>
                    <a:pt x="221" y="123"/>
                  </a:cubicBezTo>
                  <a:cubicBezTo>
                    <a:pt x="217" y="125"/>
                    <a:pt x="212" y="127"/>
                    <a:pt x="208" y="129"/>
                  </a:cubicBezTo>
                  <a:cubicBezTo>
                    <a:pt x="128" y="162"/>
                    <a:pt x="66" y="223"/>
                    <a:pt x="33" y="303"/>
                  </a:cubicBezTo>
                  <a:cubicBezTo>
                    <a:pt x="0" y="382"/>
                    <a:pt x="1" y="469"/>
                    <a:pt x="34" y="549"/>
                  </a:cubicBezTo>
                  <a:cubicBezTo>
                    <a:pt x="66" y="628"/>
                    <a:pt x="128" y="690"/>
                    <a:pt x="207" y="723"/>
                  </a:cubicBezTo>
                  <a:lnTo>
                    <a:pt x="389" y="798"/>
                  </a:lnTo>
                  <a:cubicBezTo>
                    <a:pt x="425" y="813"/>
                    <a:pt x="443" y="856"/>
                    <a:pt x="428" y="892"/>
                  </a:cubicBezTo>
                  <a:cubicBezTo>
                    <a:pt x="413" y="928"/>
                    <a:pt x="370" y="946"/>
                    <a:pt x="334" y="931"/>
                  </a:cubicBezTo>
                  <a:lnTo>
                    <a:pt x="243" y="893"/>
                  </a:lnTo>
                  <a:cubicBezTo>
                    <a:pt x="180" y="867"/>
                    <a:pt x="107" y="897"/>
                    <a:pt x="80" y="961"/>
                  </a:cubicBezTo>
                  <a:cubicBezTo>
                    <a:pt x="54" y="1025"/>
                    <a:pt x="84" y="1098"/>
                    <a:pt x="148" y="1124"/>
                  </a:cubicBezTo>
                  <a:lnTo>
                    <a:pt x="221" y="1155"/>
                  </a:lnTo>
                  <a:lnTo>
                    <a:pt x="221" y="1165"/>
                  </a:lnTo>
                  <a:cubicBezTo>
                    <a:pt x="221" y="1234"/>
                    <a:pt x="277" y="1290"/>
                    <a:pt x="346" y="1290"/>
                  </a:cubicBezTo>
                  <a:cubicBezTo>
                    <a:pt x="415" y="1290"/>
                    <a:pt x="470" y="1235"/>
                    <a:pt x="471" y="1167"/>
                  </a:cubicBezTo>
                  <a:cubicBezTo>
                    <a:pt x="553" y="1137"/>
                    <a:pt x="623" y="1075"/>
                    <a:pt x="659" y="988"/>
                  </a:cubicBezTo>
                  <a:cubicBezTo>
                    <a:pt x="727" y="824"/>
                    <a:pt x="649" y="635"/>
                    <a:pt x="485" y="56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516">
              <a:extLst>
                <a:ext uri="{FF2B5EF4-FFF2-40B4-BE49-F238E27FC236}">
                  <a16:creationId xmlns:a16="http://schemas.microsoft.com/office/drawing/2014/main" id="{C4CABEB0-4D42-40D6-AB77-F9D763F103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5" y="2062"/>
              <a:ext cx="205" cy="229"/>
            </a:xfrm>
            <a:custGeom>
              <a:avLst/>
              <a:gdLst>
                <a:gd name="T0" fmla="*/ 5008 w 5752"/>
                <a:gd name="T1" fmla="*/ 3802 h 6400"/>
                <a:gd name="T2" fmla="*/ 5137 w 5752"/>
                <a:gd name="T3" fmla="*/ 3163 h 6400"/>
                <a:gd name="T4" fmla="*/ 4007 w 5752"/>
                <a:gd name="T5" fmla="*/ 3087 h 6400"/>
                <a:gd name="T6" fmla="*/ 3907 w 5752"/>
                <a:gd name="T7" fmla="*/ 3252 h 6400"/>
                <a:gd name="T8" fmla="*/ 3779 w 5752"/>
                <a:gd name="T9" fmla="*/ 3506 h 6400"/>
                <a:gd name="T10" fmla="*/ 2796 w 5752"/>
                <a:gd name="T11" fmla="*/ 3181 h 6400"/>
                <a:gd name="T12" fmla="*/ 3583 w 5752"/>
                <a:gd name="T13" fmla="*/ 1331 h 6400"/>
                <a:gd name="T14" fmla="*/ 1786 w 5752"/>
                <a:gd name="T15" fmla="*/ 85 h 6400"/>
                <a:gd name="T16" fmla="*/ 1874 w 5752"/>
                <a:gd name="T17" fmla="*/ 319 h 6400"/>
                <a:gd name="T18" fmla="*/ 3333 w 5752"/>
                <a:gd name="T19" fmla="*/ 1331 h 6400"/>
                <a:gd name="T20" fmla="*/ 2635 w 5752"/>
                <a:gd name="T21" fmla="*/ 2977 h 6400"/>
                <a:gd name="T22" fmla="*/ 2252 w 5752"/>
                <a:gd name="T23" fmla="*/ 3047 h 6400"/>
                <a:gd name="T24" fmla="*/ 1869 w 5752"/>
                <a:gd name="T25" fmla="*/ 2977 h 6400"/>
                <a:gd name="T26" fmla="*/ 1171 w 5752"/>
                <a:gd name="T27" fmla="*/ 1331 h 6400"/>
                <a:gd name="T28" fmla="*/ 1167 w 5752"/>
                <a:gd name="T29" fmla="*/ 792 h 6400"/>
                <a:gd name="T30" fmla="*/ 921 w 5752"/>
                <a:gd name="T31" fmla="*/ 1331 h 6400"/>
                <a:gd name="T32" fmla="*/ 1708 w 5752"/>
                <a:gd name="T33" fmla="*/ 3181 h 6400"/>
                <a:gd name="T34" fmla="*/ 725 w 5752"/>
                <a:gd name="T35" fmla="*/ 3506 h 6400"/>
                <a:gd name="T36" fmla="*/ 2 w 5752"/>
                <a:gd name="T37" fmla="*/ 5930 h 6400"/>
                <a:gd name="T38" fmla="*/ 127 w 5752"/>
                <a:gd name="T39" fmla="*/ 6064 h 6400"/>
                <a:gd name="T40" fmla="*/ 877 w 5752"/>
                <a:gd name="T41" fmla="*/ 6064 h 6400"/>
                <a:gd name="T42" fmla="*/ 2165 w 5752"/>
                <a:gd name="T43" fmla="*/ 6064 h 6400"/>
                <a:gd name="T44" fmla="*/ 2165 w 5752"/>
                <a:gd name="T45" fmla="*/ 5814 h 6400"/>
                <a:gd name="T46" fmla="*/ 1058 w 5752"/>
                <a:gd name="T47" fmla="*/ 5134 h 6400"/>
                <a:gd name="T48" fmla="*/ 809 w 5752"/>
                <a:gd name="T49" fmla="*/ 5117 h 6400"/>
                <a:gd name="T50" fmla="*/ 261 w 5752"/>
                <a:gd name="T51" fmla="*/ 5814 h 6400"/>
                <a:gd name="T52" fmla="*/ 779 w 5752"/>
                <a:gd name="T53" fmla="*/ 3750 h 6400"/>
                <a:gd name="T54" fmla="*/ 2252 w 5752"/>
                <a:gd name="T55" fmla="*/ 3922 h 6400"/>
                <a:gd name="T56" fmla="*/ 3725 w 5752"/>
                <a:gd name="T57" fmla="*/ 3750 h 6400"/>
                <a:gd name="T58" fmla="*/ 3530 w 5752"/>
                <a:gd name="T59" fmla="*/ 4284 h 6400"/>
                <a:gd name="T60" fmla="*/ 3393 w 5752"/>
                <a:gd name="T61" fmla="*/ 5814 h 6400"/>
                <a:gd name="T62" fmla="*/ 3040 w 5752"/>
                <a:gd name="T63" fmla="*/ 5939 h 6400"/>
                <a:gd name="T64" fmla="*/ 3558 w 5752"/>
                <a:gd name="T65" fmla="*/ 6064 h 6400"/>
                <a:gd name="T66" fmla="*/ 5752 w 5752"/>
                <a:gd name="T67" fmla="*/ 5357 h 6400"/>
                <a:gd name="T68" fmla="*/ 2252 w 5752"/>
                <a:gd name="T69" fmla="*/ 3672 h 6400"/>
                <a:gd name="T70" fmla="*/ 1958 w 5752"/>
                <a:gd name="T71" fmla="*/ 3264 h 6400"/>
                <a:gd name="T72" fmla="*/ 2546 w 5752"/>
                <a:gd name="T73" fmla="*/ 3264 h 6400"/>
                <a:gd name="T74" fmla="*/ 2252 w 5752"/>
                <a:gd name="T75" fmla="*/ 3672 h 6400"/>
                <a:gd name="T76" fmla="*/ 4768 w 5752"/>
                <a:gd name="T77" fmla="*/ 3731 h 6400"/>
                <a:gd name="T78" fmla="*/ 4339 w 5752"/>
                <a:gd name="T79" fmla="*/ 3723 h 6400"/>
                <a:gd name="T80" fmla="*/ 4876 w 5752"/>
                <a:gd name="T81" fmla="*/ 3328 h 6400"/>
                <a:gd name="T82" fmla="*/ 4528 w 5752"/>
                <a:gd name="T83" fmla="*/ 6150 h 6400"/>
                <a:gd name="T84" fmla="*/ 3554 w 5752"/>
                <a:gd name="T85" fmla="*/ 5357 h 6400"/>
                <a:gd name="T86" fmla="*/ 5502 w 5752"/>
                <a:gd name="T87" fmla="*/ 5357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752" h="6400">
                  <a:moveTo>
                    <a:pt x="5526" y="4284"/>
                  </a:moveTo>
                  <a:cubicBezTo>
                    <a:pt x="5402" y="4057"/>
                    <a:pt x="5227" y="3894"/>
                    <a:pt x="5008" y="3802"/>
                  </a:cubicBezTo>
                  <a:lnTo>
                    <a:pt x="5152" y="3261"/>
                  </a:lnTo>
                  <a:cubicBezTo>
                    <a:pt x="5161" y="3228"/>
                    <a:pt x="5156" y="3192"/>
                    <a:pt x="5137" y="3163"/>
                  </a:cubicBezTo>
                  <a:cubicBezTo>
                    <a:pt x="5119" y="3134"/>
                    <a:pt x="5090" y="3113"/>
                    <a:pt x="5056" y="3107"/>
                  </a:cubicBezTo>
                  <a:cubicBezTo>
                    <a:pt x="4621" y="3019"/>
                    <a:pt x="4295" y="3046"/>
                    <a:pt x="4007" y="3087"/>
                  </a:cubicBezTo>
                  <a:cubicBezTo>
                    <a:pt x="3970" y="3092"/>
                    <a:pt x="3937" y="3114"/>
                    <a:pt x="3918" y="3146"/>
                  </a:cubicBezTo>
                  <a:cubicBezTo>
                    <a:pt x="3899" y="3178"/>
                    <a:pt x="3895" y="3217"/>
                    <a:pt x="3907" y="3252"/>
                  </a:cubicBezTo>
                  <a:lnTo>
                    <a:pt x="4030" y="3599"/>
                  </a:lnTo>
                  <a:cubicBezTo>
                    <a:pt x="3955" y="3558"/>
                    <a:pt x="3871" y="3526"/>
                    <a:pt x="3779" y="3506"/>
                  </a:cubicBezTo>
                  <a:lnTo>
                    <a:pt x="2796" y="3289"/>
                  </a:lnTo>
                  <a:lnTo>
                    <a:pt x="2796" y="3181"/>
                  </a:lnTo>
                  <a:cubicBezTo>
                    <a:pt x="3260" y="2972"/>
                    <a:pt x="3583" y="2506"/>
                    <a:pt x="3583" y="1966"/>
                  </a:cubicBezTo>
                  <a:lnTo>
                    <a:pt x="3583" y="1331"/>
                  </a:lnTo>
                  <a:cubicBezTo>
                    <a:pt x="3583" y="597"/>
                    <a:pt x="2986" y="0"/>
                    <a:pt x="2252" y="0"/>
                  </a:cubicBezTo>
                  <a:cubicBezTo>
                    <a:pt x="2092" y="0"/>
                    <a:pt x="1935" y="29"/>
                    <a:pt x="1786" y="85"/>
                  </a:cubicBezTo>
                  <a:cubicBezTo>
                    <a:pt x="1721" y="109"/>
                    <a:pt x="1688" y="181"/>
                    <a:pt x="1713" y="246"/>
                  </a:cubicBezTo>
                  <a:cubicBezTo>
                    <a:pt x="1737" y="310"/>
                    <a:pt x="1809" y="343"/>
                    <a:pt x="1874" y="319"/>
                  </a:cubicBezTo>
                  <a:cubicBezTo>
                    <a:pt x="1995" y="273"/>
                    <a:pt x="2122" y="250"/>
                    <a:pt x="2252" y="250"/>
                  </a:cubicBezTo>
                  <a:cubicBezTo>
                    <a:pt x="2848" y="250"/>
                    <a:pt x="3333" y="735"/>
                    <a:pt x="3333" y="1331"/>
                  </a:cubicBezTo>
                  <a:lnTo>
                    <a:pt x="3333" y="1966"/>
                  </a:lnTo>
                  <a:cubicBezTo>
                    <a:pt x="3333" y="2427"/>
                    <a:pt x="3043" y="2822"/>
                    <a:pt x="2635" y="2977"/>
                  </a:cubicBezTo>
                  <a:cubicBezTo>
                    <a:pt x="2630" y="2978"/>
                    <a:pt x="2625" y="2980"/>
                    <a:pt x="2620" y="2982"/>
                  </a:cubicBezTo>
                  <a:cubicBezTo>
                    <a:pt x="2505" y="3024"/>
                    <a:pt x="2381" y="3047"/>
                    <a:pt x="2252" y="3047"/>
                  </a:cubicBezTo>
                  <a:cubicBezTo>
                    <a:pt x="2123" y="3047"/>
                    <a:pt x="1999" y="3024"/>
                    <a:pt x="1884" y="2982"/>
                  </a:cubicBezTo>
                  <a:cubicBezTo>
                    <a:pt x="1879" y="2980"/>
                    <a:pt x="1874" y="2978"/>
                    <a:pt x="1869" y="2977"/>
                  </a:cubicBezTo>
                  <a:cubicBezTo>
                    <a:pt x="1461" y="2822"/>
                    <a:pt x="1171" y="2427"/>
                    <a:pt x="1171" y="1966"/>
                  </a:cubicBezTo>
                  <a:lnTo>
                    <a:pt x="1171" y="1331"/>
                  </a:lnTo>
                  <a:cubicBezTo>
                    <a:pt x="1171" y="1201"/>
                    <a:pt x="1194" y="1074"/>
                    <a:pt x="1240" y="953"/>
                  </a:cubicBezTo>
                  <a:cubicBezTo>
                    <a:pt x="1264" y="888"/>
                    <a:pt x="1231" y="816"/>
                    <a:pt x="1167" y="792"/>
                  </a:cubicBezTo>
                  <a:cubicBezTo>
                    <a:pt x="1102" y="768"/>
                    <a:pt x="1030" y="800"/>
                    <a:pt x="1006" y="865"/>
                  </a:cubicBezTo>
                  <a:cubicBezTo>
                    <a:pt x="949" y="1014"/>
                    <a:pt x="921" y="1171"/>
                    <a:pt x="921" y="1331"/>
                  </a:cubicBezTo>
                  <a:lnTo>
                    <a:pt x="921" y="1966"/>
                  </a:lnTo>
                  <a:cubicBezTo>
                    <a:pt x="921" y="2506"/>
                    <a:pt x="1245" y="2972"/>
                    <a:pt x="1708" y="3181"/>
                  </a:cubicBezTo>
                  <a:lnTo>
                    <a:pt x="1708" y="3289"/>
                  </a:lnTo>
                  <a:lnTo>
                    <a:pt x="725" y="3506"/>
                  </a:lnTo>
                  <a:cubicBezTo>
                    <a:pt x="372" y="3584"/>
                    <a:pt x="148" y="3813"/>
                    <a:pt x="127" y="4120"/>
                  </a:cubicBezTo>
                  <a:lnTo>
                    <a:pt x="2" y="5930"/>
                  </a:lnTo>
                  <a:cubicBezTo>
                    <a:pt x="0" y="5965"/>
                    <a:pt x="12" y="5999"/>
                    <a:pt x="36" y="6024"/>
                  </a:cubicBezTo>
                  <a:cubicBezTo>
                    <a:pt x="59" y="6049"/>
                    <a:pt x="92" y="6064"/>
                    <a:pt x="127" y="6064"/>
                  </a:cubicBezTo>
                  <a:lnTo>
                    <a:pt x="877" y="6064"/>
                  </a:lnTo>
                  <a:lnTo>
                    <a:pt x="877" y="6064"/>
                  </a:lnTo>
                  <a:lnTo>
                    <a:pt x="877" y="6064"/>
                  </a:lnTo>
                  <a:lnTo>
                    <a:pt x="2165" y="6064"/>
                  </a:lnTo>
                  <a:cubicBezTo>
                    <a:pt x="2234" y="6064"/>
                    <a:pt x="2290" y="6008"/>
                    <a:pt x="2290" y="5939"/>
                  </a:cubicBezTo>
                  <a:cubicBezTo>
                    <a:pt x="2290" y="5870"/>
                    <a:pt x="2234" y="5814"/>
                    <a:pt x="2165" y="5814"/>
                  </a:cubicBezTo>
                  <a:lnTo>
                    <a:pt x="1011" y="5814"/>
                  </a:lnTo>
                  <a:lnTo>
                    <a:pt x="1058" y="5134"/>
                  </a:lnTo>
                  <a:cubicBezTo>
                    <a:pt x="1063" y="5065"/>
                    <a:pt x="1011" y="5006"/>
                    <a:pt x="942" y="5001"/>
                  </a:cubicBezTo>
                  <a:cubicBezTo>
                    <a:pt x="873" y="4996"/>
                    <a:pt x="813" y="5048"/>
                    <a:pt x="809" y="5117"/>
                  </a:cubicBezTo>
                  <a:lnTo>
                    <a:pt x="760" y="5814"/>
                  </a:lnTo>
                  <a:lnTo>
                    <a:pt x="261" y="5814"/>
                  </a:lnTo>
                  <a:lnTo>
                    <a:pt x="377" y="4137"/>
                  </a:lnTo>
                  <a:cubicBezTo>
                    <a:pt x="396" y="3864"/>
                    <a:pt x="664" y="3776"/>
                    <a:pt x="779" y="3750"/>
                  </a:cubicBezTo>
                  <a:lnTo>
                    <a:pt x="1733" y="3540"/>
                  </a:lnTo>
                  <a:cubicBezTo>
                    <a:pt x="1802" y="3761"/>
                    <a:pt x="2008" y="3922"/>
                    <a:pt x="2252" y="3922"/>
                  </a:cubicBezTo>
                  <a:cubicBezTo>
                    <a:pt x="2496" y="3922"/>
                    <a:pt x="2702" y="3761"/>
                    <a:pt x="2771" y="3540"/>
                  </a:cubicBezTo>
                  <a:lnTo>
                    <a:pt x="3725" y="3750"/>
                  </a:lnTo>
                  <a:cubicBezTo>
                    <a:pt x="3815" y="3770"/>
                    <a:pt x="3893" y="3803"/>
                    <a:pt x="3956" y="3846"/>
                  </a:cubicBezTo>
                  <a:cubicBezTo>
                    <a:pt x="3780" y="3943"/>
                    <a:pt x="3636" y="4089"/>
                    <a:pt x="3530" y="4284"/>
                  </a:cubicBezTo>
                  <a:cubicBezTo>
                    <a:pt x="3344" y="4625"/>
                    <a:pt x="3304" y="5056"/>
                    <a:pt x="3304" y="5357"/>
                  </a:cubicBezTo>
                  <a:cubicBezTo>
                    <a:pt x="3304" y="5529"/>
                    <a:pt x="3335" y="5682"/>
                    <a:pt x="3393" y="5814"/>
                  </a:cubicBezTo>
                  <a:lnTo>
                    <a:pt x="3165" y="5814"/>
                  </a:lnTo>
                  <a:cubicBezTo>
                    <a:pt x="3096" y="5814"/>
                    <a:pt x="3040" y="5870"/>
                    <a:pt x="3040" y="5939"/>
                  </a:cubicBezTo>
                  <a:cubicBezTo>
                    <a:pt x="3040" y="6008"/>
                    <a:pt x="3096" y="6064"/>
                    <a:pt x="3165" y="6064"/>
                  </a:cubicBezTo>
                  <a:lnTo>
                    <a:pt x="3558" y="6064"/>
                  </a:lnTo>
                  <a:cubicBezTo>
                    <a:pt x="3766" y="6282"/>
                    <a:pt x="4096" y="6400"/>
                    <a:pt x="4528" y="6400"/>
                  </a:cubicBezTo>
                  <a:cubicBezTo>
                    <a:pt x="5306" y="6400"/>
                    <a:pt x="5752" y="6020"/>
                    <a:pt x="5752" y="5357"/>
                  </a:cubicBezTo>
                  <a:cubicBezTo>
                    <a:pt x="5752" y="5056"/>
                    <a:pt x="5713" y="4625"/>
                    <a:pt x="5526" y="4284"/>
                  </a:cubicBezTo>
                  <a:close/>
                  <a:moveTo>
                    <a:pt x="2252" y="3672"/>
                  </a:moveTo>
                  <a:cubicBezTo>
                    <a:pt x="2090" y="3672"/>
                    <a:pt x="1958" y="3540"/>
                    <a:pt x="1958" y="3378"/>
                  </a:cubicBezTo>
                  <a:lnTo>
                    <a:pt x="1958" y="3264"/>
                  </a:lnTo>
                  <a:cubicBezTo>
                    <a:pt x="2053" y="3285"/>
                    <a:pt x="2151" y="3297"/>
                    <a:pt x="2252" y="3297"/>
                  </a:cubicBezTo>
                  <a:cubicBezTo>
                    <a:pt x="2353" y="3297"/>
                    <a:pt x="2451" y="3285"/>
                    <a:pt x="2546" y="3264"/>
                  </a:cubicBezTo>
                  <a:lnTo>
                    <a:pt x="2546" y="3378"/>
                  </a:lnTo>
                  <a:cubicBezTo>
                    <a:pt x="2546" y="3540"/>
                    <a:pt x="2414" y="3672"/>
                    <a:pt x="2252" y="3672"/>
                  </a:cubicBezTo>
                  <a:close/>
                  <a:moveTo>
                    <a:pt x="4876" y="3328"/>
                  </a:moveTo>
                  <a:lnTo>
                    <a:pt x="4768" y="3731"/>
                  </a:lnTo>
                  <a:cubicBezTo>
                    <a:pt x="4692" y="3717"/>
                    <a:pt x="4612" y="3710"/>
                    <a:pt x="4528" y="3710"/>
                  </a:cubicBezTo>
                  <a:cubicBezTo>
                    <a:pt x="4463" y="3710"/>
                    <a:pt x="4400" y="3715"/>
                    <a:pt x="4339" y="3723"/>
                  </a:cubicBezTo>
                  <a:lnTo>
                    <a:pt x="4195" y="3315"/>
                  </a:lnTo>
                  <a:cubicBezTo>
                    <a:pt x="4410" y="3292"/>
                    <a:pt x="4622" y="3289"/>
                    <a:pt x="4876" y="3328"/>
                  </a:cubicBezTo>
                  <a:close/>
                  <a:moveTo>
                    <a:pt x="5231" y="5968"/>
                  </a:moveTo>
                  <a:cubicBezTo>
                    <a:pt x="5068" y="6087"/>
                    <a:pt x="4825" y="6150"/>
                    <a:pt x="4528" y="6150"/>
                  </a:cubicBezTo>
                  <a:cubicBezTo>
                    <a:pt x="4231" y="6150"/>
                    <a:pt x="3988" y="6087"/>
                    <a:pt x="3825" y="5968"/>
                  </a:cubicBezTo>
                  <a:cubicBezTo>
                    <a:pt x="3645" y="5837"/>
                    <a:pt x="3554" y="5631"/>
                    <a:pt x="3554" y="5357"/>
                  </a:cubicBezTo>
                  <a:cubicBezTo>
                    <a:pt x="3554" y="4720"/>
                    <a:pt x="3723" y="3960"/>
                    <a:pt x="4528" y="3960"/>
                  </a:cubicBezTo>
                  <a:cubicBezTo>
                    <a:pt x="5333" y="3960"/>
                    <a:pt x="5502" y="4720"/>
                    <a:pt x="5502" y="5357"/>
                  </a:cubicBezTo>
                  <a:cubicBezTo>
                    <a:pt x="5502" y="5631"/>
                    <a:pt x="5411" y="5837"/>
                    <a:pt x="5231" y="59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517">
              <a:extLst>
                <a:ext uri="{FF2B5EF4-FFF2-40B4-BE49-F238E27FC236}">
                  <a16:creationId xmlns:a16="http://schemas.microsoft.com/office/drawing/2014/main" id="{D34AD0D1-EC02-460B-9501-1F66CAD03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2270"/>
              <a:ext cx="9" cy="9"/>
            </a:xfrm>
            <a:custGeom>
              <a:avLst/>
              <a:gdLst>
                <a:gd name="T0" fmla="*/ 125 w 250"/>
                <a:gd name="T1" fmla="*/ 0 h 250"/>
                <a:gd name="T2" fmla="*/ 125 w 250"/>
                <a:gd name="T3" fmla="*/ 0 h 250"/>
                <a:gd name="T4" fmla="*/ 0 w 250"/>
                <a:gd name="T5" fmla="*/ 125 h 250"/>
                <a:gd name="T6" fmla="*/ 125 w 250"/>
                <a:gd name="T7" fmla="*/ 250 h 250"/>
                <a:gd name="T8" fmla="*/ 250 w 250"/>
                <a:gd name="T9" fmla="*/ 125 h 250"/>
                <a:gd name="T10" fmla="*/ 125 w 250"/>
                <a:gd name="T11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250">
                  <a:moveTo>
                    <a:pt x="125" y="0"/>
                  </a:moveTo>
                  <a:lnTo>
                    <a:pt x="125" y="0"/>
                  </a:lnTo>
                  <a:cubicBezTo>
                    <a:pt x="55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518">
              <a:extLst>
                <a:ext uri="{FF2B5EF4-FFF2-40B4-BE49-F238E27FC236}">
                  <a16:creationId xmlns:a16="http://schemas.microsoft.com/office/drawing/2014/main" id="{B0F1C76E-E0AB-4302-8698-18CB2EE94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" y="2074"/>
              <a:ext cx="10" cy="10"/>
            </a:xfrm>
            <a:custGeom>
              <a:avLst/>
              <a:gdLst>
                <a:gd name="T0" fmla="*/ 139 w 278"/>
                <a:gd name="T1" fmla="*/ 264 h 264"/>
                <a:gd name="T2" fmla="*/ 223 w 278"/>
                <a:gd name="T3" fmla="*/ 232 h 264"/>
                <a:gd name="T4" fmla="*/ 232 w 278"/>
                <a:gd name="T5" fmla="*/ 55 h 264"/>
                <a:gd name="T6" fmla="*/ 55 w 278"/>
                <a:gd name="T7" fmla="*/ 47 h 264"/>
                <a:gd name="T8" fmla="*/ 55 w 278"/>
                <a:gd name="T9" fmla="*/ 47 h 264"/>
                <a:gd name="T10" fmla="*/ 47 w 278"/>
                <a:gd name="T11" fmla="*/ 223 h 264"/>
                <a:gd name="T12" fmla="*/ 139 w 278"/>
                <a:gd name="T13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8" h="264">
                  <a:moveTo>
                    <a:pt x="139" y="264"/>
                  </a:moveTo>
                  <a:cubicBezTo>
                    <a:pt x="169" y="264"/>
                    <a:pt x="199" y="254"/>
                    <a:pt x="223" y="232"/>
                  </a:cubicBezTo>
                  <a:cubicBezTo>
                    <a:pt x="274" y="185"/>
                    <a:pt x="278" y="106"/>
                    <a:pt x="232" y="55"/>
                  </a:cubicBezTo>
                  <a:cubicBezTo>
                    <a:pt x="185" y="4"/>
                    <a:pt x="106" y="0"/>
                    <a:pt x="55" y="47"/>
                  </a:cubicBezTo>
                  <a:lnTo>
                    <a:pt x="55" y="47"/>
                  </a:lnTo>
                  <a:cubicBezTo>
                    <a:pt x="4" y="93"/>
                    <a:pt x="0" y="172"/>
                    <a:pt x="47" y="223"/>
                  </a:cubicBezTo>
                  <a:cubicBezTo>
                    <a:pt x="71" y="250"/>
                    <a:pt x="105" y="264"/>
                    <a:pt x="139" y="26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5" name="Group 261">
            <a:extLst>
              <a:ext uri="{FF2B5EF4-FFF2-40B4-BE49-F238E27FC236}">
                <a16:creationId xmlns:a16="http://schemas.microsoft.com/office/drawing/2014/main" id="{AA975B36-9152-4125-A99B-E58B2EB0587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5806" y="4898381"/>
            <a:ext cx="365125" cy="366713"/>
            <a:chOff x="1990" y="1220"/>
            <a:chExt cx="230" cy="231"/>
          </a:xfrm>
          <a:solidFill>
            <a:schemeClr val="bg1"/>
          </a:solidFill>
        </p:grpSpPr>
        <p:sp>
          <p:nvSpPr>
            <p:cNvPr id="76" name="Freeform 262">
              <a:extLst>
                <a:ext uri="{FF2B5EF4-FFF2-40B4-BE49-F238E27FC236}">
                  <a16:creationId xmlns:a16="http://schemas.microsoft.com/office/drawing/2014/main" id="{272C9D9E-B2C4-4466-A780-6C6F21159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0" y="1220"/>
              <a:ext cx="230" cy="231"/>
            </a:xfrm>
            <a:custGeom>
              <a:avLst/>
              <a:gdLst>
                <a:gd name="T0" fmla="*/ 7745 w 8267"/>
                <a:gd name="T1" fmla="*/ 2310 h 8267"/>
                <a:gd name="T2" fmla="*/ 7067 w 8267"/>
                <a:gd name="T3" fmla="*/ 1965 h 8267"/>
                <a:gd name="T4" fmla="*/ 7467 w 8267"/>
                <a:gd name="T5" fmla="*/ 933 h 8267"/>
                <a:gd name="T6" fmla="*/ 5600 w 8267"/>
                <a:gd name="T7" fmla="*/ 933 h 8267"/>
                <a:gd name="T8" fmla="*/ 6000 w 8267"/>
                <a:gd name="T9" fmla="*/ 1965 h 8267"/>
                <a:gd name="T10" fmla="*/ 5759 w 8267"/>
                <a:gd name="T11" fmla="*/ 2213 h 8267"/>
                <a:gd name="T12" fmla="*/ 0 w 8267"/>
                <a:gd name="T13" fmla="*/ 4133 h 8267"/>
                <a:gd name="T14" fmla="*/ 5737 w 8267"/>
                <a:gd name="T15" fmla="*/ 6084 h 8267"/>
                <a:gd name="T16" fmla="*/ 6000 w 8267"/>
                <a:gd name="T17" fmla="*/ 6560 h 8267"/>
                <a:gd name="T18" fmla="*/ 4800 w 8267"/>
                <a:gd name="T19" fmla="*/ 7361 h 8267"/>
                <a:gd name="T20" fmla="*/ 8267 w 8267"/>
                <a:gd name="T21" fmla="*/ 8267 h 8267"/>
                <a:gd name="T22" fmla="*/ 7745 w 8267"/>
                <a:gd name="T23" fmla="*/ 6710 h 8267"/>
                <a:gd name="T24" fmla="*/ 7067 w 8267"/>
                <a:gd name="T25" fmla="*/ 6365 h 8267"/>
                <a:gd name="T26" fmla="*/ 7467 w 8267"/>
                <a:gd name="T27" fmla="*/ 5333 h 8267"/>
                <a:gd name="T28" fmla="*/ 6386 w 8267"/>
                <a:gd name="T29" fmla="*/ 4413 h 8267"/>
                <a:gd name="T30" fmla="*/ 6388 w 8267"/>
                <a:gd name="T31" fmla="*/ 3867 h 8267"/>
                <a:gd name="T32" fmla="*/ 8267 w 8267"/>
                <a:gd name="T33" fmla="*/ 2961 h 8267"/>
                <a:gd name="T34" fmla="*/ 5867 w 8267"/>
                <a:gd name="T35" fmla="*/ 933 h 8267"/>
                <a:gd name="T36" fmla="*/ 7200 w 8267"/>
                <a:gd name="T37" fmla="*/ 933 h 8267"/>
                <a:gd name="T38" fmla="*/ 6533 w 8267"/>
                <a:gd name="T39" fmla="*/ 1867 h 8267"/>
                <a:gd name="T40" fmla="*/ 6533 w 8267"/>
                <a:gd name="T41" fmla="*/ 2133 h 8267"/>
                <a:gd name="T42" fmla="*/ 6800 w 8267"/>
                <a:gd name="T43" fmla="*/ 2230 h 8267"/>
                <a:gd name="T44" fmla="*/ 6267 w 8267"/>
                <a:gd name="T45" fmla="*/ 2230 h 8267"/>
                <a:gd name="T46" fmla="*/ 6533 w 8267"/>
                <a:gd name="T47" fmla="*/ 2133 h 8267"/>
                <a:gd name="T48" fmla="*/ 5322 w 8267"/>
                <a:gd name="T49" fmla="*/ 2310 h 8267"/>
                <a:gd name="T50" fmla="*/ 4549 w 8267"/>
                <a:gd name="T51" fmla="*/ 2780 h 8267"/>
                <a:gd name="T52" fmla="*/ 5470 w 8267"/>
                <a:gd name="T53" fmla="*/ 2277 h 8267"/>
                <a:gd name="T54" fmla="*/ 1867 w 8267"/>
                <a:gd name="T55" fmla="*/ 4133 h 8267"/>
                <a:gd name="T56" fmla="*/ 4533 w 8267"/>
                <a:gd name="T57" fmla="*/ 4133 h 8267"/>
                <a:gd name="T58" fmla="*/ 2843 w 8267"/>
                <a:gd name="T59" fmla="*/ 1223 h 8267"/>
                <a:gd name="T60" fmla="*/ 965 w 8267"/>
                <a:gd name="T61" fmla="*/ 2236 h 8267"/>
                <a:gd name="T62" fmla="*/ 801 w 8267"/>
                <a:gd name="T63" fmla="*/ 2448 h 8267"/>
                <a:gd name="T64" fmla="*/ 1600 w 8267"/>
                <a:gd name="T65" fmla="*/ 4133 h 8267"/>
                <a:gd name="T66" fmla="*/ 801 w 8267"/>
                <a:gd name="T67" fmla="*/ 5819 h 8267"/>
                <a:gd name="T68" fmla="*/ 801 w 8267"/>
                <a:gd name="T69" fmla="*/ 2448 h 8267"/>
                <a:gd name="T70" fmla="*/ 1850 w 8267"/>
                <a:gd name="T71" fmla="*/ 5484 h 8267"/>
                <a:gd name="T72" fmla="*/ 965 w 8267"/>
                <a:gd name="T73" fmla="*/ 6030 h 8267"/>
                <a:gd name="T74" fmla="*/ 4550 w 8267"/>
                <a:gd name="T75" fmla="*/ 5484 h 8267"/>
                <a:gd name="T76" fmla="*/ 3557 w 8267"/>
                <a:gd name="T77" fmla="*/ 7045 h 8267"/>
                <a:gd name="T78" fmla="*/ 8000 w 8267"/>
                <a:gd name="T79" fmla="*/ 7361 h 8267"/>
                <a:gd name="T80" fmla="*/ 5067 w 8267"/>
                <a:gd name="T81" fmla="*/ 8000 h 8267"/>
                <a:gd name="T82" fmla="*/ 5380 w 8267"/>
                <a:gd name="T83" fmla="*/ 6971 h 8267"/>
                <a:gd name="T84" fmla="*/ 6533 w 8267"/>
                <a:gd name="T85" fmla="*/ 7067 h 8267"/>
                <a:gd name="T86" fmla="*/ 7687 w 8267"/>
                <a:gd name="T87" fmla="*/ 6971 h 8267"/>
                <a:gd name="T88" fmla="*/ 6533 w 8267"/>
                <a:gd name="T89" fmla="*/ 6800 h 8267"/>
                <a:gd name="T90" fmla="*/ 6267 w 8267"/>
                <a:gd name="T91" fmla="*/ 6494 h 8267"/>
                <a:gd name="T92" fmla="*/ 6800 w 8267"/>
                <a:gd name="T93" fmla="*/ 6494 h 8267"/>
                <a:gd name="T94" fmla="*/ 7200 w 8267"/>
                <a:gd name="T95" fmla="*/ 5333 h 8267"/>
                <a:gd name="T96" fmla="*/ 6533 w 8267"/>
                <a:gd name="T97" fmla="*/ 6267 h 8267"/>
                <a:gd name="T98" fmla="*/ 5867 w 8267"/>
                <a:gd name="T99" fmla="*/ 5333 h 8267"/>
                <a:gd name="T100" fmla="*/ 7200 w 8267"/>
                <a:gd name="T101" fmla="*/ 5333 h 8267"/>
                <a:gd name="T102" fmla="*/ 6110 w 8267"/>
                <a:gd name="T103" fmla="*/ 4503 h 8267"/>
                <a:gd name="T104" fmla="*/ 5600 w 8267"/>
                <a:gd name="T105" fmla="*/ 5600 h 8267"/>
                <a:gd name="T106" fmla="*/ 5599 w 8267"/>
                <a:gd name="T107" fmla="*/ 5819 h 8267"/>
                <a:gd name="T108" fmla="*/ 4800 w 8267"/>
                <a:gd name="T109" fmla="*/ 4133 h 8267"/>
                <a:gd name="T110" fmla="*/ 4800 w 8267"/>
                <a:gd name="T111" fmla="*/ 2962 h 8267"/>
                <a:gd name="T112" fmla="*/ 6120 w 8267"/>
                <a:gd name="T113" fmla="*/ 3867 h 8267"/>
                <a:gd name="T114" fmla="*/ 8000 w 8267"/>
                <a:gd name="T115" fmla="*/ 3600 h 8267"/>
                <a:gd name="T116" fmla="*/ 5067 w 8267"/>
                <a:gd name="T117" fmla="*/ 2961 h 8267"/>
                <a:gd name="T118" fmla="*/ 6072 w 8267"/>
                <a:gd name="T119" fmla="*/ 2417 h 8267"/>
                <a:gd name="T120" fmla="*/ 6994 w 8267"/>
                <a:gd name="T121" fmla="*/ 2417 h 8267"/>
                <a:gd name="T122" fmla="*/ 8000 w 8267"/>
                <a:gd name="T123" fmla="*/ 2961 h 8267"/>
                <a:gd name="T124" fmla="*/ 8000 w 8267"/>
                <a:gd name="T125" fmla="*/ 3600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67" h="8267">
                  <a:moveTo>
                    <a:pt x="8267" y="2961"/>
                  </a:moveTo>
                  <a:cubicBezTo>
                    <a:pt x="8267" y="2646"/>
                    <a:pt x="8052" y="2379"/>
                    <a:pt x="7745" y="2310"/>
                  </a:cubicBezTo>
                  <a:lnTo>
                    <a:pt x="7067" y="2160"/>
                  </a:lnTo>
                  <a:lnTo>
                    <a:pt x="7067" y="1965"/>
                  </a:lnTo>
                  <a:cubicBezTo>
                    <a:pt x="7308" y="1796"/>
                    <a:pt x="7467" y="1516"/>
                    <a:pt x="7467" y="1200"/>
                  </a:cubicBezTo>
                  <a:lnTo>
                    <a:pt x="7467" y="933"/>
                  </a:lnTo>
                  <a:cubicBezTo>
                    <a:pt x="7467" y="419"/>
                    <a:pt x="7048" y="0"/>
                    <a:pt x="6533" y="0"/>
                  </a:cubicBezTo>
                  <a:cubicBezTo>
                    <a:pt x="6019" y="0"/>
                    <a:pt x="5600" y="419"/>
                    <a:pt x="5600" y="933"/>
                  </a:cubicBezTo>
                  <a:lnTo>
                    <a:pt x="5600" y="1200"/>
                  </a:lnTo>
                  <a:cubicBezTo>
                    <a:pt x="5600" y="1516"/>
                    <a:pt x="5759" y="1796"/>
                    <a:pt x="6000" y="1965"/>
                  </a:cubicBezTo>
                  <a:lnTo>
                    <a:pt x="6000" y="2160"/>
                  </a:lnTo>
                  <a:lnTo>
                    <a:pt x="5759" y="2213"/>
                  </a:lnTo>
                  <a:cubicBezTo>
                    <a:pt x="5155" y="1410"/>
                    <a:pt x="4209" y="933"/>
                    <a:pt x="3200" y="933"/>
                  </a:cubicBezTo>
                  <a:cubicBezTo>
                    <a:pt x="1436" y="933"/>
                    <a:pt x="0" y="2369"/>
                    <a:pt x="0" y="4133"/>
                  </a:cubicBezTo>
                  <a:cubicBezTo>
                    <a:pt x="0" y="5898"/>
                    <a:pt x="1436" y="7333"/>
                    <a:pt x="3200" y="7333"/>
                  </a:cubicBezTo>
                  <a:cubicBezTo>
                    <a:pt x="4197" y="7333"/>
                    <a:pt x="5132" y="6869"/>
                    <a:pt x="5737" y="6084"/>
                  </a:cubicBezTo>
                  <a:cubicBezTo>
                    <a:pt x="5804" y="6195"/>
                    <a:pt x="5894" y="6291"/>
                    <a:pt x="6000" y="6365"/>
                  </a:cubicBezTo>
                  <a:lnTo>
                    <a:pt x="6000" y="6560"/>
                  </a:lnTo>
                  <a:lnTo>
                    <a:pt x="5322" y="6710"/>
                  </a:lnTo>
                  <a:cubicBezTo>
                    <a:pt x="5015" y="6779"/>
                    <a:pt x="4800" y="7046"/>
                    <a:pt x="4800" y="7361"/>
                  </a:cubicBezTo>
                  <a:lnTo>
                    <a:pt x="4800" y="8267"/>
                  </a:lnTo>
                  <a:lnTo>
                    <a:pt x="8267" y="8267"/>
                  </a:lnTo>
                  <a:lnTo>
                    <a:pt x="8267" y="7361"/>
                  </a:lnTo>
                  <a:cubicBezTo>
                    <a:pt x="8267" y="7046"/>
                    <a:pt x="8052" y="6779"/>
                    <a:pt x="7745" y="6710"/>
                  </a:cubicBezTo>
                  <a:lnTo>
                    <a:pt x="7067" y="6560"/>
                  </a:lnTo>
                  <a:lnTo>
                    <a:pt x="7067" y="6365"/>
                  </a:lnTo>
                  <a:cubicBezTo>
                    <a:pt x="7308" y="6196"/>
                    <a:pt x="7467" y="5916"/>
                    <a:pt x="7467" y="5600"/>
                  </a:cubicBezTo>
                  <a:lnTo>
                    <a:pt x="7467" y="5333"/>
                  </a:lnTo>
                  <a:cubicBezTo>
                    <a:pt x="7467" y="4819"/>
                    <a:pt x="7048" y="4400"/>
                    <a:pt x="6533" y="4400"/>
                  </a:cubicBezTo>
                  <a:cubicBezTo>
                    <a:pt x="6483" y="4400"/>
                    <a:pt x="6434" y="4405"/>
                    <a:pt x="6386" y="4413"/>
                  </a:cubicBezTo>
                  <a:cubicBezTo>
                    <a:pt x="6394" y="4320"/>
                    <a:pt x="6400" y="4227"/>
                    <a:pt x="6400" y="4133"/>
                  </a:cubicBezTo>
                  <a:cubicBezTo>
                    <a:pt x="6400" y="4044"/>
                    <a:pt x="6395" y="3955"/>
                    <a:pt x="6388" y="3867"/>
                  </a:cubicBezTo>
                  <a:lnTo>
                    <a:pt x="8267" y="3867"/>
                  </a:lnTo>
                  <a:lnTo>
                    <a:pt x="8267" y="2961"/>
                  </a:lnTo>
                  <a:close/>
                  <a:moveTo>
                    <a:pt x="5867" y="1200"/>
                  </a:moveTo>
                  <a:lnTo>
                    <a:pt x="5867" y="933"/>
                  </a:lnTo>
                  <a:cubicBezTo>
                    <a:pt x="5867" y="566"/>
                    <a:pt x="6166" y="267"/>
                    <a:pt x="6533" y="267"/>
                  </a:cubicBezTo>
                  <a:cubicBezTo>
                    <a:pt x="6901" y="267"/>
                    <a:pt x="7200" y="566"/>
                    <a:pt x="7200" y="933"/>
                  </a:cubicBezTo>
                  <a:lnTo>
                    <a:pt x="7200" y="1200"/>
                  </a:lnTo>
                  <a:cubicBezTo>
                    <a:pt x="7200" y="1568"/>
                    <a:pt x="6901" y="1867"/>
                    <a:pt x="6533" y="1867"/>
                  </a:cubicBezTo>
                  <a:cubicBezTo>
                    <a:pt x="6166" y="1867"/>
                    <a:pt x="5867" y="1568"/>
                    <a:pt x="5867" y="1200"/>
                  </a:cubicBezTo>
                  <a:close/>
                  <a:moveTo>
                    <a:pt x="6533" y="2133"/>
                  </a:moveTo>
                  <a:cubicBezTo>
                    <a:pt x="6626" y="2133"/>
                    <a:pt x="6715" y="2119"/>
                    <a:pt x="6800" y="2094"/>
                  </a:cubicBezTo>
                  <a:lnTo>
                    <a:pt x="6800" y="2230"/>
                  </a:lnTo>
                  <a:cubicBezTo>
                    <a:pt x="6767" y="2281"/>
                    <a:pt x="6675" y="2400"/>
                    <a:pt x="6533" y="2400"/>
                  </a:cubicBezTo>
                  <a:cubicBezTo>
                    <a:pt x="6392" y="2400"/>
                    <a:pt x="6300" y="2281"/>
                    <a:pt x="6267" y="2230"/>
                  </a:cubicBezTo>
                  <a:lnTo>
                    <a:pt x="6267" y="2094"/>
                  </a:lnTo>
                  <a:cubicBezTo>
                    <a:pt x="6351" y="2119"/>
                    <a:pt x="6441" y="2133"/>
                    <a:pt x="6533" y="2133"/>
                  </a:cubicBezTo>
                  <a:close/>
                  <a:moveTo>
                    <a:pt x="5470" y="2277"/>
                  </a:moveTo>
                  <a:lnTo>
                    <a:pt x="5322" y="2310"/>
                  </a:lnTo>
                  <a:cubicBezTo>
                    <a:pt x="5143" y="2350"/>
                    <a:pt x="4997" y="2459"/>
                    <a:pt x="4905" y="2604"/>
                  </a:cubicBezTo>
                  <a:cubicBezTo>
                    <a:pt x="4789" y="2670"/>
                    <a:pt x="4670" y="2728"/>
                    <a:pt x="4549" y="2780"/>
                  </a:cubicBezTo>
                  <a:cubicBezTo>
                    <a:pt x="4275" y="2054"/>
                    <a:pt x="3839" y="1517"/>
                    <a:pt x="3557" y="1222"/>
                  </a:cubicBezTo>
                  <a:cubicBezTo>
                    <a:pt x="4305" y="1313"/>
                    <a:pt x="4990" y="1691"/>
                    <a:pt x="5470" y="2277"/>
                  </a:cubicBezTo>
                  <a:close/>
                  <a:moveTo>
                    <a:pt x="3200" y="7021"/>
                  </a:moveTo>
                  <a:cubicBezTo>
                    <a:pt x="2895" y="6736"/>
                    <a:pt x="1867" y="5660"/>
                    <a:pt x="1867" y="4133"/>
                  </a:cubicBezTo>
                  <a:cubicBezTo>
                    <a:pt x="1867" y="2610"/>
                    <a:pt x="2896" y="1531"/>
                    <a:pt x="3200" y="1246"/>
                  </a:cubicBezTo>
                  <a:cubicBezTo>
                    <a:pt x="3505" y="1531"/>
                    <a:pt x="4533" y="2607"/>
                    <a:pt x="4533" y="4133"/>
                  </a:cubicBezTo>
                  <a:cubicBezTo>
                    <a:pt x="4533" y="5657"/>
                    <a:pt x="3504" y="6735"/>
                    <a:pt x="3200" y="7021"/>
                  </a:cubicBezTo>
                  <a:close/>
                  <a:moveTo>
                    <a:pt x="2843" y="1223"/>
                  </a:moveTo>
                  <a:cubicBezTo>
                    <a:pt x="2560" y="1518"/>
                    <a:pt x="2123" y="2055"/>
                    <a:pt x="1850" y="2783"/>
                  </a:cubicBezTo>
                  <a:cubicBezTo>
                    <a:pt x="1405" y="2590"/>
                    <a:pt x="1096" y="2349"/>
                    <a:pt x="965" y="2236"/>
                  </a:cubicBezTo>
                  <a:cubicBezTo>
                    <a:pt x="1431" y="1689"/>
                    <a:pt x="2093" y="1314"/>
                    <a:pt x="2843" y="1223"/>
                  </a:cubicBezTo>
                  <a:close/>
                  <a:moveTo>
                    <a:pt x="801" y="2448"/>
                  </a:moveTo>
                  <a:cubicBezTo>
                    <a:pt x="955" y="2579"/>
                    <a:pt x="1287" y="2832"/>
                    <a:pt x="1764" y="3036"/>
                  </a:cubicBezTo>
                  <a:cubicBezTo>
                    <a:pt x="1664" y="3369"/>
                    <a:pt x="1600" y="3736"/>
                    <a:pt x="1600" y="4133"/>
                  </a:cubicBezTo>
                  <a:cubicBezTo>
                    <a:pt x="1600" y="4531"/>
                    <a:pt x="1664" y="4898"/>
                    <a:pt x="1764" y="5231"/>
                  </a:cubicBezTo>
                  <a:cubicBezTo>
                    <a:pt x="1287" y="5434"/>
                    <a:pt x="955" y="5688"/>
                    <a:pt x="801" y="5819"/>
                  </a:cubicBezTo>
                  <a:cubicBezTo>
                    <a:pt x="465" y="5342"/>
                    <a:pt x="267" y="4760"/>
                    <a:pt x="267" y="4133"/>
                  </a:cubicBezTo>
                  <a:cubicBezTo>
                    <a:pt x="267" y="3506"/>
                    <a:pt x="465" y="2925"/>
                    <a:pt x="801" y="2448"/>
                  </a:cubicBezTo>
                  <a:close/>
                  <a:moveTo>
                    <a:pt x="965" y="6030"/>
                  </a:moveTo>
                  <a:cubicBezTo>
                    <a:pt x="1096" y="5917"/>
                    <a:pt x="1403" y="5677"/>
                    <a:pt x="1850" y="5484"/>
                  </a:cubicBezTo>
                  <a:cubicBezTo>
                    <a:pt x="2123" y="6211"/>
                    <a:pt x="2560" y="6749"/>
                    <a:pt x="2843" y="7044"/>
                  </a:cubicBezTo>
                  <a:cubicBezTo>
                    <a:pt x="2093" y="6953"/>
                    <a:pt x="1431" y="6578"/>
                    <a:pt x="965" y="6030"/>
                  </a:cubicBezTo>
                  <a:close/>
                  <a:moveTo>
                    <a:pt x="3557" y="7045"/>
                  </a:moveTo>
                  <a:cubicBezTo>
                    <a:pt x="3840" y="6749"/>
                    <a:pt x="4277" y="6212"/>
                    <a:pt x="4550" y="5484"/>
                  </a:cubicBezTo>
                  <a:cubicBezTo>
                    <a:pt x="4996" y="5677"/>
                    <a:pt x="5305" y="5918"/>
                    <a:pt x="5435" y="6031"/>
                  </a:cubicBezTo>
                  <a:cubicBezTo>
                    <a:pt x="4958" y="6593"/>
                    <a:pt x="4287" y="6955"/>
                    <a:pt x="3557" y="7045"/>
                  </a:cubicBezTo>
                  <a:close/>
                  <a:moveTo>
                    <a:pt x="7687" y="6971"/>
                  </a:moveTo>
                  <a:cubicBezTo>
                    <a:pt x="7871" y="7012"/>
                    <a:pt x="8000" y="7172"/>
                    <a:pt x="8000" y="7361"/>
                  </a:cubicBezTo>
                  <a:lnTo>
                    <a:pt x="8000" y="8000"/>
                  </a:lnTo>
                  <a:lnTo>
                    <a:pt x="5067" y="8000"/>
                  </a:lnTo>
                  <a:lnTo>
                    <a:pt x="5067" y="7361"/>
                  </a:lnTo>
                  <a:cubicBezTo>
                    <a:pt x="5067" y="7172"/>
                    <a:pt x="5195" y="7012"/>
                    <a:pt x="5380" y="6971"/>
                  </a:cubicBezTo>
                  <a:lnTo>
                    <a:pt x="6072" y="6817"/>
                  </a:lnTo>
                  <a:cubicBezTo>
                    <a:pt x="6149" y="6918"/>
                    <a:pt x="6300" y="7067"/>
                    <a:pt x="6533" y="7067"/>
                  </a:cubicBezTo>
                  <a:cubicBezTo>
                    <a:pt x="6767" y="7067"/>
                    <a:pt x="6918" y="6918"/>
                    <a:pt x="6994" y="6817"/>
                  </a:cubicBezTo>
                  <a:lnTo>
                    <a:pt x="7687" y="6971"/>
                  </a:lnTo>
                  <a:close/>
                  <a:moveTo>
                    <a:pt x="6800" y="6630"/>
                  </a:moveTo>
                  <a:cubicBezTo>
                    <a:pt x="6767" y="6681"/>
                    <a:pt x="6675" y="6800"/>
                    <a:pt x="6533" y="6800"/>
                  </a:cubicBezTo>
                  <a:cubicBezTo>
                    <a:pt x="6392" y="6800"/>
                    <a:pt x="6300" y="6681"/>
                    <a:pt x="6267" y="6630"/>
                  </a:cubicBezTo>
                  <a:lnTo>
                    <a:pt x="6267" y="6494"/>
                  </a:lnTo>
                  <a:cubicBezTo>
                    <a:pt x="6351" y="6519"/>
                    <a:pt x="6441" y="6533"/>
                    <a:pt x="6533" y="6533"/>
                  </a:cubicBezTo>
                  <a:cubicBezTo>
                    <a:pt x="6626" y="6533"/>
                    <a:pt x="6715" y="6519"/>
                    <a:pt x="6800" y="6494"/>
                  </a:cubicBezTo>
                  <a:lnTo>
                    <a:pt x="6800" y="6630"/>
                  </a:lnTo>
                  <a:close/>
                  <a:moveTo>
                    <a:pt x="7200" y="5333"/>
                  </a:moveTo>
                  <a:lnTo>
                    <a:pt x="7200" y="5600"/>
                  </a:lnTo>
                  <a:cubicBezTo>
                    <a:pt x="7200" y="5968"/>
                    <a:pt x="6901" y="6267"/>
                    <a:pt x="6533" y="6267"/>
                  </a:cubicBezTo>
                  <a:cubicBezTo>
                    <a:pt x="6166" y="6267"/>
                    <a:pt x="5867" y="5968"/>
                    <a:pt x="5867" y="5600"/>
                  </a:cubicBezTo>
                  <a:lnTo>
                    <a:pt x="5867" y="5333"/>
                  </a:lnTo>
                  <a:cubicBezTo>
                    <a:pt x="5867" y="4966"/>
                    <a:pt x="6166" y="4667"/>
                    <a:pt x="6533" y="4667"/>
                  </a:cubicBezTo>
                  <a:cubicBezTo>
                    <a:pt x="6901" y="4667"/>
                    <a:pt x="7200" y="4966"/>
                    <a:pt x="7200" y="5333"/>
                  </a:cubicBezTo>
                  <a:close/>
                  <a:moveTo>
                    <a:pt x="6133" y="4133"/>
                  </a:moveTo>
                  <a:cubicBezTo>
                    <a:pt x="6133" y="4257"/>
                    <a:pt x="6125" y="4381"/>
                    <a:pt x="6110" y="4503"/>
                  </a:cubicBezTo>
                  <a:cubicBezTo>
                    <a:pt x="5808" y="4657"/>
                    <a:pt x="5600" y="4971"/>
                    <a:pt x="5600" y="5333"/>
                  </a:cubicBezTo>
                  <a:lnTo>
                    <a:pt x="5600" y="5600"/>
                  </a:lnTo>
                  <a:cubicBezTo>
                    <a:pt x="5600" y="5666"/>
                    <a:pt x="5607" y="5730"/>
                    <a:pt x="5620" y="5791"/>
                  </a:cubicBezTo>
                  <a:cubicBezTo>
                    <a:pt x="5613" y="5801"/>
                    <a:pt x="5606" y="5810"/>
                    <a:pt x="5599" y="5819"/>
                  </a:cubicBezTo>
                  <a:cubicBezTo>
                    <a:pt x="5447" y="5689"/>
                    <a:pt x="5114" y="5434"/>
                    <a:pt x="4636" y="5231"/>
                  </a:cubicBezTo>
                  <a:cubicBezTo>
                    <a:pt x="4736" y="4898"/>
                    <a:pt x="4800" y="4531"/>
                    <a:pt x="4800" y="4133"/>
                  </a:cubicBezTo>
                  <a:cubicBezTo>
                    <a:pt x="4800" y="3735"/>
                    <a:pt x="4736" y="3367"/>
                    <a:pt x="4635" y="3033"/>
                  </a:cubicBezTo>
                  <a:cubicBezTo>
                    <a:pt x="4690" y="3010"/>
                    <a:pt x="4746" y="2988"/>
                    <a:pt x="4800" y="2962"/>
                  </a:cubicBezTo>
                  <a:lnTo>
                    <a:pt x="4800" y="3867"/>
                  </a:lnTo>
                  <a:lnTo>
                    <a:pt x="6120" y="3867"/>
                  </a:lnTo>
                  <a:cubicBezTo>
                    <a:pt x="6128" y="3955"/>
                    <a:pt x="6133" y="4044"/>
                    <a:pt x="6133" y="4133"/>
                  </a:cubicBezTo>
                  <a:close/>
                  <a:moveTo>
                    <a:pt x="8000" y="3600"/>
                  </a:moveTo>
                  <a:lnTo>
                    <a:pt x="5067" y="3600"/>
                  </a:lnTo>
                  <a:lnTo>
                    <a:pt x="5067" y="2961"/>
                  </a:lnTo>
                  <a:cubicBezTo>
                    <a:pt x="5067" y="2772"/>
                    <a:pt x="5195" y="2612"/>
                    <a:pt x="5380" y="2571"/>
                  </a:cubicBezTo>
                  <a:lnTo>
                    <a:pt x="6072" y="2417"/>
                  </a:lnTo>
                  <a:cubicBezTo>
                    <a:pt x="6149" y="2518"/>
                    <a:pt x="6300" y="2667"/>
                    <a:pt x="6533" y="2667"/>
                  </a:cubicBezTo>
                  <a:cubicBezTo>
                    <a:pt x="6767" y="2667"/>
                    <a:pt x="6918" y="2518"/>
                    <a:pt x="6994" y="2417"/>
                  </a:cubicBezTo>
                  <a:lnTo>
                    <a:pt x="7687" y="2571"/>
                  </a:lnTo>
                  <a:cubicBezTo>
                    <a:pt x="7871" y="2612"/>
                    <a:pt x="8000" y="2772"/>
                    <a:pt x="8000" y="2961"/>
                  </a:cubicBezTo>
                  <a:lnTo>
                    <a:pt x="8000" y="3600"/>
                  </a:lnTo>
                  <a:close/>
                  <a:moveTo>
                    <a:pt x="8000" y="36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263">
              <a:extLst>
                <a:ext uri="{FF2B5EF4-FFF2-40B4-BE49-F238E27FC236}">
                  <a16:creationId xmlns:a16="http://schemas.microsoft.com/office/drawing/2014/main" id="{1CDCBC5E-6A78-4BED-A83D-C88B72CA75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57" y="1302"/>
              <a:ext cx="44" cy="67"/>
            </a:xfrm>
            <a:custGeom>
              <a:avLst/>
              <a:gdLst>
                <a:gd name="T0" fmla="*/ 667 w 1600"/>
                <a:gd name="T1" fmla="*/ 0 h 2400"/>
                <a:gd name="T2" fmla="*/ 667 w 1600"/>
                <a:gd name="T3" fmla="*/ 267 h 2400"/>
                <a:gd name="T4" fmla="*/ 533 w 1600"/>
                <a:gd name="T5" fmla="*/ 267 h 2400"/>
                <a:gd name="T6" fmla="*/ 0 w 1600"/>
                <a:gd name="T7" fmla="*/ 800 h 2400"/>
                <a:gd name="T8" fmla="*/ 533 w 1600"/>
                <a:gd name="T9" fmla="*/ 1334 h 2400"/>
                <a:gd name="T10" fmla="*/ 1067 w 1600"/>
                <a:gd name="T11" fmla="*/ 1334 h 2400"/>
                <a:gd name="T12" fmla="*/ 1333 w 1600"/>
                <a:gd name="T13" fmla="*/ 1600 h 2400"/>
                <a:gd name="T14" fmla="*/ 1067 w 1600"/>
                <a:gd name="T15" fmla="*/ 1867 h 2400"/>
                <a:gd name="T16" fmla="*/ 533 w 1600"/>
                <a:gd name="T17" fmla="*/ 1867 h 2400"/>
                <a:gd name="T18" fmla="*/ 267 w 1600"/>
                <a:gd name="T19" fmla="*/ 1600 h 2400"/>
                <a:gd name="T20" fmla="*/ 0 w 1600"/>
                <a:gd name="T21" fmla="*/ 1600 h 2400"/>
                <a:gd name="T22" fmla="*/ 533 w 1600"/>
                <a:gd name="T23" fmla="*/ 2134 h 2400"/>
                <a:gd name="T24" fmla="*/ 667 w 1600"/>
                <a:gd name="T25" fmla="*/ 2134 h 2400"/>
                <a:gd name="T26" fmla="*/ 667 w 1600"/>
                <a:gd name="T27" fmla="*/ 2400 h 2400"/>
                <a:gd name="T28" fmla="*/ 933 w 1600"/>
                <a:gd name="T29" fmla="*/ 2400 h 2400"/>
                <a:gd name="T30" fmla="*/ 933 w 1600"/>
                <a:gd name="T31" fmla="*/ 2134 h 2400"/>
                <a:gd name="T32" fmla="*/ 1067 w 1600"/>
                <a:gd name="T33" fmla="*/ 2134 h 2400"/>
                <a:gd name="T34" fmla="*/ 1600 w 1600"/>
                <a:gd name="T35" fmla="*/ 1600 h 2400"/>
                <a:gd name="T36" fmla="*/ 1067 w 1600"/>
                <a:gd name="T37" fmla="*/ 1067 h 2400"/>
                <a:gd name="T38" fmla="*/ 533 w 1600"/>
                <a:gd name="T39" fmla="*/ 1067 h 2400"/>
                <a:gd name="T40" fmla="*/ 267 w 1600"/>
                <a:gd name="T41" fmla="*/ 800 h 2400"/>
                <a:gd name="T42" fmla="*/ 533 w 1600"/>
                <a:gd name="T43" fmla="*/ 534 h 2400"/>
                <a:gd name="T44" fmla="*/ 1067 w 1600"/>
                <a:gd name="T45" fmla="*/ 534 h 2400"/>
                <a:gd name="T46" fmla="*/ 1333 w 1600"/>
                <a:gd name="T47" fmla="*/ 800 h 2400"/>
                <a:gd name="T48" fmla="*/ 1600 w 1600"/>
                <a:gd name="T49" fmla="*/ 800 h 2400"/>
                <a:gd name="T50" fmla="*/ 1067 w 1600"/>
                <a:gd name="T51" fmla="*/ 267 h 2400"/>
                <a:gd name="T52" fmla="*/ 933 w 1600"/>
                <a:gd name="T53" fmla="*/ 267 h 2400"/>
                <a:gd name="T54" fmla="*/ 933 w 1600"/>
                <a:gd name="T55" fmla="*/ 0 h 2400"/>
                <a:gd name="T56" fmla="*/ 667 w 1600"/>
                <a:gd name="T57" fmla="*/ 0 h 2400"/>
                <a:gd name="T58" fmla="*/ 667 w 1600"/>
                <a:gd name="T59" fmla="*/ 0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600" h="2400">
                  <a:moveTo>
                    <a:pt x="667" y="0"/>
                  </a:moveTo>
                  <a:lnTo>
                    <a:pt x="667" y="267"/>
                  </a:lnTo>
                  <a:lnTo>
                    <a:pt x="533" y="267"/>
                  </a:lnTo>
                  <a:cubicBezTo>
                    <a:pt x="239" y="267"/>
                    <a:pt x="0" y="506"/>
                    <a:pt x="0" y="800"/>
                  </a:cubicBezTo>
                  <a:cubicBezTo>
                    <a:pt x="0" y="1094"/>
                    <a:pt x="239" y="1334"/>
                    <a:pt x="533" y="1334"/>
                  </a:cubicBezTo>
                  <a:lnTo>
                    <a:pt x="1067" y="1334"/>
                  </a:lnTo>
                  <a:cubicBezTo>
                    <a:pt x="1214" y="1334"/>
                    <a:pt x="1333" y="1453"/>
                    <a:pt x="1333" y="1600"/>
                  </a:cubicBezTo>
                  <a:cubicBezTo>
                    <a:pt x="1333" y="1747"/>
                    <a:pt x="1214" y="1867"/>
                    <a:pt x="1067" y="1867"/>
                  </a:cubicBezTo>
                  <a:lnTo>
                    <a:pt x="533" y="1867"/>
                  </a:lnTo>
                  <a:cubicBezTo>
                    <a:pt x="386" y="1867"/>
                    <a:pt x="267" y="1747"/>
                    <a:pt x="267" y="1600"/>
                  </a:cubicBezTo>
                  <a:lnTo>
                    <a:pt x="0" y="1600"/>
                  </a:lnTo>
                  <a:cubicBezTo>
                    <a:pt x="0" y="1894"/>
                    <a:pt x="239" y="2134"/>
                    <a:pt x="533" y="2134"/>
                  </a:cubicBezTo>
                  <a:lnTo>
                    <a:pt x="667" y="2134"/>
                  </a:lnTo>
                  <a:lnTo>
                    <a:pt x="667" y="2400"/>
                  </a:lnTo>
                  <a:lnTo>
                    <a:pt x="933" y="2400"/>
                  </a:lnTo>
                  <a:lnTo>
                    <a:pt x="933" y="2134"/>
                  </a:lnTo>
                  <a:lnTo>
                    <a:pt x="1067" y="2134"/>
                  </a:lnTo>
                  <a:cubicBezTo>
                    <a:pt x="1361" y="2134"/>
                    <a:pt x="1600" y="1894"/>
                    <a:pt x="1600" y="1600"/>
                  </a:cubicBezTo>
                  <a:cubicBezTo>
                    <a:pt x="1600" y="1306"/>
                    <a:pt x="1361" y="1067"/>
                    <a:pt x="1067" y="1067"/>
                  </a:cubicBezTo>
                  <a:lnTo>
                    <a:pt x="533" y="1067"/>
                  </a:lnTo>
                  <a:cubicBezTo>
                    <a:pt x="386" y="1067"/>
                    <a:pt x="267" y="947"/>
                    <a:pt x="267" y="800"/>
                  </a:cubicBezTo>
                  <a:cubicBezTo>
                    <a:pt x="267" y="653"/>
                    <a:pt x="386" y="534"/>
                    <a:pt x="533" y="534"/>
                  </a:cubicBezTo>
                  <a:lnTo>
                    <a:pt x="1067" y="534"/>
                  </a:lnTo>
                  <a:cubicBezTo>
                    <a:pt x="1214" y="534"/>
                    <a:pt x="1333" y="653"/>
                    <a:pt x="1333" y="800"/>
                  </a:cubicBezTo>
                  <a:lnTo>
                    <a:pt x="1600" y="800"/>
                  </a:lnTo>
                  <a:cubicBezTo>
                    <a:pt x="1600" y="506"/>
                    <a:pt x="1361" y="267"/>
                    <a:pt x="1067" y="267"/>
                  </a:cubicBezTo>
                  <a:lnTo>
                    <a:pt x="933" y="267"/>
                  </a:lnTo>
                  <a:lnTo>
                    <a:pt x="933" y="0"/>
                  </a:lnTo>
                  <a:lnTo>
                    <a:pt x="667" y="0"/>
                  </a:lnTo>
                  <a:close/>
                  <a:moveTo>
                    <a:pt x="667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8" name="Group 775">
            <a:extLst>
              <a:ext uri="{FF2B5EF4-FFF2-40B4-BE49-F238E27FC236}">
                <a16:creationId xmlns:a16="http://schemas.microsoft.com/office/drawing/2014/main" id="{9713042B-28F6-4F2B-9821-A611848652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411577" y="2259761"/>
            <a:ext cx="239713" cy="363538"/>
            <a:chOff x="1202" y="1587"/>
            <a:chExt cx="151" cy="229"/>
          </a:xfrm>
          <a:solidFill>
            <a:schemeClr val="bg1"/>
          </a:solidFill>
        </p:grpSpPr>
        <p:sp>
          <p:nvSpPr>
            <p:cNvPr id="79" name="Freeform 776">
              <a:extLst>
                <a:ext uri="{FF2B5EF4-FFF2-40B4-BE49-F238E27FC236}">
                  <a16:creationId xmlns:a16="http://schemas.microsoft.com/office/drawing/2014/main" id="{7BAD07CD-2930-467A-8F76-D1FF7F24E8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28" y="1587"/>
              <a:ext cx="100" cy="100"/>
            </a:xfrm>
            <a:custGeom>
              <a:avLst/>
              <a:gdLst>
                <a:gd name="T0" fmla="*/ 1396 w 2792"/>
                <a:gd name="T1" fmla="*/ 0 h 2793"/>
                <a:gd name="T2" fmla="*/ 0 w 2792"/>
                <a:gd name="T3" fmla="*/ 1396 h 2793"/>
                <a:gd name="T4" fmla="*/ 1396 w 2792"/>
                <a:gd name="T5" fmla="*/ 2793 h 2793"/>
                <a:gd name="T6" fmla="*/ 2792 w 2792"/>
                <a:gd name="T7" fmla="*/ 1396 h 2793"/>
                <a:gd name="T8" fmla="*/ 1396 w 2792"/>
                <a:gd name="T9" fmla="*/ 0 h 2793"/>
                <a:gd name="T10" fmla="*/ 1396 w 2792"/>
                <a:gd name="T11" fmla="*/ 2605 h 2793"/>
                <a:gd name="T12" fmla="*/ 187 w 2792"/>
                <a:gd name="T13" fmla="*/ 1396 h 2793"/>
                <a:gd name="T14" fmla="*/ 1396 w 2792"/>
                <a:gd name="T15" fmla="*/ 188 h 2793"/>
                <a:gd name="T16" fmla="*/ 2605 w 2792"/>
                <a:gd name="T17" fmla="*/ 1396 h 2793"/>
                <a:gd name="T18" fmla="*/ 1396 w 2792"/>
                <a:gd name="T19" fmla="*/ 2605 h 2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92" h="2793">
                  <a:moveTo>
                    <a:pt x="1396" y="0"/>
                  </a:moveTo>
                  <a:cubicBezTo>
                    <a:pt x="626" y="0"/>
                    <a:pt x="0" y="626"/>
                    <a:pt x="0" y="1396"/>
                  </a:cubicBezTo>
                  <a:cubicBezTo>
                    <a:pt x="0" y="2166"/>
                    <a:pt x="626" y="2793"/>
                    <a:pt x="1396" y="2793"/>
                  </a:cubicBezTo>
                  <a:cubicBezTo>
                    <a:pt x="2166" y="2793"/>
                    <a:pt x="2792" y="2166"/>
                    <a:pt x="2792" y="1396"/>
                  </a:cubicBezTo>
                  <a:cubicBezTo>
                    <a:pt x="2792" y="626"/>
                    <a:pt x="2166" y="0"/>
                    <a:pt x="1396" y="0"/>
                  </a:cubicBezTo>
                  <a:close/>
                  <a:moveTo>
                    <a:pt x="1396" y="2605"/>
                  </a:moveTo>
                  <a:cubicBezTo>
                    <a:pt x="730" y="2605"/>
                    <a:pt x="187" y="2063"/>
                    <a:pt x="187" y="1396"/>
                  </a:cubicBezTo>
                  <a:cubicBezTo>
                    <a:pt x="187" y="730"/>
                    <a:pt x="730" y="188"/>
                    <a:pt x="1396" y="188"/>
                  </a:cubicBezTo>
                  <a:cubicBezTo>
                    <a:pt x="2062" y="188"/>
                    <a:pt x="2605" y="730"/>
                    <a:pt x="2605" y="1396"/>
                  </a:cubicBezTo>
                  <a:cubicBezTo>
                    <a:pt x="2605" y="2063"/>
                    <a:pt x="2062" y="2605"/>
                    <a:pt x="1396" y="260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777">
              <a:extLst>
                <a:ext uri="{FF2B5EF4-FFF2-40B4-BE49-F238E27FC236}">
                  <a16:creationId xmlns:a16="http://schemas.microsoft.com/office/drawing/2014/main" id="{B0ED79EB-E404-4C30-92BE-9A35519FC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0" y="1598"/>
              <a:ext cx="36" cy="78"/>
            </a:xfrm>
            <a:custGeom>
              <a:avLst/>
              <a:gdLst>
                <a:gd name="T0" fmla="*/ 895 w 989"/>
                <a:gd name="T1" fmla="*/ 889 h 2191"/>
                <a:gd name="T2" fmla="*/ 989 w 989"/>
                <a:gd name="T3" fmla="*/ 795 h 2191"/>
                <a:gd name="T4" fmla="*/ 989 w 989"/>
                <a:gd name="T5" fmla="*/ 695 h 2191"/>
                <a:gd name="T6" fmla="*/ 595 w 989"/>
                <a:gd name="T7" fmla="*/ 300 h 2191"/>
                <a:gd name="T8" fmla="*/ 588 w 989"/>
                <a:gd name="T9" fmla="*/ 300 h 2191"/>
                <a:gd name="T10" fmla="*/ 588 w 989"/>
                <a:gd name="T11" fmla="*/ 94 h 2191"/>
                <a:gd name="T12" fmla="*/ 495 w 989"/>
                <a:gd name="T13" fmla="*/ 0 h 2191"/>
                <a:gd name="T14" fmla="*/ 401 w 989"/>
                <a:gd name="T15" fmla="*/ 94 h 2191"/>
                <a:gd name="T16" fmla="*/ 401 w 989"/>
                <a:gd name="T17" fmla="*/ 302 h 2191"/>
                <a:gd name="T18" fmla="*/ 0 w 989"/>
                <a:gd name="T19" fmla="*/ 745 h 2191"/>
                <a:gd name="T20" fmla="*/ 444 w 989"/>
                <a:gd name="T21" fmla="*/ 1189 h 2191"/>
                <a:gd name="T22" fmla="*/ 545 w 989"/>
                <a:gd name="T23" fmla="*/ 1189 h 2191"/>
                <a:gd name="T24" fmla="*/ 801 w 989"/>
                <a:gd name="T25" fmla="*/ 1446 h 2191"/>
                <a:gd name="T26" fmla="*/ 545 w 989"/>
                <a:gd name="T27" fmla="*/ 1703 h 2191"/>
                <a:gd name="T28" fmla="*/ 394 w 989"/>
                <a:gd name="T29" fmla="*/ 1703 h 2191"/>
                <a:gd name="T30" fmla="*/ 188 w 989"/>
                <a:gd name="T31" fmla="*/ 1496 h 2191"/>
                <a:gd name="T32" fmla="*/ 94 w 989"/>
                <a:gd name="T33" fmla="*/ 1402 h 2191"/>
                <a:gd name="T34" fmla="*/ 0 w 989"/>
                <a:gd name="T35" fmla="*/ 1496 h 2191"/>
                <a:gd name="T36" fmla="*/ 394 w 989"/>
                <a:gd name="T37" fmla="*/ 1891 h 2191"/>
                <a:gd name="T38" fmla="*/ 401 w 989"/>
                <a:gd name="T39" fmla="*/ 1891 h 2191"/>
                <a:gd name="T40" fmla="*/ 401 w 989"/>
                <a:gd name="T41" fmla="*/ 2097 h 2191"/>
                <a:gd name="T42" fmla="*/ 495 w 989"/>
                <a:gd name="T43" fmla="*/ 2191 h 2191"/>
                <a:gd name="T44" fmla="*/ 588 w 989"/>
                <a:gd name="T45" fmla="*/ 2097 h 2191"/>
                <a:gd name="T46" fmla="*/ 588 w 989"/>
                <a:gd name="T47" fmla="*/ 1889 h 2191"/>
                <a:gd name="T48" fmla="*/ 989 w 989"/>
                <a:gd name="T49" fmla="*/ 1446 h 2191"/>
                <a:gd name="T50" fmla="*/ 545 w 989"/>
                <a:gd name="T51" fmla="*/ 1002 h 2191"/>
                <a:gd name="T52" fmla="*/ 444 w 989"/>
                <a:gd name="T53" fmla="*/ 1002 h 2191"/>
                <a:gd name="T54" fmla="*/ 188 w 989"/>
                <a:gd name="T55" fmla="*/ 745 h 2191"/>
                <a:gd name="T56" fmla="*/ 444 w 989"/>
                <a:gd name="T57" fmla="*/ 488 h 2191"/>
                <a:gd name="T58" fmla="*/ 595 w 989"/>
                <a:gd name="T59" fmla="*/ 488 h 2191"/>
                <a:gd name="T60" fmla="*/ 801 w 989"/>
                <a:gd name="T61" fmla="*/ 695 h 2191"/>
                <a:gd name="T62" fmla="*/ 801 w 989"/>
                <a:gd name="T63" fmla="*/ 795 h 2191"/>
                <a:gd name="T64" fmla="*/ 895 w 989"/>
                <a:gd name="T65" fmla="*/ 889 h 2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89" h="2191">
                  <a:moveTo>
                    <a:pt x="895" y="889"/>
                  </a:moveTo>
                  <a:cubicBezTo>
                    <a:pt x="947" y="889"/>
                    <a:pt x="989" y="847"/>
                    <a:pt x="989" y="795"/>
                  </a:cubicBezTo>
                  <a:lnTo>
                    <a:pt x="989" y="695"/>
                  </a:lnTo>
                  <a:cubicBezTo>
                    <a:pt x="989" y="477"/>
                    <a:pt x="812" y="300"/>
                    <a:pt x="595" y="300"/>
                  </a:cubicBezTo>
                  <a:lnTo>
                    <a:pt x="588" y="300"/>
                  </a:lnTo>
                  <a:lnTo>
                    <a:pt x="588" y="94"/>
                  </a:lnTo>
                  <a:cubicBezTo>
                    <a:pt x="588" y="42"/>
                    <a:pt x="546" y="0"/>
                    <a:pt x="495" y="0"/>
                  </a:cubicBezTo>
                  <a:cubicBezTo>
                    <a:pt x="443" y="0"/>
                    <a:pt x="401" y="42"/>
                    <a:pt x="401" y="94"/>
                  </a:cubicBezTo>
                  <a:lnTo>
                    <a:pt x="401" y="302"/>
                  </a:lnTo>
                  <a:cubicBezTo>
                    <a:pt x="176" y="324"/>
                    <a:pt x="0" y="514"/>
                    <a:pt x="0" y="745"/>
                  </a:cubicBezTo>
                  <a:cubicBezTo>
                    <a:pt x="0" y="990"/>
                    <a:pt x="199" y="1189"/>
                    <a:pt x="444" y="1189"/>
                  </a:cubicBezTo>
                  <a:lnTo>
                    <a:pt x="545" y="1189"/>
                  </a:lnTo>
                  <a:cubicBezTo>
                    <a:pt x="686" y="1189"/>
                    <a:pt x="801" y="1305"/>
                    <a:pt x="801" y="1446"/>
                  </a:cubicBezTo>
                  <a:cubicBezTo>
                    <a:pt x="801" y="1588"/>
                    <a:pt x="686" y="1703"/>
                    <a:pt x="545" y="1703"/>
                  </a:cubicBezTo>
                  <a:lnTo>
                    <a:pt x="394" y="1703"/>
                  </a:lnTo>
                  <a:cubicBezTo>
                    <a:pt x="280" y="1703"/>
                    <a:pt x="188" y="1610"/>
                    <a:pt x="188" y="1496"/>
                  </a:cubicBezTo>
                  <a:cubicBezTo>
                    <a:pt x="188" y="1444"/>
                    <a:pt x="146" y="1402"/>
                    <a:pt x="94" y="1402"/>
                  </a:cubicBezTo>
                  <a:cubicBezTo>
                    <a:pt x="42" y="1402"/>
                    <a:pt x="0" y="1444"/>
                    <a:pt x="0" y="1496"/>
                  </a:cubicBezTo>
                  <a:cubicBezTo>
                    <a:pt x="0" y="1714"/>
                    <a:pt x="177" y="1891"/>
                    <a:pt x="394" y="1891"/>
                  </a:cubicBezTo>
                  <a:lnTo>
                    <a:pt x="401" y="1891"/>
                  </a:lnTo>
                  <a:lnTo>
                    <a:pt x="401" y="2097"/>
                  </a:lnTo>
                  <a:cubicBezTo>
                    <a:pt x="401" y="2149"/>
                    <a:pt x="443" y="2191"/>
                    <a:pt x="495" y="2191"/>
                  </a:cubicBezTo>
                  <a:cubicBezTo>
                    <a:pt x="546" y="2191"/>
                    <a:pt x="588" y="2149"/>
                    <a:pt x="588" y="2097"/>
                  </a:cubicBezTo>
                  <a:lnTo>
                    <a:pt x="588" y="1889"/>
                  </a:lnTo>
                  <a:cubicBezTo>
                    <a:pt x="813" y="1867"/>
                    <a:pt x="989" y="1677"/>
                    <a:pt x="989" y="1446"/>
                  </a:cubicBezTo>
                  <a:cubicBezTo>
                    <a:pt x="989" y="1201"/>
                    <a:pt x="790" y="1002"/>
                    <a:pt x="545" y="1002"/>
                  </a:cubicBezTo>
                  <a:lnTo>
                    <a:pt x="444" y="1002"/>
                  </a:lnTo>
                  <a:cubicBezTo>
                    <a:pt x="303" y="1002"/>
                    <a:pt x="188" y="886"/>
                    <a:pt x="188" y="745"/>
                  </a:cubicBezTo>
                  <a:cubicBezTo>
                    <a:pt x="188" y="603"/>
                    <a:pt x="303" y="488"/>
                    <a:pt x="444" y="488"/>
                  </a:cubicBezTo>
                  <a:lnTo>
                    <a:pt x="595" y="488"/>
                  </a:lnTo>
                  <a:cubicBezTo>
                    <a:pt x="709" y="488"/>
                    <a:pt x="801" y="581"/>
                    <a:pt x="801" y="695"/>
                  </a:cubicBezTo>
                  <a:lnTo>
                    <a:pt x="801" y="795"/>
                  </a:lnTo>
                  <a:cubicBezTo>
                    <a:pt x="801" y="847"/>
                    <a:pt x="843" y="889"/>
                    <a:pt x="895" y="8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78">
              <a:extLst>
                <a:ext uri="{FF2B5EF4-FFF2-40B4-BE49-F238E27FC236}">
                  <a16:creationId xmlns:a16="http://schemas.microsoft.com/office/drawing/2014/main" id="{9EBCF1CC-C03E-438E-830E-7F0E9F32DD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2" y="1687"/>
              <a:ext cx="151" cy="129"/>
            </a:xfrm>
            <a:custGeom>
              <a:avLst/>
              <a:gdLst>
                <a:gd name="T0" fmla="*/ 3601 w 4196"/>
                <a:gd name="T1" fmla="*/ 0 h 3595"/>
                <a:gd name="T2" fmla="*/ 595 w 4196"/>
                <a:gd name="T3" fmla="*/ 0 h 3595"/>
                <a:gd name="T4" fmla="*/ 0 w 4196"/>
                <a:gd name="T5" fmla="*/ 595 h 3595"/>
                <a:gd name="T6" fmla="*/ 0 w 4196"/>
                <a:gd name="T7" fmla="*/ 3501 h 3595"/>
                <a:gd name="T8" fmla="*/ 94 w 4196"/>
                <a:gd name="T9" fmla="*/ 3595 h 3595"/>
                <a:gd name="T10" fmla="*/ 188 w 4196"/>
                <a:gd name="T11" fmla="*/ 3501 h 3595"/>
                <a:gd name="T12" fmla="*/ 188 w 4196"/>
                <a:gd name="T13" fmla="*/ 595 h 3595"/>
                <a:gd name="T14" fmla="*/ 595 w 4196"/>
                <a:gd name="T15" fmla="*/ 188 h 3595"/>
                <a:gd name="T16" fmla="*/ 1332 w 4196"/>
                <a:gd name="T17" fmla="*/ 188 h 3595"/>
                <a:gd name="T18" fmla="*/ 2010 w 4196"/>
                <a:gd name="T19" fmla="*/ 1932 h 3595"/>
                <a:gd name="T20" fmla="*/ 2186 w 4196"/>
                <a:gd name="T21" fmla="*/ 1932 h 3595"/>
                <a:gd name="T22" fmla="*/ 2864 w 4196"/>
                <a:gd name="T23" fmla="*/ 188 h 3595"/>
                <a:gd name="T24" fmla="*/ 3601 w 4196"/>
                <a:gd name="T25" fmla="*/ 188 h 3595"/>
                <a:gd name="T26" fmla="*/ 4008 w 4196"/>
                <a:gd name="T27" fmla="*/ 595 h 3595"/>
                <a:gd name="T28" fmla="*/ 4008 w 4196"/>
                <a:gd name="T29" fmla="*/ 3501 h 3595"/>
                <a:gd name="T30" fmla="*/ 4102 w 4196"/>
                <a:gd name="T31" fmla="*/ 3595 h 3595"/>
                <a:gd name="T32" fmla="*/ 4196 w 4196"/>
                <a:gd name="T33" fmla="*/ 3501 h 3595"/>
                <a:gd name="T34" fmla="*/ 4196 w 4196"/>
                <a:gd name="T35" fmla="*/ 595 h 3595"/>
                <a:gd name="T36" fmla="*/ 3601 w 4196"/>
                <a:gd name="T37" fmla="*/ 0 h 3595"/>
                <a:gd name="T38" fmla="*/ 1784 w 4196"/>
                <a:gd name="T39" fmla="*/ 831 h 3595"/>
                <a:gd name="T40" fmla="*/ 1534 w 4196"/>
                <a:gd name="T41" fmla="*/ 188 h 3595"/>
                <a:gd name="T42" fmla="*/ 1724 w 4196"/>
                <a:gd name="T43" fmla="*/ 188 h 3595"/>
                <a:gd name="T44" fmla="*/ 1803 w 4196"/>
                <a:gd name="T45" fmla="*/ 504 h 3595"/>
                <a:gd name="T46" fmla="*/ 1784 w 4196"/>
                <a:gd name="T47" fmla="*/ 831 h 3595"/>
                <a:gd name="T48" fmla="*/ 2098 w 4196"/>
                <a:gd name="T49" fmla="*/ 1639 h 3595"/>
                <a:gd name="T50" fmla="*/ 1946 w 4196"/>
                <a:gd name="T51" fmla="*/ 1248 h 3595"/>
                <a:gd name="T52" fmla="*/ 1948 w 4196"/>
                <a:gd name="T53" fmla="*/ 1233 h 3595"/>
                <a:gd name="T54" fmla="*/ 1986 w 4196"/>
                <a:gd name="T55" fmla="*/ 589 h 3595"/>
                <a:gd name="T56" fmla="*/ 2210 w 4196"/>
                <a:gd name="T57" fmla="*/ 589 h 3595"/>
                <a:gd name="T58" fmla="*/ 2248 w 4196"/>
                <a:gd name="T59" fmla="*/ 1243 h 3595"/>
                <a:gd name="T60" fmla="*/ 2249 w 4196"/>
                <a:gd name="T61" fmla="*/ 1250 h 3595"/>
                <a:gd name="T62" fmla="*/ 2098 w 4196"/>
                <a:gd name="T63" fmla="*/ 1639 h 3595"/>
                <a:gd name="T64" fmla="*/ 2225 w 4196"/>
                <a:gd name="T65" fmla="*/ 401 h 3595"/>
                <a:gd name="T66" fmla="*/ 1971 w 4196"/>
                <a:gd name="T67" fmla="*/ 401 h 3595"/>
                <a:gd name="T68" fmla="*/ 1918 w 4196"/>
                <a:gd name="T69" fmla="*/ 188 h 3595"/>
                <a:gd name="T70" fmla="*/ 2278 w 4196"/>
                <a:gd name="T71" fmla="*/ 188 h 3595"/>
                <a:gd name="T72" fmla="*/ 2225 w 4196"/>
                <a:gd name="T73" fmla="*/ 401 h 3595"/>
                <a:gd name="T74" fmla="*/ 2412 w 4196"/>
                <a:gd name="T75" fmla="*/ 831 h 3595"/>
                <a:gd name="T76" fmla="*/ 2393 w 4196"/>
                <a:gd name="T77" fmla="*/ 504 h 3595"/>
                <a:gd name="T78" fmla="*/ 2472 w 4196"/>
                <a:gd name="T79" fmla="*/ 188 h 3595"/>
                <a:gd name="T80" fmla="*/ 2662 w 4196"/>
                <a:gd name="T81" fmla="*/ 188 h 3595"/>
                <a:gd name="T82" fmla="*/ 2412 w 4196"/>
                <a:gd name="T83" fmla="*/ 831 h 3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96" h="3595">
                  <a:moveTo>
                    <a:pt x="3601" y="0"/>
                  </a:moveTo>
                  <a:lnTo>
                    <a:pt x="595" y="0"/>
                  </a:lnTo>
                  <a:cubicBezTo>
                    <a:pt x="267" y="0"/>
                    <a:pt x="0" y="267"/>
                    <a:pt x="0" y="595"/>
                  </a:cubicBezTo>
                  <a:lnTo>
                    <a:pt x="0" y="3501"/>
                  </a:lnTo>
                  <a:cubicBezTo>
                    <a:pt x="0" y="3553"/>
                    <a:pt x="42" y="3595"/>
                    <a:pt x="94" y="3595"/>
                  </a:cubicBezTo>
                  <a:cubicBezTo>
                    <a:pt x="146" y="3595"/>
                    <a:pt x="188" y="3553"/>
                    <a:pt x="188" y="3501"/>
                  </a:cubicBezTo>
                  <a:lnTo>
                    <a:pt x="188" y="595"/>
                  </a:lnTo>
                  <a:cubicBezTo>
                    <a:pt x="188" y="371"/>
                    <a:pt x="371" y="188"/>
                    <a:pt x="595" y="188"/>
                  </a:cubicBezTo>
                  <a:lnTo>
                    <a:pt x="1332" y="188"/>
                  </a:lnTo>
                  <a:lnTo>
                    <a:pt x="2010" y="1932"/>
                  </a:lnTo>
                  <a:cubicBezTo>
                    <a:pt x="2041" y="2010"/>
                    <a:pt x="2155" y="2010"/>
                    <a:pt x="2186" y="1932"/>
                  </a:cubicBezTo>
                  <a:lnTo>
                    <a:pt x="2864" y="188"/>
                  </a:lnTo>
                  <a:lnTo>
                    <a:pt x="3601" y="188"/>
                  </a:lnTo>
                  <a:cubicBezTo>
                    <a:pt x="3825" y="188"/>
                    <a:pt x="4008" y="371"/>
                    <a:pt x="4008" y="595"/>
                  </a:cubicBezTo>
                  <a:lnTo>
                    <a:pt x="4008" y="3501"/>
                  </a:lnTo>
                  <a:cubicBezTo>
                    <a:pt x="4008" y="3553"/>
                    <a:pt x="4050" y="3595"/>
                    <a:pt x="4102" y="3595"/>
                  </a:cubicBezTo>
                  <a:cubicBezTo>
                    <a:pt x="4154" y="3595"/>
                    <a:pt x="4196" y="3553"/>
                    <a:pt x="4196" y="3501"/>
                  </a:cubicBezTo>
                  <a:lnTo>
                    <a:pt x="4196" y="595"/>
                  </a:lnTo>
                  <a:cubicBezTo>
                    <a:pt x="4196" y="267"/>
                    <a:pt x="3929" y="0"/>
                    <a:pt x="3601" y="0"/>
                  </a:cubicBezTo>
                  <a:close/>
                  <a:moveTo>
                    <a:pt x="1784" y="831"/>
                  </a:moveTo>
                  <a:lnTo>
                    <a:pt x="1534" y="188"/>
                  </a:lnTo>
                  <a:lnTo>
                    <a:pt x="1724" y="188"/>
                  </a:lnTo>
                  <a:lnTo>
                    <a:pt x="1803" y="504"/>
                  </a:lnTo>
                  <a:lnTo>
                    <a:pt x="1784" y="831"/>
                  </a:lnTo>
                  <a:close/>
                  <a:moveTo>
                    <a:pt x="2098" y="1639"/>
                  </a:moveTo>
                  <a:lnTo>
                    <a:pt x="1946" y="1248"/>
                  </a:lnTo>
                  <a:cubicBezTo>
                    <a:pt x="1947" y="1243"/>
                    <a:pt x="1948" y="1238"/>
                    <a:pt x="1948" y="1233"/>
                  </a:cubicBezTo>
                  <a:lnTo>
                    <a:pt x="1986" y="589"/>
                  </a:lnTo>
                  <a:lnTo>
                    <a:pt x="2210" y="589"/>
                  </a:lnTo>
                  <a:lnTo>
                    <a:pt x="2248" y="1243"/>
                  </a:lnTo>
                  <a:cubicBezTo>
                    <a:pt x="2248" y="1246"/>
                    <a:pt x="2249" y="1248"/>
                    <a:pt x="2249" y="1250"/>
                  </a:cubicBezTo>
                  <a:lnTo>
                    <a:pt x="2098" y="1639"/>
                  </a:lnTo>
                  <a:close/>
                  <a:moveTo>
                    <a:pt x="2225" y="401"/>
                  </a:moveTo>
                  <a:lnTo>
                    <a:pt x="1971" y="401"/>
                  </a:lnTo>
                  <a:lnTo>
                    <a:pt x="1918" y="188"/>
                  </a:lnTo>
                  <a:lnTo>
                    <a:pt x="2278" y="188"/>
                  </a:lnTo>
                  <a:lnTo>
                    <a:pt x="2225" y="401"/>
                  </a:lnTo>
                  <a:close/>
                  <a:moveTo>
                    <a:pt x="2412" y="831"/>
                  </a:moveTo>
                  <a:lnTo>
                    <a:pt x="2393" y="504"/>
                  </a:lnTo>
                  <a:lnTo>
                    <a:pt x="2472" y="188"/>
                  </a:lnTo>
                  <a:lnTo>
                    <a:pt x="2662" y="188"/>
                  </a:lnTo>
                  <a:lnTo>
                    <a:pt x="2412" y="8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Oval 779">
              <a:extLst>
                <a:ext uri="{FF2B5EF4-FFF2-40B4-BE49-F238E27FC236}">
                  <a16:creationId xmlns:a16="http://schemas.microsoft.com/office/drawing/2014/main" id="{79F0F115-9E82-4FD1-A1BE-A8F3233F1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4" y="1766"/>
              <a:ext cx="7" cy="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Oval 780">
              <a:extLst>
                <a:ext uri="{FF2B5EF4-FFF2-40B4-BE49-F238E27FC236}">
                  <a16:creationId xmlns:a16="http://schemas.microsoft.com/office/drawing/2014/main" id="{5F53D986-3D53-4103-95E8-394B3012A5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4" y="1780"/>
              <a:ext cx="7" cy="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Oval 781">
              <a:extLst>
                <a:ext uri="{FF2B5EF4-FFF2-40B4-BE49-F238E27FC236}">
                  <a16:creationId xmlns:a16="http://schemas.microsoft.com/office/drawing/2014/main" id="{17E46135-4170-4BA8-AEEC-48636B8BC3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4" y="1794"/>
              <a:ext cx="7" cy="7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782">
              <a:extLst>
                <a:ext uri="{FF2B5EF4-FFF2-40B4-BE49-F238E27FC236}">
                  <a16:creationId xmlns:a16="http://schemas.microsoft.com/office/drawing/2014/main" id="{1855091F-5987-4C0F-ABA1-671DB05DF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" y="1775"/>
              <a:ext cx="7" cy="41"/>
            </a:xfrm>
            <a:custGeom>
              <a:avLst/>
              <a:gdLst>
                <a:gd name="T0" fmla="*/ 94 w 188"/>
                <a:gd name="T1" fmla="*/ 0 h 1144"/>
                <a:gd name="T2" fmla="*/ 0 w 188"/>
                <a:gd name="T3" fmla="*/ 94 h 1144"/>
                <a:gd name="T4" fmla="*/ 0 w 188"/>
                <a:gd name="T5" fmla="*/ 1050 h 1144"/>
                <a:gd name="T6" fmla="*/ 94 w 188"/>
                <a:gd name="T7" fmla="*/ 1144 h 1144"/>
                <a:gd name="T8" fmla="*/ 188 w 188"/>
                <a:gd name="T9" fmla="*/ 1050 h 1144"/>
                <a:gd name="T10" fmla="*/ 188 w 188"/>
                <a:gd name="T11" fmla="*/ 94 h 1144"/>
                <a:gd name="T12" fmla="*/ 94 w 188"/>
                <a:gd name="T13" fmla="*/ 0 h 1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1144"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lnTo>
                    <a:pt x="0" y="1050"/>
                  </a:lnTo>
                  <a:cubicBezTo>
                    <a:pt x="0" y="1102"/>
                    <a:pt x="42" y="1144"/>
                    <a:pt x="94" y="1144"/>
                  </a:cubicBezTo>
                  <a:cubicBezTo>
                    <a:pt x="146" y="1144"/>
                    <a:pt x="188" y="1102"/>
                    <a:pt x="188" y="1050"/>
                  </a:cubicBezTo>
                  <a:lnTo>
                    <a:pt x="188" y="94"/>
                  </a:lnTo>
                  <a:cubicBezTo>
                    <a:pt x="188" y="42"/>
                    <a:pt x="146" y="0"/>
                    <a:pt x="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83">
              <a:extLst>
                <a:ext uri="{FF2B5EF4-FFF2-40B4-BE49-F238E27FC236}">
                  <a16:creationId xmlns:a16="http://schemas.microsoft.com/office/drawing/2014/main" id="{94BE4912-2538-4A8B-B9D6-09881D31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7" y="1730"/>
              <a:ext cx="7" cy="36"/>
            </a:xfrm>
            <a:custGeom>
              <a:avLst/>
              <a:gdLst>
                <a:gd name="T0" fmla="*/ 94 w 188"/>
                <a:gd name="T1" fmla="*/ 0 h 989"/>
                <a:gd name="T2" fmla="*/ 0 w 188"/>
                <a:gd name="T3" fmla="*/ 94 h 989"/>
                <a:gd name="T4" fmla="*/ 0 w 188"/>
                <a:gd name="T5" fmla="*/ 895 h 989"/>
                <a:gd name="T6" fmla="*/ 94 w 188"/>
                <a:gd name="T7" fmla="*/ 989 h 989"/>
                <a:gd name="T8" fmla="*/ 188 w 188"/>
                <a:gd name="T9" fmla="*/ 895 h 989"/>
                <a:gd name="T10" fmla="*/ 188 w 188"/>
                <a:gd name="T11" fmla="*/ 94 h 989"/>
                <a:gd name="T12" fmla="*/ 94 w 188"/>
                <a:gd name="T13" fmla="*/ 0 h 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989"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lnTo>
                    <a:pt x="0" y="895"/>
                  </a:lnTo>
                  <a:cubicBezTo>
                    <a:pt x="0" y="947"/>
                    <a:pt x="42" y="989"/>
                    <a:pt x="94" y="989"/>
                  </a:cubicBezTo>
                  <a:cubicBezTo>
                    <a:pt x="146" y="989"/>
                    <a:pt x="188" y="947"/>
                    <a:pt x="188" y="895"/>
                  </a:cubicBezTo>
                  <a:lnTo>
                    <a:pt x="188" y="94"/>
                  </a:lnTo>
                  <a:cubicBezTo>
                    <a:pt x="188" y="42"/>
                    <a:pt x="146" y="0"/>
                    <a:pt x="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784">
              <a:extLst>
                <a:ext uri="{FF2B5EF4-FFF2-40B4-BE49-F238E27FC236}">
                  <a16:creationId xmlns:a16="http://schemas.microsoft.com/office/drawing/2014/main" id="{C97E25A3-8152-4D4D-9206-04D344582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" y="1730"/>
              <a:ext cx="7" cy="86"/>
            </a:xfrm>
            <a:custGeom>
              <a:avLst/>
              <a:gdLst>
                <a:gd name="T0" fmla="*/ 94 w 188"/>
                <a:gd name="T1" fmla="*/ 0 h 2392"/>
                <a:gd name="T2" fmla="*/ 0 w 188"/>
                <a:gd name="T3" fmla="*/ 94 h 2392"/>
                <a:gd name="T4" fmla="*/ 0 w 188"/>
                <a:gd name="T5" fmla="*/ 2298 h 2392"/>
                <a:gd name="T6" fmla="*/ 94 w 188"/>
                <a:gd name="T7" fmla="*/ 2392 h 2392"/>
                <a:gd name="T8" fmla="*/ 188 w 188"/>
                <a:gd name="T9" fmla="*/ 2298 h 2392"/>
                <a:gd name="T10" fmla="*/ 188 w 188"/>
                <a:gd name="T11" fmla="*/ 94 h 2392"/>
                <a:gd name="T12" fmla="*/ 94 w 188"/>
                <a:gd name="T13" fmla="*/ 0 h 2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2392"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lnTo>
                    <a:pt x="0" y="2298"/>
                  </a:lnTo>
                  <a:cubicBezTo>
                    <a:pt x="0" y="2350"/>
                    <a:pt x="42" y="2392"/>
                    <a:pt x="94" y="2392"/>
                  </a:cubicBezTo>
                  <a:cubicBezTo>
                    <a:pt x="146" y="2392"/>
                    <a:pt x="188" y="2350"/>
                    <a:pt x="188" y="2298"/>
                  </a:cubicBezTo>
                  <a:lnTo>
                    <a:pt x="188" y="94"/>
                  </a:lnTo>
                  <a:cubicBezTo>
                    <a:pt x="188" y="42"/>
                    <a:pt x="146" y="0"/>
                    <a:pt x="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325645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0BCB4C-2DBB-4159-A6BD-711F9B8FC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Коррупциянинг</a:t>
            </a:r>
            <a:r>
              <a:rPr lang="ru-RU" dirty="0"/>
              <a:t> </a:t>
            </a:r>
            <a:r>
              <a:rPr lang="ru-RU" dirty="0" err="1"/>
              <a:t>намоён</a:t>
            </a:r>
            <a:r>
              <a:rPr lang="ru-RU" dirty="0"/>
              <a:t> </a:t>
            </a:r>
            <a:r>
              <a:rPr lang="ru-RU" dirty="0" err="1"/>
              <a:t>бўлиш</a:t>
            </a:r>
            <a:r>
              <a:rPr lang="ru-RU" dirty="0"/>
              <a:t> </a:t>
            </a:r>
            <a:r>
              <a:rPr lang="ru-RU" dirty="0" err="1"/>
              <a:t>шакллари</a:t>
            </a:r>
            <a:endParaRPr lang="en-US" dirty="0"/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7033EB4A-BF00-4DA6-A88B-02CAE5DF59EE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A35FC7-01EA-4C1D-8962-D7B01F78D90B}"/>
              </a:ext>
            </a:extLst>
          </p:cNvPr>
          <p:cNvSpPr/>
          <p:nvPr/>
        </p:nvSpPr>
        <p:spPr>
          <a:xfrm>
            <a:off x="1471576" y="1428867"/>
            <a:ext cx="92488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000" b="1" dirty="0">
                <a:solidFill>
                  <a:srgbClr val="49A9F6"/>
                </a:solidFill>
              </a:rPr>
              <a:t>Коррупция </a:t>
            </a:r>
            <a:r>
              <a:rPr lang="ru-RU" sz="2000" b="1" dirty="0" err="1">
                <a:solidFill>
                  <a:srgbClr val="49A9F6"/>
                </a:solidFill>
              </a:rPr>
              <a:t>мутлақо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турл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шакл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в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кўринишг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эг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бўлиш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мумкин</a:t>
            </a:r>
            <a:endParaRPr lang="ru-RU" sz="2000" b="1" dirty="0">
              <a:solidFill>
                <a:srgbClr val="49A9F6"/>
              </a:solidFill>
            </a:endParaRPr>
          </a:p>
        </p:txBody>
      </p:sp>
      <p:pic>
        <p:nvPicPr>
          <p:cNvPr id="5" name="Рисунок 18">
            <a:extLst>
              <a:ext uri="{FF2B5EF4-FFF2-40B4-BE49-F238E27FC236}">
                <a16:creationId xmlns:a16="http://schemas.microsoft.com/office/drawing/2014/main" id="{E2675DD9-70B0-424B-B35A-BA18534FA2D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90298" y="1282700"/>
            <a:ext cx="685827" cy="68582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4434F12-7141-41B5-B4B2-ED7D8C09B6CD}"/>
              </a:ext>
            </a:extLst>
          </p:cNvPr>
          <p:cNvGrpSpPr/>
          <p:nvPr/>
        </p:nvGrpSpPr>
        <p:grpSpPr>
          <a:xfrm>
            <a:off x="1128474" y="2123850"/>
            <a:ext cx="10449320" cy="4043377"/>
            <a:chOff x="-1062068" y="1147422"/>
            <a:chExt cx="9730158" cy="378974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8DF125F-FF6C-4086-B437-57FD3DD1278C}"/>
                </a:ext>
              </a:extLst>
            </p:cNvPr>
            <p:cNvSpPr txBox="1"/>
            <p:nvPr/>
          </p:nvSpPr>
          <p:spPr>
            <a:xfrm>
              <a:off x="-1047236" y="2339181"/>
              <a:ext cx="2568781" cy="498580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 algn="r">
                <a:spcAft>
                  <a:spcPts val="554"/>
                </a:spcAft>
              </a:pP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ул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блағлари</a:t>
              </a:r>
              <a:b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қд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қдсиз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89A7C86-A4DC-4FA5-B58E-D4F5DA35324C}"/>
                </a:ext>
              </a:extLst>
            </p:cNvPr>
            <p:cNvSpPr txBox="1"/>
            <p:nvPr/>
          </p:nvSpPr>
          <p:spPr>
            <a:xfrm>
              <a:off x="-1062068" y="1760581"/>
              <a:ext cx="2873449" cy="268078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 algn="r">
                <a:spcAft>
                  <a:spcPts val="554"/>
                </a:spcAft>
              </a:pP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ғбатлатирувчи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ўловлар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45425DA-9F64-4AF9-98AF-39DA8EA66E2A}"/>
                </a:ext>
              </a:extLst>
            </p:cNvPr>
            <p:cNvSpPr txBox="1"/>
            <p:nvPr/>
          </p:nvSpPr>
          <p:spPr>
            <a:xfrm>
              <a:off x="438242" y="3198095"/>
              <a:ext cx="1125415" cy="268253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 algn="r">
                <a:spcAft>
                  <a:spcPts val="554"/>
                </a:spcAft>
              </a:pP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вғалар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1E7A845-35E7-4419-8A45-ED1F09BB08C1}"/>
                </a:ext>
              </a:extLst>
            </p:cNvPr>
            <p:cNvSpPr txBox="1"/>
            <p:nvPr/>
          </p:nvSpPr>
          <p:spPr>
            <a:xfrm>
              <a:off x="-764084" y="3832153"/>
              <a:ext cx="2619475" cy="361381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 algn="r">
                <a:spcAft>
                  <a:spcPts val="554"/>
                </a:spcAft>
              </a:pP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акиллик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аражатлари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D48A5DE-E12A-4865-B04A-BCB5C27E3B35}"/>
                </a:ext>
              </a:extLst>
            </p:cNvPr>
            <p:cNvSpPr txBox="1"/>
            <p:nvPr/>
          </p:nvSpPr>
          <p:spPr>
            <a:xfrm>
              <a:off x="-400661" y="4466649"/>
              <a:ext cx="2745228" cy="433877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 algn="r">
                <a:spcAft>
                  <a:spcPts val="554"/>
                </a:spcAft>
              </a:pP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иёсий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ртияларни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ўллаб-қувватлаш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78DF6ECB-95A0-4BF5-AB65-2CFC34BCC61F}"/>
                </a:ext>
              </a:extLst>
            </p:cNvPr>
            <p:cNvSpPr txBox="1"/>
            <p:nvPr/>
          </p:nvSpPr>
          <p:spPr>
            <a:xfrm>
              <a:off x="18915" y="1147422"/>
              <a:ext cx="2327163" cy="321965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 algn="r">
                <a:spcAft>
                  <a:spcPts val="554"/>
                </a:spcAft>
              </a:pP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айрия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ўловлари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F2EADBE-BC5A-4EC5-B670-4BF25E3BC13F}"/>
                </a:ext>
              </a:extLst>
            </p:cNvPr>
            <p:cNvSpPr txBox="1"/>
            <p:nvPr/>
          </p:nvSpPr>
          <p:spPr>
            <a:xfrm>
              <a:off x="5468743" y="3167732"/>
              <a:ext cx="1784802" cy="343187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>
                <a:spcAft>
                  <a:spcPts val="554"/>
                </a:spcAft>
              </a:pP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гентлик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артномалари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5F68864-F683-4719-865B-6CA7D4ECE373}"/>
                </a:ext>
              </a:extLst>
            </p:cNvPr>
            <p:cNvSpPr txBox="1"/>
            <p:nvPr/>
          </p:nvSpPr>
          <p:spPr>
            <a:xfrm>
              <a:off x="4577811" y="4488857"/>
              <a:ext cx="2945183" cy="448309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>
                <a:spcAft>
                  <a:spcPts val="554"/>
                </a:spcAft>
              </a:pP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иссия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ўловларини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шириб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юбориш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DCD1A2B-28F2-4474-9AE5-4E46DD8D5538}"/>
                </a:ext>
              </a:extLst>
            </p:cNvPr>
            <p:cNvSpPr txBox="1"/>
            <p:nvPr/>
          </p:nvSpPr>
          <p:spPr>
            <a:xfrm>
              <a:off x="4702063" y="1174030"/>
              <a:ext cx="3246303" cy="325874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>
                <a:spcAft>
                  <a:spcPts val="554"/>
                </a:spcAft>
              </a:pP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Ўзаро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нфаатдор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ҳамкорлик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90D8671-13CA-4B7A-9B5A-8B56DEC9BA22}"/>
                </a:ext>
              </a:extLst>
            </p:cNvPr>
            <p:cNvSpPr txBox="1"/>
            <p:nvPr/>
          </p:nvSpPr>
          <p:spPr>
            <a:xfrm>
              <a:off x="5421786" y="2359935"/>
              <a:ext cx="3246304" cy="353324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>
                <a:spcAft>
                  <a:spcPts val="554"/>
                </a:spcAft>
              </a:pP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пул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ълим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лиш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мкониятини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риш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1DC08DB-C8FE-4FEE-A1B5-FF3C7B7971C6}"/>
                </a:ext>
              </a:extLst>
            </p:cNvPr>
            <p:cNvSpPr txBox="1"/>
            <p:nvPr/>
          </p:nvSpPr>
          <p:spPr>
            <a:xfrm>
              <a:off x="5157223" y="3847509"/>
              <a:ext cx="2194492" cy="346026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>
                <a:spcAft>
                  <a:spcPts val="554"/>
                </a:spcAft>
              </a:pPr>
              <a:r>
                <a:rPr lang="ru-RU" sz="1400" spc="-37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риндошларга</a:t>
              </a:r>
              <a:r>
                <a:rPr lang="ru-RU" sz="1400" spc="-37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spc="-37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ёрдам</a:t>
              </a:r>
              <a:endParaRPr lang="en-US" sz="1400" spc="-37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97DFDED-3839-4549-BC58-F7CCCAA1A2E3}"/>
                </a:ext>
              </a:extLst>
            </p:cNvPr>
            <p:cNvSpPr txBox="1"/>
            <p:nvPr/>
          </p:nvSpPr>
          <p:spPr>
            <a:xfrm>
              <a:off x="5209656" y="1613233"/>
              <a:ext cx="2673959" cy="453570"/>
            </a:xfrm>
            <a:prstGeom prst="rect">
              <a:avLst/>
            </a:prstGeom>
            <a:noFill/>
          </p:spPr>
          <p:txBody>
            <a:bodyPr wrap="square" lIns="50409" tIns="50409" rIns="50409" bIns="50409" rtlCol="0">
              <a:noAutofit/>
            </a:bodyPr>
            <a:lstStyle/>
            <a:p>
              <a:pPr>
                <a:spcAft>
                  <a:spcPts val="554"/>
                </a:spcAft>
              </a:pP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Ўзаро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лаблар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ўйиш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измат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ун</a:t>
              </a:r>
              <a:r>
                <a:rPr lang="ru-RU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измат</a:t>
              </a:r>
              <a:endPara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0A711C9-D327-44FE-9BA1-2D58D873DD4C}"/>
                </a:ext>
              </a:extLst>
            </p:cNvPr>
            <p:cNvSpPr/>
            <p:nvPr/>
          </p:nvSpPr>
          <p:spPr>
            <a:xfrm>
              <a:off x="2340585" y="1789147"/>
              <a:ext cx="2293474" cy="2293474"/>
            </a:xfrm>
            <a:prstGeom prst="ellipse">
              <a:avLst/>
            </a:prstGeom>
            <a:solidFill>
              <a:srgbClr val="49A9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468000" rtlCol="0" anchor="ctr"/>
            <a:lstStyle/>
            <a:p>
              <a:pPr algn="ctr">
                <a:spcAft>
                  <a:spcPts val="554"/>
                </a:spcAft>
              </a:pP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1008256-8F7E-4A79-A383-441473A7BB82}"/>
                </a:ext>
              </a:extLst>
            </p:cNvPr>
            <p:cNvSpPr/>
            <p:nvPr/>
          </p:nvSpPr>
          <p:spPr>
            <a:xfrm>
              <a:off x="2209523" y="1658085"/>
              <a:ext cx="2555598" cy="2555598"/>
            </a:xfrm>
            <a:prstGeom prst="ellipse">
              <a:avLst/>
            </a:prstGeom>
            <a:noFill/>
            <a:ln>
              <a:solidFill>
                <a:srgbClr val="1BD7D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36000" rIns="54610" bIns="468000" rtlCol="0" anchor="ctr"/>
            <a:lstStyle/>
            <a:p>
              <a:pPr algn="ctr">
                <a:spcAft>
                  <a:spcPts val="554"/>
                </a:spcAft>
              </a:pPr>
              <a:endParaRPr 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5EE0EC9-E036-4D44-9DC5-FC0DFD035A62}"/>
                </a:ext>
              </a:extLst>
            </p:cNvPr>
            <p:cNvSpPr/>
            <p:nvPr/>
          </p:nvSpPr>
          <p:spPr>
            <a:xfrm>
              <a:off x="2050598" y="1499160"/>
              <a:ext cx="2873449" cy="2873449"/>
            </a:xfrm>
            <a:prstGeom prst="ellipse">
              <a:avLst/>
            </a:prstGeom>
            <a:noFill/>
            <a:ln>
              <a:solidFill>
                <a:srgbClr val="1BD7D3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36000" rIns="54610" bIns="468000" rtlCol="0" anchor="ctr"/>
            <a:lstStyle/>
            <a:p>
              <a:pPr algn="ctr">
                <a:spcAft>
                  <a:spcPts val="554"/>
                </a:spcAft>
              </a:pPr>
              <a:endParaRPr lang="en-US" sz="10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EF2DE1F-727B-4904-B228-0A1D34269482}"/>
                </a:ext>
              </a:extLst>
            </p:cNvPr>
            <p:cNvGrpSpPr/>
            <p:nvPr/>
          </p:nvGrpSpPr>
          <p:grpSpPr>
            <a:xfrm>
              <a:off x="1411056" y="1499506"/>
              <a:ext cx="1443994" cy="3079549"/>
              <a:chOff x="1619887" y="1902278"/>
              <a:chExt cx="1443994" cy="3079549"/>
            </a:xfrm>
          </p:grpSpPr>
          <p:sp>
            <p:nvSpPr>
              <p:cNvPr id="38" name="Freeform 5">
                <a:extLst>
                  <a:ext uri="{FF2B5EF4-FFF2-40B4-BE49-F238E27FC236}">
                    <a16:creationId xmlns:a16="http://schemas.microsoft.com/office/drawing/2014/main" id="{DB4B6C22-89FF-4DFB-85BB-252F1AB11F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2701340">
                <a:off x="2600286" y="4527406"/>
                <a:ext cx="315002" cy="454421"/>
              </a:xfrm>
              <a:custGeom>
                <a:avLst/>
                <a:gdLst>
                  <a:gd name="T0" fmla="*/ 1204 w 1335"/>
                  <a:gd name="T1" fmla="*/ 681 h 1927"/>
                  <a:gd name="T2" fmla="*/ 667 w 1335"/>
                  <a:gd name="T3" fmla="*/ 133 h 1927"/>
                  <a:gd name="T4" fmla="*/ 130 w 1335"/>
                  <a:gd name="T5" fmla="*/ 681 h 1927"/>
                  <a:gd name="T6" fmla="*/ 667 w 1335"/>
                  <a:gd name="T7" fmla="*/ 1228 h 1927"/>
                  <a:gd name="T8" fmla="*/ 1204 w 1335"/>
                  <a:gd name="T9" fmla="*/ 681 h 1927"/>
                  <a:gd name="T10" fmla="*/ 667 w 1335"/>
                  <a:gd name="T11" fmla="*/ 0 h 1927"/>
                  <a:gd name="T12" fmla="*/ 1335 w 1335"/>
                  <a:gd name="T13" fmla="*/ 681 h 1927"/>
                  <a:gd name="T14" fmla="*/ 667 w 1335"/>
                  <a:gd name="T15" fmla="*/ 1927 h 1927"/>
                  <a:gd name="T16" fmla="*/ 0 w 1335"/>
                  <a:gd name="T17" fmla="*/ 681 h 1927"/>
                  <a:gd name="T18" fmla="*/ 667 w 1335"/>
                  <a:gd name="T19" fmla="*/ 0 h 1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35" h="1927">
                    <a:moveTo>
                      <a:pt x="1204" y="681"/>
                    </a:moveTo>
                    <a:cubicBezTo>
                      <a:pt x="1204" y="378"/>
                      <a:pt x="964" y="133"/>
                      <a:pt x="667" y="133"/>
                    </a:cubicBezTo>
                    <a:cubicBezTo>
                      <a:pt x="370" y="133"/>
                      <a:pt x="130" y="378"/>
                      <a:pt x="130" y="681"/>
                    </a:cubicBezTo>
                    <a:cubicBezTo>
                      <a:pt x="130" y="983"/>
                      <a:pt x="370" y="1228"/>
                      <a:pt x="667" y="1228"/>
                    </a:cubicBezTo>
                    <a:cubicBezTo>
                      <a:pt x="964" y="1228"/>
                      <a:pt x="1204" y="983"/>
                      <a:pt x="1204" y="681"/>
                    </a:cubicBezTo>
                    <a:moveTo>
                      <a:pt x="667" y="0"/>
                    </a:moveTo>
                    <a:cubicBezTo>
                      <a:pt x="1032" y="0"/>
                      <a:pt x="1335" y="309"/>
                      <a:pt x="1335" y="681"/>
                    </a:cubicBezTo>
                    <a:cubicBezTo>
                      <a:pt x="1335" y="1286"/>
                      <a:pt x="667" y="1927"/>
                      <a:pt x="667" y="1927"/>
                    </a:cubicBezTo>
                    <a:cubicBezTo>
                      <a:pt x="667" y="1927"/>
                      <a:pt x="0" y="1286"/>
                      <a:pt x="0" y="681"/>
                    </a:cubicBezTo>
                    <a:cubicBezTo>
                      <a:pt x="0" y="309"/>
                      <a:pt x="297" y="0"/>
                      <a:pt x="667" y="0"/>
                    </a:cubicBezTo>
                  </a:path>
                </a:pathLst>
              </a:custGeom>
              <a:solidFill>
                <a:srgbClr val="1BD7D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/>
              </a:p>
            </p:txBody>
          </p:sp>
          <p:sp>
            <p:nvSpPr>
              <p:cNvPr id="39" name="Freeform 5">
                <a:extLst>
                  <a:ext uri="{FF2B5EF4-FFF2-40B4-BE49-F238E27FC236}">
                    <a16:creationId xmlns:a16="http://schemas.microsoft.com/office/drawing/2014/main" id="{CD003159-F003-43C6-9760-C2EE2F2634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4101291">
                <a:off x="2141894" y="4096528"/>
                <a:ext cx="315002" cy="454421"/>
              </a:xfrm>
              <a:custGeom>
                <a:avLst/>
                <a:gdLst>
                  <a:gd name="T0" fmla="*/ 1204 w 1335"/>
                  <a:gd name="T1" fmla="*/ 681 h 1927"/>
                  <a:gd name="T2" fmla="*/ 667 w 1335"/>
                  <a:gd name="T3" fmla="*/ 133 h 1927"/>
                  <a:gd name="T4" fmla="*/ 130 w 1335"/>
                  <a:gd name="T5" fmla="*/ 681 h 1927"/>
                  <a:gd name="T6" fmla="*/ 667 w 1335"/>
                  <a:gd name="T7" fmla="*/ 1228 h 1927"/>
                  <a:gd name="T8" fmla="*/ 1204 w 1335"/>
                  <a:gd name="T9" fmla="*/ 681 h 1927"/>
                  <a:gd name="T10" fmla="*/ 667 w 1335"/>
                  <a:gd name="T11" fmla="*/ 0 h 1927"/>
                  <a:gd name="T12" fmla="*/ 1335 w 1335"/>
                  <a:gd name="T13" fmla="*/ 681 h 1927"/>
                  <a:gd name="T14" fmla="*/ 667 w 1335"/>
                  <a:gd name="T15" fmla="*/ 1927 h 1927"/>
                  <a:gd name="T16" fmla="*/ 0 w 1335"/>
                  <a:gd name="T17" fmla="*/ 681 h 1927"/>
                  <a:gd name="T18" fmla="*/ 667 w 1335"/>
                  <a:gd name="T19" fmla="*/ 0 h 1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35" h="1927">
                    <a:moveTo>
                      <a:pt x="1204" y="681"/>
                    </a:moveTo>
                    <a:cubicBezTo>
                      <a:pt x="1204" y="378"/>
                      <a:pt x="964" y="133"/>
                      <a:pt x="667" y="133"/>
                    </a:cubicBezTo>
                    <a:cubicBezTo>
                      <a:pt x="370" y="133"/>
                      <a:pt x="130" y="378"/>
                      <a:pt x="130" y="681"/>
                    </a:cubicBezTo>
                    <a:cubicBezTo>
                      <a:pt x="130" y="983"/>
                      <a:pt x="370" y="1228"/>
                      <a:pt x="667" y="1228"/>
                    </a:cubicBezTo>
                    <a:cubicBezTo>
                      <a:pt x="964" y="1228"/>
                      <a:pt x="1204" y="983"/>
                      <a:pt x="1204" y="681"/>
                    </a:cubicBezTo>
                    <a:moveTo>
                      <a:pt x="667" y="0"/>
                    </a:moveTo>
                    <a:cubicBezTo>
                      <a:pt x="1032" y="0"/>
                      <a:pt x="1335" y="309"/>
                      <a:pt x="1335" y="681"/>
                    </a:cubicBezTo>
                    <a:cubicBezTo>
                      <a:pt x="1335" y="1286"/>
                      <a:pt x="667" y="1927"/>
                      <a:pt x="667" y="1927"/>
                    </a:cubicBezTo>
                    <a:cubicBezTo>
                      <a:pt x="667" y="1927"/>
                      <a:pt x="0" y="1286"/>
                      <a:pt x="0" y="681"/>
                    </a:cubicBezTo>
                    <a:cubicBezTo>
                      <a:pt x="0" y="309"/>
                      <a:pt x="297" y="0"/>
                      <a:pt x="667" y="0"/>
                    </a:cubicBezTo>
                  </a:path>
                </a:pathLst>
              </a:custGeom>
              <a:solidFill>
                <a:srgbClr val="1BD7D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/>
              </a:p>
            </p:txBody>
          </p:sp>
          <p:sp>
            <p:nvSpPr>
              <p:cNvPr id="40" name="Freeform 5">
                <a:extLst>
                  <a:ext uri="{FF2B5EF4-FFF2-40B4-BE49-F238E27FC236}">
                    <a16:creationId xmlns:a16="http://schemas.microsoft.com/office/drawing/2014/main" id="{E3BDD189-779E-448C-B6A0-A1C3320283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5396279">
                <a:off x="1885244" y="3498587"/>
                <a:ext cx="315002" cy="454421"/>
              </a:xfrm>
              <a:custGeom>
                <a:avLst/>
                <a:gdLst>
                  <a:gd name="T0" fmla="*/ 1204 w 1335"/>
                  <a:gd name="T1" fmla="*/ 681 h 1927"/>
                  <a:gd name="T2" fmla="*/ 667 w 1335"/>
                  <a:gd name="T3" fmla="*/ 133 h 1927"/>
                  <a:gd name="T4" fmla="*/ 130 w 1335"/>
                  <a:gd name="T5" fmla="*/ 681 h 1927"/>
                  <a:gd name="T6" fmla="*/ 667 w 1335"/>
                  <a:gd name="T7" fmla="*/ 1228 h 1927"/>
                  <a:gd name="T8" fmla="*/ 1204 w 1335"/>
                  <a:gd name="T9" fmla="*/ 681 h 1927"/>
                  <a:gd name="T10" fmla="*/ 667 w 1335"/>
                  <a:gd name="T11" fmla="*/ 0 h 1927"/>
                  <a:gd name="T12" fmla="*/ 1335 w 1335"/>
                  <a:gd name="T13" fmla="*/ 681 h 1927"/>
                  <a:gd name="T14" fmla="*/ 667 w 1335"/>
                  <a:gd name="T15" fmla="*/ 1927 h 1927"/>
                  <a:gd name="T16" fmla="*/ 0 w 1335"/>
                  <a:gd name="T17" fmla="*/ 681 h 1927"/>
                  <a:gd name="T18" fmla="*/ 667 w 1335"/>
                  <a:gd name="T19" fmla="*/ 0 h 1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35" h="1927">
                    <a:moveTo>
                      <a:pt x="1204" y="681"/>
                    </a:moveTo>
                    <a:cubicBezTo>
                      <a:pt x="1204" y="378"/>
                      <a:pt x="964" y="133"/>
                      <a:pt x="667" y="133"/>
                    </a:cubicBezTo>
                    <a:cubicBezTo>
                      <a:pt x="370" y="133"/>
                      <a:pt x="130" y="378"/>
                      <a:pt x="130" y="681"/>
                    </a:cubicBezTo>
                    <a:cubicBezTo>
                      <a:pt x="130" y="983"/>
                      <a:pt x="370" y="1228"/>
                      <a:pt x="667" y="1228"/>
                    </a:cubicBezTo>
                    <a:cubicBezTo>
                      <a:pt x="964" y="1228"/>
                      <a:pt x="1204" y="983"/>
                      <a:pt x="1204" y="681"/>
                    </a:cubicBezTo>
                    <a:moveTo>
                      <a:pt x="667" y="0"/>
                    </a:moveTo>
                    <a:cubicBezTo>
                      <a:pt x="1032" y="0"/>
                      <a:pt x="1335" y="309"/>
                      <a:pt x="1335" y="681"/>
                    </a:cubicBezTo>
                    <a:cubicBezTo>
                      <a:pt x="1335" y="1286"/>
                      <a:pt x="667" y="1927"/>
                      <a:pt x="667" y="1927"/>
                    </a:cubicBezTo>
                    <a:cubicBezTo>
                      <a:pt x="667" y="1927"/>
                      <a:pt x="0" y="1286"/>
                      <a:pt x="0" y="681"/>
                    </a:cubicBezTo>
                    <a:cubicBezTo>
                      <a:pt x="0" y="309"/>
                      <a:pt x="297" y="0"/>
                      <a:pt x="667" y="0"/>
                    </a:cubicBezTo>
                  </a:path>
                </a:pathLst>
              </a:custGeom>
              <a:solidFill>
                <a:srgbClr val="1BD7D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/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160F93A7-C66C-4353-B2FF-F69ADA1D75FA}"/>
                  </a:ext>
                </a:extLst>
              </p:cNvPr>
              <p:cNvGrpSpPr/>
              <p:nvPr/>
            </p:nvGrpSpPr>
            <p:grpSpPr>
              <a:xfrm rot="4136365">
                <a:off x="1792066" y="1730099"/>
                <a:ext cx="1099636" cy="1443994"/>
                <a:chOff x="1967934" y="3720697"/>
                <a:chExt cx="1099636" cy="1443994"/>
              </a:xfrm>
            </p:grpSpPr>
            <p:sp>
              <p:nvSpPr>
                <p:cNvPr id="48" name="Freeform 5">
                  <a:extLst>
                    <a:ext uri="{FF2B5EF4-FFF2-40B4-BE49-F238E27FC236}">
                      <a16:creationId xmlns:a16="http://schemas.microsoft.com/office/drawing/2014/main" id="{2D086944-3F50-4394-A506-43BE223AD7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12701340">
                  <a:off x="2752568" y="4710270"/>
                  <a:ext cx="315002" cy="454421"/>
                </a:xfrm>
                <a:custGeom>
                  <a:avLst/>
                  <a:gdLst>
                    <a:gd name="T0" fmla="*/ 1204 w 1335"/>
                    <a:gd name="T1" fmla="*/ 681 h 1927"/>
                    <a:gd name="T2" fmla="*/ 667 w 1335"/>
                    <a:gd name="T3" fmla="*/ 133 h 1927"/>
                    <a:gd name="T4" fmla="*/ 130 w 1335"/>
                    <a:gd name="T5" fmla="*/ 681 h 1927"/>
                    <a:gd name="T6" fmla="*/ 667 w 1335"/>
                    <a:gd name="T7" fmla="*/ 1228 h 1927"/>
                    <a:gd name="T8" fmla="*/ 1204 w 1335"/>
                    <a:gd name="T9" fmla="*/ 681 h 1927"/>
                    <a:gd name="T10" fmla="*/ 667 w 1335"/>
                    <a:gd name="T11" fmla="*/ 0 h 1927"/>
                    <a:gd name="T12" fmla="*/ 1335 w 1335"/>
                    <a:gd name="T13" fmla="*/ 681 h 1927"/>
                    <a:gd name="T14" fmla="*/ 667 w 1335"/>
                    <a:gd name="T15" fmla="*/ 1927 h 1927"/>
                    <a:gd name="T16" fmla="*/ 0 w 1335"/>
                    <a:gd name="T17" fmla="*/ 681 h 1927"/>
                    <a:gd name="T18" fmla="*/ 667 w 1335"/>
                    <a:gd name="T19" fmla="*/ 0 h 19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35" h="1927">
                      <a:moveTo>
                        <a:pt x="1204" y="681"/>
                      </a:moveTo>
                      <a:cubicBezTo>
                        <a:pt x="1204" y="378"/>
                        <a:pt x="964" y="133"/>
                        <a:pt x="667" y="133"/>
                      </a:cubicBezTo>
                      <a:cubicBezTo>
                        <a:pt x="370" y="133"/>
                        <a:pt x="130" y="378"/>
                        <a:pt x="130" y="681"/>
                      </a:cubicBezTo>
                      <a:cubicBezTo>
                        <a:pt x="130" y="983"/>
                        <a:pt x="370" y="1228"/>
                        <a:pt x="667" y="1228"/>
                      </a:cubicBezTo>
                      <a:cubicBezTo>
                        <a:pt x="964" y="1228"/>
                        <a:pt x="1204" y="983"/>
                        <a:pt x="1204" y="681"/>
                      </a:cubicBezTo>
                      <a:moveTo>
                        <a:pt x="667" y="0"/>
                      </a:moveTo>
                      <a:cubicBezTo>
                        <a:pt x="1032" y="0"/>
                        <a:pt x="1335" y="309"/>
                        <a:pt x="1335" y="681"/>
                      </a:cubicBezTo>
                      <a:cubicBezTo>
                        <a:pt x="1335" y="1286"/>
                        <a:pt x="667" y="1927"/>
                        <a:pt x="667" y="1927"/>
                      </a:cubicBezTo>
                      <a:cubicBezTo>
                        <a:pt x="667" y="1927"/>
                        <a:pt x="0" y="1286"/>
                        <a:pt x="0" y="681"/>
                      </a:cubicBezTo>
                      <a:cubicBezTo>
                        <a:pt x="0" y="309"/>
                        <a:pt x="297" y="0"/>
                        <a:pt x="667" y="0"/>
                      </a:cubicBezTo>
                    </a:path>
                  </a:pathLst>
                </a:custGeom>
                <a:solidFill>
                  <a:srgbClr val="1BD7D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 dirty="0"/>
                </a:p>
              </p:txBody>
            </p:sp>
            <p:sp>
              <p:nvSpPr>
                <p:cNvPr id="49" name="Freeform 5">
                  <a:extLst>
                    <a:ext uri="{FF2B5EF4-FFF2-40B4-BE49-F238E27FC236}">
                      <a16:creationId xmlns:a16="http://schemas.microsoft.com/office/drawing/2014/main" id="{4E18FDBE-5889-4333-B790-3B48CE7F75E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14101291">
                  <a:off x="2294294" y="4248928"/>
                  <a:ext cx="315002" cy="454421"/>
                </a:xfrm>
                <a:custGeom>
                  <a:avLst/>
                  <a:gdLst>
                    <a:gd name="T0" fmla="*/ 1204 w 1335"/>
                    <a:gd name="T1" fmla="*/ 681 h 1927"/>
                    <a:gd name="T2" fmla="*/ 667 w 1335"/>
                    <a:gd name="T3" fmla="*/ 133 h 1927"/>
                    <a:gd name="T4" fmla="*/ 130 w 1335"/>
                    <a:gd name="T5" fmla="*/ 681 h 1927"/>
                    <a:gd name="T6" fmla="*/ 667 w 1335"/>
                    <a:gd name="T7" fmla="*/ 1228 h 1927"/>
                    <a:gd name="T8" fmla="*/ 1204 w 1335"/>
                    <a:gd name="T9" fmla="*/ 681 h 1927"/>
                    <a:gd name="T10" fmla="*/ 667 w 1335"/>
                    <a:gd name="T11" fmla="*/ 0 h 1927"/>
                    <a:gd name="T12" fmla="*/ 1335 w 1335"/>
                    <a:gd name="T13" fmla="*/ 681 h 1927"/>
                    <a:gd name="T14" fmla="*/ 667 w 1335"/>
                    <a:gd name="T15" fmla="*/ 1927 h 1927"/>
                    <a:gd name="T16" fmla="*/ 0 w 1335"/>
                    <a:gd name="T17" fmla="*/ 681 h 1927"/>
                    <a:gd name="T18" fmla="*/ 667 w 1335"/>
                    <a:gd name="T19" fmla="*/ 0 h 19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35" h="1927">
                      <a:moveTo>
                        <a:pt x="1204" y="681"/>
                      </a:moveTo>
                      <a:cubicBezTo>
                        <a:pt x="1204" y="378"/>
                        <a:pt x="964" y="133"/>
                        <a:pt x="667" y="133"/>
                      </a:cubicBezTo>
                      <a:cubicBezTo>
                        <a:pt x="370" y="133"/>
                        <a:pt x="130" y="378"/>
                        <a:pt x="130" y="681"/>
                      </a:cubicBezTo>
                      <a:cubicBezTo>
                        <a:pt x="130" y="983"/>
                        <a:pt x="370" y="1228"/>
                        <a:pt x="667" y="1228"/>
                      </a:cubicBezTo>
                      <a:cubicBezTo>
                        <a:pt x="964" y="1228"/>
                        <a:pt x="1204" y="983"/>
                        <a:pt x="1204" y="681"/>
                      </a:cubicBezTo>
                      <a:moveTo>
                        <a:pt x="667" y="0"/>
                      </a:moveTo>
                      <a:cubicBezTo>
                        <a:pt x="1032" y="0"/>
                        <a:pt x="1335" y="309"/>
                        <a:pt x="1335" y="681"/>
                      </a:cubicBezTo>
                      <a:cubicBezTo>
                        <a:pt x="1335" y="1286"/>
                        <a:pt x="667" y="1927"/>
                        <a:pt x="667" y="1927"/>
                      </a:cubicBezTo>
                      <a:cubicBezTo>
                        <a:pt x="667" y="1927"/>
                        <a:pt x="0" y="1286"/>
                        <a:pt x="0" y="681"/>
                      </a:cubicBezTo>
                      <a:cubicBezTo>
                        <a:pt x="0" y="309"/>
                        <a:pt x="297" y="0"/>
                        <a:pt x="667" y="0"/>
                      </a:cubicBezTo>
                    </a:path>
                  </a:pathLst>
                </a:custGeom>
                <a:solidFill>
                  <a:srgbClr val="1BD7D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 dirty="0"/>
                </a:p>
              </p:txBody>
            </p:sp>
            <p:sp>
              <p:nvSpPr>
                <p:cNvPr id="50" name="Freeform 5">
                  <a:extLst>
                    <a:ext uri="{FF2B5EF4-FFF2-40B4-BE49-F238E27FC236}">
                      <a16:creationId xmlns:a16="http://schemas.microsoft.com/office/drawing/2014/main" id="{81A50012-45C3-427A-898F-946CF5A64BD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15396279">
                  <a:off x="2037644" y="3650987"/>
                  <a:ext cx="315002" cy="454421"/>
                </a:xfrm>
                <a:custGeom>
                  <a:avLst/>
                  <a:gdLst>
                    <a:gd name="T0" fmla="*/ 1204 w 1335"/>
                    <a:gd name="T1" fmla="*/ 681 h 1927"/>
                    <a:gd name="T2" fmla="*/ 667 w 1335"/>
                    <a:gd name="T3" fmla="*/ 133 h 1927"/>
                    <a:gd name="T4" fmla="*/ 130 w 1335"/>
                    <a:gd name="T5" fmla="*/ 681 h 1927"/>
                    <a:gd name="T6" fmla="*/ 667 w 1335"/>
                    <a:gd name="T7" fmla="*/ 1228 h 1927"/>
                    <a:gd name="T8" fmla="*/ 1204 w 1335"/>
                    <a:gd name="T9" fmla="*/ 681 h 1927"/>
                    <a:gd name="T10" fmla="*/ 667 w 1335"/>
                    <a:gd name="T11" fmla="*/ 0 h 1927"/>
                    <a:gd name="T12" fmla="*/ 1335 w 1335"/>
                    <a:gd name="T13" fmla="*/ 681 h 1927"/>
                    <a:gd name="T14" fmla="*/ 667 w 1335"/>
                    <a:gd name="T15" fmla="*/ 1927 h 1927"/>
                    <a:gd name="T16" fmla="*/ 0 w 1335"/>
                    <a:gd name="T17" fmla="*/ 681 h 1927"/>
                    <a:gd name="T18" fmla="*/ 667 w 1335"/>
                    <a:gd name="T19" fmla="*/ 0 h 19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35" h="1927">
                      <a:moveTo>
                        <a:pt x="1204" y="681"/>
                      </a:moveTo>
                      <a:cubicBezTo>
                        <a:pt x="1204" y="378"/>
                        <a:pt x="964" y="133"/>
                        <a:pt x="667" y="133"/>
                      </a:cubicBezTo>
                      <a:cubicBezTo>
                        <a:pt x="370" y="133"/>
                        <a:pt x="130" y="378"/>
                        <a:pt x="130" y="681"/>
                      </a:cubicBezTo>
                      <a:cubicBezTo>
                        <a:pt x="130" y="983"/>
                        <a:pt x="370" y="1228"/>
                        <a:pt x="667" y="1228"/>
                      </a:cubicBezTo>
                      <a:cubicBezTo>
                        <a:pt x="964" y="1228"/>
                        <a:pt x="1204" y="983"/>
                        <a:pt x="1204" y="681"/>
                      </a:cubicBezTo>
                      <a:moveTo>
                        <a:pt x="667" y="0"/>
                      </a:moveTo>
                      <a:cubicBezTo>
                        <a:pt x="1032" y="0"/>
                        <a:pt x="1335" y="309"/>
                        <a:pt x="1335" y="681"/>
                      </a:cubicBezTo>
                      <a:cubicBezTo>
                        <a:pt x="1335" y="1286"/>
                        <a:pt x="667" y="1927"/>
                        <a:pt x="667" y="1927"/>
                      </a:cubicBezTo>
                      <a:cubicBezTo>
                        <a:pt x="667" y="1927"/>
                        <a:pt x="0" y="1286"/>
                        <a:pt x="0" y="681"/>
                      </a:cubicBezTo>
                      <a:cubicBezTo>
                        <a:pt x="0" y="309"/>
                        <a:pt x="297" y="0"/>
                        <a:pt x="667" y="0"/>
                      </a:cubicBezTo>
                    </a:path>
                  </a:pathLst>
                </a:custGeom>
                <a:solidFill>
                  <a:srgbClr val="1BD7D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 dirty="0"/>
                </a:p>
              </p:txBody>
            </p:sp>
          </p:grp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E1CEBF4F-A7D2-46F4-8965-CF12AE6BFA47}"/>
                  </a:ext>
                </a:extLst>
              </p:cNvPr>
              <p:cNvSpPr/>
              <p:nvPr/>
            </p:nvSpPr>
            <p:spPr>
              <a:xfrm>
                <a:off x="2915816" y="2212203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DA851ABB-D1A1-438E-91A8-7EDCA496C223}"/>
                  </a:ext>
                </a:extLst>
              </p:cNvPr>
              <p:cNvSpPr/>
              <p:nvPr/>
            </p:nvSpPr>
            <p:spPr>
              <a:xfrm>
                <a:off x="2564407" y="2581242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CEB9C491-6EE0-4B5B-B2E3-29A323EC6652}"/>
                  </a:ext>
                </a:extLst>
              </p:cNvPr>
              <p:cNvSpPr/>
              <p:nvPr/>
            </p:nvSpPr>
            <p:spPr>
              <a:xfrm>
                <a:off x="2390490" y="3025001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F32795A3-39E6-469C-BB3D-C2726A256F54}"/>
                  </a:ext>
                </a:extLst>
              </p:cNvPr>
              <p:cNvSpPr/>
              <p:nvPr/>
            </p:nvSpPr>
            <p:spPr>
              <a:xfrm>
                <a:off x="2384785" y="3551985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67659CDE-97D3-45F5-A6C1-0651ED32E53D}"/>
                  </a:ext>
                </a:extLst>
              </p:cNvPr>
              <p:cNvSpPr/>
              <p:nvPr/>
            </p:nvSpPr>
            <p:spPr>
              <a:xfrm>
                <a:off x="2576852" y="3993947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E6140343-EC57-41B7-9290-23F3AB2FB921}"/>
                  </a:ext>
                </a:extLst>
              </p:cNvPr>
              <p:cNvSpPr/>
              <p:nvPr/>
            </p:nvSpPr>
            <p:spPr>
              <a:xfrm>
                <a:off x="2899049" y="4324303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E5B77607-74A2-4932-A0E6-2A99A94F1711}"/>
                </a:ext>
              </a:extLst>
            </p:cNvPr>
            <p:cNvGrpSpPr/>
            <p:nvPr/>
          </p:nvGrpSpPr>
          <p:grpSpPr>
            <a:xfrm rot="10800000">
              <a:off x="4143370" y="1281792"/>
              <a:ext cx="1443994" cy="3079549"/>
              <a:chOff x="1619887" y="1902278"/>
              <a:chExt cx="1443994" cy="3079549"/>
            </a:xfrm>
          </p:grpSpPr>
          <p:sp>
            <p:nvSpPr>
              <p:cNvPr id="25" name="Freeform 5">
                <a:extLst>
                  <a:ext uri="{FF2B5EF4-FFF2-40B4-BE49-F238E27FC236}">
                    <a16:creationId xmlns:a16="http://schemas.microsoft.com/office/drawing/2014/main" id="{44543056-408E-47FA-AEFD-57BC1E381E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2701340">
                <a:off x="2600286" y="4527406"/>
                <a:ext cx="315002" cy="454421"/>
              </a:xfrm>
              <a:custGeom>
                <a:avLst/>
                <a:gdLst>
                  <a:gd name="T0" fmla="*/ 1204 w 1335"/>
                  <a:gd name="T1" fmla="*/ 681 h 1927"/>
                  <a:gd name="T2" fmla="*/ 667 w 1335"/>
                  <a:gd name="T3" fmla="*/ 133 h 1927"/>
                  <a:gd name="T4" fmla="*/ 130 w 1335"/>
                  <a:gd name="T5" fmla="*/ 681 h 1927"/>
                  <a:gd name="T6" fmla="*/ 667 w 1335"/>
                  <a:gd name="T7" fmla="*/ 1228 h 1927"/>
                  <a:gd name="T8" fmla="*/ 1204 w 1335"/>
                  <a:gd name="T9" fmla="*/ 681 h 1927"/>
                  <a:gd name="T10" fmla="*/ 667 w 1335"/>
                  <a:gd name="T11" fmla="*/ 0 h 1927"/>
                  <a:gd name="T12" fmla="*/ 1335 w 1335"/>
                  <a:gd name="T13" fmla="*/ 681 h 1927"/>
                  <a:gd name="T14" fmla="*/ 667 w 1335"/>
                  <a:gd name="T15" fmla="*/ 1927 h 1927"/>
                  <a:gd name="T16" fmla="*/ 0 w 1335"/>
                  <a:gd name="T17" fmla="*/ 681 h 1927"/>
                  <a:gd name="T18" fmla="*/ 667 w 1335"/>
                  <a:gd name="T19" fmla="*/ 0 h 1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35" h="1927">
                    <a:moveTo>
                      <a:pt x="1204" y="681"/>
                    </a:moveTo>
                    <a:cubicBezTo>
                      <a:pt x="1204" y="378"/>
                      <a:pt x="964" y="133"/>
                      <a:pt x="667" y="133"/>
                    </a:cubicBezTo>
                    <a:cubicBezTo>
                      <a:pt x="370" y="133"/>
                      <a:pt x="130" y="378"/>
                      <a:pt x="130" y="681"/>
                    </a:cubicBezTo>
                    <a:cubicBezTo>
                      <a:pt x="130" y="983"/>
                      <a:pt x="370" y="1228"/>
                      <a:pt x="667" y="1228"/>
                    </a:cubicBezTo>
                    <a:cubicBezTo>
                      <a:pt x="964" y="1228"/>
                      <a:pt x="1204" y="983"/>
                      <a:pt x="1204" y="681"/>
                    </a:cubicBezTo>
                    <a:moveTo>
                      <a:pt x="667" y="0"/>
                    </a:moveTo>
                    <a:cubicBezTo>
                      <a:pt x="1032" y="0"/>
                      <a:pt x="1335" y="309"/>
                      <a:pt x="1335" y="681"/>
                    </a:cubicBezTo>
                    <a:cubicBezTo>
                      <a:pt x="1335" y="1286"/>
                      <a:pt x="667" y="1927"/>
                      <a:pt x="667" y="1927"/>
                    </a:cubicBezTo>
                    <a:cubicBezTo>
                      <a:pt x="667" y="1927"/>
                      <a:pt x="0" y="1286"/>
                      <a:pt x="0" y="681"/>
                    </a:cubicBezTo>
                    <a:cubicBezTo>
                      <a:pt x="0" y="309"/>
                      <a:pt x="297" y="0"/>
                      <a:pt x="667" y="0"/>
                    </a:cubicBezTo>
                  </a:path>
                </a:pathLst>
              </a:custGeom>
              <a:solidFill>
                <a:srgbClr val="1BD7D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/>
              </a:p>
            </p:txBody>
          </p:sp>
          <p:sp>
            <p:nvSpPr>
              <p:cNvPr id="26" name="Freeform 5">
                <a:extLst>
                  <a:ext uri="{FF2B5EF4-FFF2-40B4-BE49-F238E27FC236}">
                    <a16:creationId xmlns:a16="http://schemas.microsoft.com/office/drawing/2014/main" id="{ABA77A86-B102-4C61-82E1-1580274458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4101291">
                <a:off x="2141894" y="4096528"/>
                <a:ext cx="315002" cy="454421"/>
              </a:xfrm>
              <a:custGeom>
                <a:avLst/>
                <a:gdLst>
                  <a:gd name="T0" fmla="*/ 1204 w 1335"/>
                  <a:gd name="T1" fmla="*/ 681 h 1927"/>
                  <a:gd name="T2" fmla="*/ 667 w 1335"/>
                  <a:gd name="T3" fmla="*/ 133 h 1927"/>
                  <a:gd name="T4" fmla="*/ 130 w 1335"/>
                  <a:gd name="T5" fmla="*/ 681 h 1927"/>
                  <a:gd name="T6" fmla="*/ 667 w 1335"/>
                  <a:gd name="T7" fmla="*/ 1228 h 1927"/>
                  <a:gd name="T8" fmla="*/ 1204 w 1335"/>
                  <a:gd name="T9" fmla="*/ 681 h 1927"/>
                  <a:gd name="T10" fmla="*/ 667 w 1335"/>
                  <a:gd name="T11" fmla="*/ 0 h 1927"/>
                  <a:gd name="T12" fmla="*/ 1335 w 1335"/>
                  <a:gd name="T13" fmla="*/ 681 h 1927"/>
                  <a:gd name="T14" fmla="*/ 667 w 1335"/>
                  <a:gd name="T15" fmla="*/ 1927 h 1927"/>
                  <a:gd name="T16" fmla="*/ 0 w 1335"/>
                  <a:gd name="T17" fmla="*/ 681 h 1927"/>
                  <a:gd name="T18" fmla="*/ 667 w 1335"/>
                  <a:gd name="T19" fmla="*/ 0 h 1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35" h="1927">
                    <a:moveTo>
                      <a:pt x="1204" y="681"/>
                    </a:moveTo>
                    <a:cubicBezTo>
                      <a:pt x="1204" y="378"/>
                      <a:pt x="964" y="133"/>
                      <a:pt x="667" y="133"/>
                    </a:cubicBezTo>
                    <a:cubicBezTo>
                      <a:pt x="370" y="133"/>
                      <a:pt x="130" y="378"/>
                      <a:pt x="130" y="681"/>
                    </a:cubicBezTo>
                    <a:cubicBezTo>
                      <a:pt x="130" y="983"/>
                      <a:pt x="370" y="1228"/>
                      <a:pt x="667" y="1228"/>
                    </a:cubicBezTo>
                    <a:cubicBezTo>
                      <a:pt x="964" y="1228"/>
                      <a:pt x="1204" y="983"/>
                      <a:pt x="1204" y="681"/>
                    </a:cubicBezTo>
                    <a:moveTo>
                      <a:pt x="667" y="0"/>
                    </a:moveTo>
                    <a:cubicBezTo>
                      <a:pt x="1032" y="0"/>
                      <a:pt x="1335" y="309"/>
                      <a:pt x="1335" y="681"/>
                    </a:cubicBezTo>
                    <a:cubicBezTo>
                      <a:pt x="1335" y="1286"/>
                      <a:pt x="667" y="1927"/>
                      <a:pt x="667" y="1927"/>
                    </a:cubicBezTo>
                    <a:cubicBezTo>
                      <a:pt x="667" y="1927"/>
                      <a:pt x="0" y="1286"/>
                      <a:pt x="0" y="681"/>
                    </a:cubicBezTo>
                    <a:cubicBezTo>
                      <a:pt x="0" y="309"/>
                      <a:pt x="297" y="0"/>
                      <a:pt x="667" y="0"/>
                    </a:cubicBezTo>
                  </a:path>
                </a:pathLst>
              </a:custGeom>
              <a:solidFill>
                <a:srgbClr val="1BD7D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/>
              </a:p>
            </p:txBody>
          </p:sp>
          <p:sp>
            <p:nvSpPr>
              <p:cNvPr id="27" name="Freeform 5">
                <a:extLst>
                  <a:ext uri="{FF2B5EF4-FFF2-40B4-BE49-F238E27FC236}">
                    <a16:creationId xmlns:a16="http://schemas.microsoft.com/office/drawing/2014/main" id="{EBCB0714-354C-43D4-8057-4397477390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15396279">
                <a:off x="1885244" y="3498587"/>
                <a:ext cx="315002" cy="454421"/>
              </a:xfrm>
              <a:custGeom>
                <a:avLst/>
                <a:gdLst>
                  <a:gd name="T0" fmla="*/ 1204 w 1335"/>
                  <a:gd name="T1" fmla="*/ 681 h 1927"/>
                  <a:gd name="T2" fmla="*/ 667 w 1335"/>
                  <a:gd name="T3" fmla="*/ 133 h 1927"/>
                  <a:gd name="T4" fmla="*/ 130 w 1335"/>
                  <a:gd name="T5" fmla="*/ 681 h 1927"/>
                  <a:gd name="T6" fmla="*/ 667 w 1335"/>
                  <a:gd name="T7" fmla="*/ 1228 h 1927"/>
                  <a:gd name="T8" fmla="*/ 1204 w 1335"/>
                  <a:gd name="T9" fmla="*/ 681 h 1927"/>
                  <a:gd name="T10" fmla="*/ 667 w 1335"/>
                  <a:gd name="T11" fmla="*/ 0 h 1927"/>
                  <a:gd name="T12" fmla="*/ 1335 w 1335"/>
                  <a:gd name="T13" fmla="*/ 681 h 1927"/>
                  <a:gd name="T14" fmla="*/ 667 w 1335"/>
                  <a:gd name="T15" fmla="*/ 1927 h 1927"/>
                  <a:gd name="T16" fmla="*/ 0 w 1335"/>
                  <a:gd name="T17" fmla="*/ 681 h 1927"/>
                  <a:gd name="T18" fmla="*/ 667 w 1335"/>
                  <a:gd name="T19" fmla="*/ 0 h 1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35" h="1927">
                    <a:moveTo>
                      <a:pt x="1204" y="681"/>
                    </a:moveTo>
                    <a:cubicBezTo>
                      <a:pt x="1204" y="378"/>
                      <a:pt x="964" y="133"/>
                      <a:pt x="667" y="133"/>
                    </a:cubicBezTo>
                    <a:cubicBezTo>
                      <a:pt x="370" y="133"/>
                      <a:pt x="130" y="378"/>
                      <a:pt x="130" y="681"/>
                    </a:cubicBezTo>
                    <a:cubicBezTo>
                      <a:pt x="130" y="983"/>
                      <a:pt x="370" y="1228"/>
                      <a:pt x="667" y="1228"/>
                    </a:cubicBezTo>
                    <a:cubicBezTo>
                      <a:pt x="964" y="1228"/>
                      <a:pt x="1204" y="983"/>
                      <a:pt x="1204" y="681"/>
                    </a:cubicBezTo>
                    <a:moveTo>
                      <a:pt x="667" y="0"/>
                    </a:moveTo>
                    <a:cubicBezTo>
                      <a:pt x="1032" y="0"/>
                      <a:pt x="1335" y="309"/>
                      <a:pt x="1335" y="681"/>
                    </a:cubicBezTo>
                    <a:cubicBezTo>
                      <a:pt x="1335" y="1286"/>
                      <a:pt x="667" y="1927"/>
                      <a:pt x="667" y="1927"/>
                    </a:cubicBezTo>
                    <a:cubicBezTo>
                      <a:pt x="667" y="1927"/>
                      <a:pt x="0" y="1286"/>
                      <a:pt x="0" y="681"/>
                    </a:cubicBezTo>
                    <a:cubicBezTo>
                      <a:pt x="0" y="309"/>
                      <a:pt x="297" y="0"/>
                      <a:pt x="667" y="0"/>
                    </a:cubicBezTo>
                  </a:path>
                </a:pathLst>
              </a:custGeom>
              <a:solidFill>
                <a:srgbClr val="1BD7D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 dirty="0"/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583F8829-FB42-4A89-9B0D-F5DEFFA2A35A}"/>
                  </a:ext>
                </a:extLst>
              </p:cNvPr>
              <p:cNvGrpSpPr/>
              <p:nvPr/>
            </p:nvGrpSpPr>
            <p:grpSpPr>
              <a:xfrm rot="4136365">
                <a:off x="1792066" y="1730099"/>
                <a:ext cx="1099636" cy="1443994"/>
                <a:chOff x="1967934" y="3720697"/>
                <a:chExt cx="1099636" cy="1443994"/>
              </a:xfrm>
            </p:grpSpPr>
            <p:sp>
              <p:nvSpPr>
                <p:cNvPr id="35" name="Freeform 5">
                  <a:extLst>
                    <a:ext uri="{FF2B5EF4-FFF2-40B4-BE49-F238E27FC236}">
                      <a16:creationId xmlns:a16="http://schemas.microsoft.com/office/drawing/2014/main" id="{9E6262CE-AA0F-4AA6-851F-F88459E0359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12701340">
                  <a:off x="2752568" y="4710270"/>
                  <a:ext cx="315002" cy="454421"/>
                </a:xfrm>
                <a:custGeom>
                  <a:avLst/>
                  <a:gdLst>
                    <a:gd name="T0" fmla="*/ 1204 w 1335"/>
                    <a:gd name="T1" fmla="*/ 681 h 1927"/>
                    <a:gd name="T2" fmla="*/ 667 w 1335"/>
                    <a:gd name="T3" fmla="*/ 133 h 1927"/>
                    <a:gd name="T4" fmla="*/ 130 w 1335"/>
                    <a:gd name="T5" fmla="*/ 681 h 1927"/>
                    <a:gd name="T6" fmla="*/ 667 w 1335"/>
                    <a:gd name="T7" fmla="*/ 1228 h 1927"/>
                    <a:gd name="T8" fmla="*/ 1204 w 1335"/>
                    <a:gd name="T9" fmla="*/ 681 h 1927"/>
                    <a:gd name="T10" fmla="*/ 667 w 1335"/>
                    <a:gd name="T11" fmla="*/ 0 h 1927"/>
                    <a:gd name="T12" fmla="*/ 1335 w 1335"/>
                    <a:gd name="T13" fmla="*/ 681 h 1927"/>
                    <a:gd name="T14" fmla="*/ 667 w 1335"/>
                    <a:gd name="T15" fmla="*/ 1927 h 1927"/>
                    <a:gd name="T16" fmla="*/ 0 w 1335"/>
                    <a:gd name="T17" fmla="*/ 681 h 1927"/>
                    <a:gd name="T18" fmla="*/ 667 w 1335"/>
                    <a:gd name="T19" fmla="*/ 0 h 19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35" h="1927">
                      <a:moveTo>
                        <a:pt x="1204" y="681"/>
                      </a:moveTo>
                      <a:cubicBezTo>
                        <a:pt x="1204" y="378"/>
                        <a:pt x="964" y="133"/>
                        <a:pt x="667" y="133"/>
                      </a:cubicBezTo>
                      <a:cubicBezTo>
                        <a:pt x="370" y="133"/>
                        <a:pt x="130" y="378"/>
                        <a:pt x="130" y="681"/>
                      </a:cubicBezTo>
                      <a:cubicBezTo>
                        <a:pt x="130" y="983"/>
                        <a:pt x="370" y="1228"/>
                        <a:pt x="667" y="1228"/>
                      </a:cubicBezTo>
                      <a:cubicBezTo>
                        <a:pt x="964" y="1228"/>
                        <a:pt x="1204" y="983"/>
                        <a:pt x="1204" y="681"/>
                      </a:cubicBezTo>
                      <a:moveTo>
                        <a:pt x="667" y="0"/>
                      </a:moveTo>
                      <a:cubicBezTo>
                        <a:pt x="1032" y="0"/>
                        <a:pt x="1335" y="309"/>
                        <a:pt x="1335" y="681"/>
                      </a:cubicBezTo>
                      <a:cubicBezTo>
                        <a:pt x="1335" y="1286"/>
                        <a:pt x="667" y="1927"/>
                        <a:pt x="667" y="1927"/>
                      </a:cubicBezTo>
                      <a:cubicBezTo>
                        <a:pt x="667" y="1927"/>
                        <a:pt x="0" y="1286"/>
                        <a:pt x="0" y="681"/>
                      </a:cubicBezTo>
                      <a:cubicBezTo>
                        <a:pt x="0" y="309"/>
                        <a:pt x="297" y="0"/>
                        <a:pt x="667" y="0"/>
                      </a:cubicBezTo>
                    </a:path>
                  </a:pathLst>
                </a:custGeom>
                <a:solidFill>
                  <a:srgbClr val="1BD7D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 dirty="0"/>
                </a:p>
              </p:txBody>
            </p:sp>
            <p:sp>
              <p:nvSpPr>
                <p:cNvPr id="36" name="Freeform 5">
                  <a:extLst>
                    <a:ext uri="{FF2B5EF4-FFF2-40B4-BE49-F238E27FC236}">
                      <a16:creationId xmlns:a16="http://schemas.microsoft.com/office/drawing/2014/main" id="{3FF0C775-C3E1-4AC6-93D6-F3BDE182790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14101291">
                  <a:off x="2294294" y="4248928"/>
                  <a:ext cx="315002" cy="454421"/>
                </a:xfrm>
                <a:custGeom>
                  <a:avLst/>
                  <a:gdLst>
                    <a:gd name="T0" fmla="*/ 1204 w 1335"/>
                    <a:gd name="T1" fmla="*/ 681 h 1927"/>
                    <a:gd name="T2" fmla="*/ 667 w 1335"/>
                    <a:gd name="T3" fmla="*/ 133 h 1927"/>
                    <a:gd name="T4" fmla="*/ 130 w 1335"/>
                    <a:gd name="T5" fmla="*/ 681 h 1927"/>
                    <a:gd name="T6" fmla="*/ 667 w 1335"/>
                    <a:gd name="T7" fmla="*/ 1228 h 1927"/>
                    <a:gd name="T8" fmla="*/ 1204 w 1335"/>
                    <a:gd name="T9" fmla="*/ 681 h 1927"/>
                    <a:gd name="T10" fmla="*/ 667 w 1335"/>
                    <a:gd name="T11" fmla="*/ 0 h 1927"/>
                    <a:gd name="T12" fmla="*/ 1335 w 1335"/>
                    <a:gd name="T13" fmla="*/ 681 h 1927"/>
                    <a:gd name="T14" fmla="*/ 667 w 1335"/>
                    <a:gd name="T15" fmla="*/ 1927 h 1927"/>
                    <a:gd name="T16" fmla="*/ 0 w 1335"/>
                    <a:gd name="T17" fmla="*/ 681 h 1927"/>
                    <a:gd name="T18" fmla="*/ 667 w 1335"/>
                    <a:gd name="T19" fmla="*/ 0 h 19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35" h="1927">
                      <a:moveTo>
                        <a:pt x="1204" y="681"/>
                      </a:moveTo>
                      <a:cubicBezTo>
                        <a:pt x="1204" y="378"/>
                        <a:pt x="964" y="133"/>
                        <a:pt x="667" y="133"/>
                      </a:cubicBezTo>
                      <a:cubicBezTo>
                        <a:pt x="370" y="133"/>
                        <a:pt x="130" y="378"/>
                        <a:pt x="130" y="681"/>
                      </a:cubicBezTo>
                      <a:cubicBezTo>
                        <a:pt x="130" y="983"/>
                        <a:pt x="370" y="1228"/>
                        <a:pt x="667" y="1228"/>
                      </a:cubicBezTo>
                      <a:cubicBezTo>
                        <a:pt x="964" y="1228"/>
                        <a:pt x="1204" y="983"/>
                        <a:pt x="1204" y="681"/>
                      </a:cubicBezTo>
                      <a:moveTo>
                        <a:pt x="667" y="0"/>
                      </a:moveTo>
                      <a:cubicBezTo>
                        <a:pt x="1032" y="0"/>
                        <a:pt x="1335" y="309"/>
                        <a:pt x="1335" y="681"/>
                      </a:cubicBezTo>
                      <a:cubicBezTo>
                        <a:pt x="1335" y="1286"/>
                        <a:pt x="667" y="1927"/>
                        <a:pt x="667" y="1927"/>
                      </a:cubicBezTo>
                      <a:cubicBezTo>
                        <a:pt x="667" y="1927"/>
                        <a:pt x="0" y="1286"/>
                        <a:pt x="0" y="681"/>
                      </a:cubicBezTo>
                      <a:cubicBezTo>
                        <a:pt x="0" y="309"/>
                        <a:pt x="297" y="0"/>
                        <a:pt x="667" y="0"/>
                      </a:cubicBezTo>
                    </a:path>
                  </a:pathLst>
                </a:custGeom>
                <a:solidFill>
                  <a:srgbClr val="1BD7D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 dirty="0"/>
                </a:p>
              </p:txBody>
            </p:sp>
            <p:sp>
              <p:nvSpPr>
                <p:cNvPr id="37" name="Freeform 5">
                  <a:extLst>
                    <a:ext uri="{FF2B5EF4-FFF2-40B4-BE49-F238E27FC236}">
                      <a16:creationId xmlns:a16="http://schemas.microsoft.com/office/drawing/2014/main" id="{FEB4D152-4C93-4DDD-9EA8-833640D350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 rot="15396279">
                  <a:off x="2037644" y="3650987"/>
                  <a:ext cx="315002" cy="454421"/>
                </a:xfrm>
                <a:custGeom>
                  <a:avLst/>
                  <a:gdLst>
                    <a:gd name="T0" fmla="*/ 1204 w 1335"/>
                    <a:gd name="T1" fmla="*/ 681 h 1927"/>
                    <a:gd name="T2" fmla="*/ 667 w 1335"/>
                    <a:gd name="T3" fmla="*/ 133 h 1927"/>
                    <a:gd name="T4" fmla="*/ 130 w 1335"/>
                    <a:gd name="T5" fmla="*/ 681 h 1927"/>
                    <a:gd name="T6" fmla="*/ 667 w 1335"/>
                    <a:gd name="T7" fmla="*/ 1228 h 1927"/>
                    <a:gd name="T8" fmla="*/ 1204 w 1335"/>
                    <a:gd name="T9" fmla="*/ 681 h 1927"/>
                    <a:gd name="T10" fmla="*/ 667 w 1335"/>
                    <a:gd name="T11" fmla="*/ 0 h 1927"/>
                    <a:gd name="T12" fmla="*/ 1335 w 1335"/>
                    <a:gd name="T13" fmla="*/ 681 h 1927"/>
                    <a:gd name="T14" fmla="*/ 667 w 1335"/>
                    <a:gd name="T15" fmla="*/ 1927 h 1927"/>
                    <a:gd name="T16" fmla="*/ 0 w 1335"/>
                    <a:gd name="T17" fmla="*/ 681 h 1927"/>
                    <a:gd name="T18" fmla="*/ 667 w 1335"/>
                    <a:gd name="T19" fmla="*/ 0 h 19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35" h="1927">
                      <a:moveTo>
                        <a:pt x="1204" y="681"/>
                      </a:moveTo>
                      <a:cubicBezTo>
                        <a:pt x="1204" y="378"/>
                        <a:pt x="964" y="133"/>
                        <a:pt x="667" y="133"/>
                      </a:cubicBezTo>
                      <a:cubicBezTo>
                        <a:pt x="370" y="133"/>
                        <a:pt x="130" y="378"/>
                        <a:pt x="130" y="681"/>
                      </a:cubicBezTo>
                      <a:cubicBezTo>
                        <a:pt x="130" y="983"/>
                        <a:pt x="370" y="1228"/>
                        <a:pt x="667" y="1228"/>
                      </a:cubicBezTo>
                      <a:cubicBezTo>
                        <a:pt x="964" y="1228"/>
                        <a:pt x="1204" y="983"/>
                        <a:pt x="1204" y="681"/>
                      </a:cubicBezTo>
                      <a:moveTo>
                        <a:pt x="667" y="0"/>
                      </a:moveTo>
                      <a:cubicBezTo>
                        <a:pt x="1032" y="0"/>
                        <a:pt x="1335" y="309"/>
                        <a:pt x="1335" y="681"/>
                      </a:cubicBezTo>
                      <a:cubicBezTo>
                        <a:pt x="1335" y="1286"/>
                        <a:pt x="667" y="1927"/>
                        <a:pt x="667" y="1927"/>
                      </a:cubicBezTo>
                      <a:cubicBezTo>
                        <a:pt x="667" y="1927"/>
                        <a:pt x="0" y="1286"/>
                        <a:pt x="0" y="681"/>
                      </a:cubicBezTo>
                      <a:cubicBezTo>
                        <a:pt x="0" y="309"/>
                        <a:pt x="297" y="0"/>
                        <a:pt x="667" y="0"/>
                      </a:cubicBezTo>
                    </a:path>
                  </a:pathLst>
                </a:custGeom>
                <a:solidFill>
                  <a:srgbClr val="1BD7D3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000" dirty="0"/>
                </a:p>
              </p:txBody>
            </p:sp>
          </p:grp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7C254C01-277E-4F27-96E5-3989A32D86B8}"/>
                  </a:ext>
                </a:extLst>
              </p:cNvPr>
              <p:cNvSpPr/>
              <p:nvPr/>
            </p:nvSpPr>
            <p:spPr>
              <a:xfrm>
                <a:off x="2915816" y="2212203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F6DDABC9-461C-4AA2-A318-46A2D844DB6A}"/>
                  </a:ext>
                </a:extLst>
              </p:cNvPr>
              <p:cNvSpPr/>
              <p:nvPr/>
            </p:nvSpPr>
            <p:spPr>
              <a:xfrm>
                <a:off x="2564407" y="2581242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11A9C102-D907-4B17-A354-6D7C442F440D}"/>
                  </a:ext>
                </a:extLst>
              </p:cNvPr>
              <p:cNvSpPr/>
              <p:nvPr/>
            </p:nvSpPr>
            <p:spPr>
              <a:xfrm>
                <a:off x="2390490" y="3025001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98567114-4826-428C-862C-05B81141BEB4}"/>
                  </a:ext>
                </a:extLst>
              </p:cNvPr>
              <p:cNvSpPr/>
              <p:nvPr/>
            </p:nvSpPr>
            <p:spPr>
              <a:xfrm>
                <a:off x="2384785" y="3551985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9DD74FD2-CC05-4DF8-A954-8422D26420FF}"/>
                  </a:ext>
                </a:extLst>
              </p:cNvPr>
              <p:cNvSpPr/>
              <p:nvPr/>
            </p:nvSpPr>
            <p:spPr>
              <a:xfrm>
                <a:off x="2576852" y="3993947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53665692-144C-4CD3-883F-E710C26FB991}"/>
                  </a:ext>
                </a:extLst>
              </p:cNvPr>
              <p:cNvSpPr/>
              <p:nvPr/>
            </p:nvSpPr>
            <p:spPr>
              <a:xfrm>
                <a:off x="2899049" y="4324303"/>
                <a:ext cx="130065" cy="130065"/>
              </a:xfrm>
              <a:prstGeom prst="ellipse">
                <a:avLst/>
              </a:prstGeom>
              <a:solidFill>
                <a:srgbClr val="BC20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ru-RU" sz="10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2756DCF-A03B-4EF1-8BF1-95BD6402C9BC}"/>
                </a:ext>
              </a:extLst>
            </p:cNvPr>
            <p:cNvSpPr/>
            <p:nvPr/>
          </p:nvSpPr>
          <p:spPr>
            <a:xfrm>
              <a:off x="2213114" y="2317465"/>
              <a:ext cx="2529804" cy="11106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554"/>
                </a:spcAft>
              </a:pPr>
              <a:endParaRPr lang="en-US" sz="120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  <a:p>
              <a:pPr algn="ctr">
                <a:spcAft>
                  <a:spcPts val="554"/>
                </a:spcAft>
              </a:pPr>
              <a:r>
                <a:rPr lang="ru-RU" b="1" dirty="0">
                  <a:solidFill>
                    <a:schemeClr val="bg1"/>
                  </a:solidFill>
                </a:rPr>
                <a:t>Распространенные </a:t>
              </a:r>
              <a:br>
                <a:rPr lang="en-US" b="1" dirty="0">
                  <a:solidFill>
                    <a:schemeClr val="bg1"/>
                  </a:solidFill>
                </a:rPr>
              </a:br>
              <a:r>
                <a:rPr lang="ru-RU" b="1" dirty="0">
                  <a:solidFill>
                    <a:schemeClr val="bg1"/>
                  </a:solidFill>
                </a:rPr>
                <a:t>формы </a:t>
              </a:r>
              <a:br>
                <a:rPr lang="en-US" b="1" dirty="0">
                  <a:solidFill>
                    <a:schemeClr val="bg1"/>
                  </a:solidFill>
                </a:rPr>
              </a:br>
              <a:r>
                <a:rPr lang="ru-RU" b="1" dirty="0">
                  <a:solidFill>
                    <a:schemeClr val="bg1"/>
                  </a:solidFill>
                </a:rPr>
                <a:t>коррупции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0548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2C6541-2A31-4E7F-B834-4CE389EA3A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503769" cy="3184726"/>
          </a:xfrm>
        </p:spPr>
        <p:txBody>
          <a:bodyPr>
            <a:noAutofit/>
          </a:bodyPr>
          <a:lstStyle/>
          <a:p>
            <a:r>
              <a:rPr lang="ru-RU" sz="4400" dirty="0" err="1"/>
              <a:t>Ўзбекистон</a:t>
            </a:r>
            <a:r>
              <a:rPr lang="ru-RU" sz="4400" dirty="0"/>
              <a:t> </a:t>
            </a:r>
            <a:r>
              <a:rPr lang="ru-RU" sz="4400" dirty="0" err="1"/>
              <a:t>Республикасида</a:t>
            </a:r>
            <a:r>
              <a:rPr lang="ru-RU" sz="4400" dirty="0"/>
              <a:t> коррупция </a:t>
            </a:r>
            <a:r>
              <a:rPr lang="ru-RU" sz="4400" dirty="0" err="1"/>
              <a:t>ҳолатлари</a:t>
            </a:r>
            <a:endParaRPr lang="en-US" sz="44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EE0174C-B42B-4279-A654-0497B7B9D41F}"/>
              </a:ext>
            </a:extLst>
          </p:cNvPr>
          <p:cNvSpPr txBox="1">
            <a:spLocks/>
          </p:cNvSpPr>
          <p:nvPr/>
        </p:nvSpPr>
        <p:spPr>
          <a:xfrm>
            <a:off x="350378" y="5223794"/>
            <a:ext cx="2020192" cy="15216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9600" b="1" dirty="0">
                <a:solidFill>
                  <a:srgbClr val="1BD7D3"/>
                </a:solidFill>
                <a:latin typeface="Arial Black" panose="020B0A04020102020204" pitchFamily="34" charset="0"/>
              </a:rPr>
              <a:t>7.</a:t>
            </a:r>
            <a:endParaRPr lang="en-US" sz="9600" b="1" dirty="0">
              <a:solidFill>
                <a:srgbClr val="1BD7D3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98662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EAF4CFBF-35E8-42BF-8553-85DDAC02AD19}"/>
              </a:ext>
            </a:extLst>
          </p:cNvPr>
          <p:cNvSpPr txBox="1"/>
          <p:nvPr/>
        </p:nvSpPr>
        <p:spPr>
          <a:xfrm>
            <a:off x="1375328" y="996091"/>
            <a:ext cx="9279615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defRPr sz="2000" b="1">
                <a:solidFill>
                  <a:srgbClr val="49A9F6"/>
                </a:solidFill>
              </a:defRPr>
            </a:lvl1pPr>
          </a:lstStyle>
          <a:p>
            <a:r>
              <a:rPr lang="ru-RU" dirty="0"/>
              <a:t> </a:t>
            </a:r>
            <a:r>
              <a:rPr lang="uz-Cyrl-UZ" dirty="0"/>
              <a:t>Ў</a:t>
            </a:r>
            <a:r>
              <a:rPr lang="ru-RU" dirty="0" err="1"/>
              <a:t>збекистон</a:t>
            </a:r>
            <a:r>
              <a:rPr lang="ru-RU" dirty="0"/>
              <a:t> </a:t>
            </a:r>
            <a:r>
              <a:rPr lang="ru-RU" dirty="0" err="1"/>
              <a:t>Республикаси</a:t>
            </a:r>
            <a:r>
              <a:rPr lang="ru-RU" dirty="0"/>
              <a:t> суди </a:t>
            </a:r>
            <a:r>
              <a:rPr lang="ru-RU" dirty="0" err="1"/>
              <a:t>томонидан</a:t>
            </a:r>
            <a:r>
              <a:rPr lang="ru-RU" dirty="0"/>
              <a:t> </a:t>
            </a:r>
            <a:r>
              <a:rPr lang="ru-RU" dirty="0" err="1"/>
              <a:t>ҳукм</a:t>
            </a:r>
            <a:r>
              <a:rPr lang="ru-RU" dirty="0"/>
              <a:t> </a:t>
            </a:r>
            <a:r>
              <a:rPr lang="ru-RU" dirty="0" err="1"/>
              <a:t>қилинган</a:t>
            </a:r>
            <a:r>
              <a:rPr lang="ru-RU" dirty="0"/>
              <a:t> </a:t>
            </a:r>
            <a:r>
              <a:rPr lang="ru-RU" dirty="0" err="1"/>
              <a:t>шахслар</a:t>
            </a:r>
            <a:r>
              <a:rPr lang="ru-RU" dirty="0"/>
              <a:t> сони </a:t>
            </a:r>
            <a:r>
              <a:rPr lang="ru-RU" dirty="0" err="1"/>
              <a:t>бўйича</a:t>
            </a:r>
            <a:r>
              <a:rPr lang="ru-RU" dirty="0"/>
              <a:t> </a:t>
            </a:r>
            <a:r>
              <a:rPr lang="ru-RU" dirty="0" err="1"/>
              <a:t>коррупцияга</a:t>
            </a:r>
            <a:r>
              <a:rPr lang="ru-RU" dirty="0"/>
              <a:t> </a:t>
            </a:r>
            <a:r>
              <a:rPr lang="ru-RU" dirty="0" err="1"/>
              <a:t>оид</a:t>
            </a:r>
            <a:r>
              <a:rPr lang="ru-RU" dirty="0"/>
              <a:t> </a:t>
            </a:r>
            <a:r>
              <a:rPr lang="ru-RU" dirty="0" err="1"/>
              <a:t>жиноятлар</a:t>
            </a:r>
            <a:r>
              <a:rPr lang="ru-RU" dirty="0"/>
              <a:t> </a:t>
            </a:r>
            <a:r>
              <a:rPr lang="ru-RU" dirty="0" err="1"/>
              <a:t>тўртинчи</a:t>
            </a:r>
            <a:r>
              <a:rPr lang="ru-RU" dirty="0"/>
              <a:t> </a:t>
            </a:r>
            <a:r>
              <a:rPr lang="ru-RU" dirty="0" err="1"/>
              <a:t>ўринни</a:t>
            </a:r>
            <a:r>
              <a:rPr lang="ru-RU" dirty="0"/>
              <a:t> </a:t>
            </a:r>
            <a:r>
              <a:rPr lang="ru-RU" dirty="0" err="1"/>
              <a:t>эгаллайди</a:t>
            </a:r>
            <a:r>
              <a:rPr lang="ru-RU" dirty="0"/>
              <a:t>.</a:t>
            </a:r>
            <a:r>
              <a:rPr lang="uz-Cyrl-UZ" dirty="0"/>
              <a:t> </a:t>
            </a:r>
            <a:endParaRPr lang="en-US" dirty="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B29E4872-9292-4339-916B-4CA1600DFE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7241732"/>
              </p:ext>
            </p:extLst>
          </p:nvPr>
        </p:nvGraphicFramePr>
        <p:xfrm>
          <a:off x="715617" y="1723278"/>
          <a:ext cx="10372732" cy="1551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0E49F730-93ED-4F12-BD90-D69635866138}"/>
              </a:ext>
            </a:extLst>
          </p:cNvPr>
          <p:cNvGrpSpPr/>
          <p:nvPr/>
        </p:nvGrpSpPr>
        <p:grpSpPr>
          <a:xfrm>
            <a:off x="4045227" y="4405829"/>
            <a:ext cx="7553726" cy="666814"/>
            <a:chOff x="5686927" y="4565417"/>
            <a:chExt cx="4832165" cy="666814"/>
          </a:xfrm>
        </p:grpSpPr>
        <p:sp>
          <p:nvSpPr>
            <p:cNvPr id="14" name="Snip Same Side Corner Rectangle 35">
              <a:extLst>
                <a:ext uri="{FF2B5EF4-FFF2-40B4-BE49-F238E27FC236}">
                  <a16:creationId xmlns:a16="http://schemas.microsoft.com/office/drawing/2014/main" id="{960EC3F0-6ACF-4323-9AD0-2A6C431FCE84}"/>
                </a:ext>
              </a:extLst>
            </p:cNvPr>
            <p:cNvSpPr/>
            <p:nvPr/>
          </p:nvSpPr>
          <p:spPr>
            <a:xfrm rot="5400000">
              <a:off x="8460775" y="3746312"/>
              <a:ext cx="300651" cy="2671188"/>
            </a:xfrm>
            <a:prstGeom prst="snip2SameRect">
              <a:avLst>
                <a:gd name="adj1" fmla="val 20238"/>
                <a:gd name="adj2" fmla="val 0"/>
              </a:avLst>
            </a:prstGeom>
            <a:solidFill>
              <a:srgbClr val="004BD2"/>
            </a:solidFill>
            <a:ln w="12700">
              <a:solidFill>
                <a:srgbClr val="00A3A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7385" tIns="37385" rIns="37385" bIns="37385" rtlCol="0" anchor="ctr"/>
            <a:lstStyle/>
            <a:p>
              <a:pPr algn="ctr" defTabSz="474756">
                <a:lnSpc>
                  <a:spcPct val="70000"/>
                </a:lnSpc>
                <a:spcBef>
                  <a:spcPct val="0"/>
                </a:spcBef>
              </a:pPr>
              <a:r>
                <a:rPr lang="en-U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14,8</a:t>
              </a:r>
              <a:r>
                <a:rPr lang="ru-RU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лрд </a:t>
              </a:r>
              <a:r>
                <a:rPr lang="ru-RU" sz="11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ўм</a:t>
              </a:r>
              <a:r>
                <a:rPr lang="en-US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78%)</a:t>
              </a:r>
              <a:endParaRPr lang="ru-RU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Snip Same Side Corner Rectangle 32">
              <a:extLst>
                <a:ext uri="{FF2B5EF4-FFF2-40B4-BE49-F238E27FC236}">
                  <a16:creationId xmlns:a16="http://schemas.microsoft.com/office/drawing/2014/main" id="{0F7F727B-7B0C-4B76-9365-0B6750CB3430}"/>
                </a:ext>
              </a:extLst>
            </p:cNvPr>
            <p:cNvSpPr/>
            <p:nvPr/>
          </p:nvSpPr>
          <p:spPr>
            <a:xfrm rot="5400000">
              <a:off x="8746975" y="3093949"/>
              <a:ext cx="300650" cy="3243585"/>
            </a:xfrm>
            <a:prstGeom prst="snip2SameRect">
              <a:avLst>
                <a:gd name="adj1" fmla="val 20238"/>
                <a:gd name="adj2" fmla="val 0"/>
              </a:avLst>
            </a:prstGeom>
            <a:solidFill>
              <a:srgbClr val="49A9F6"/>
            </a:solidFill>
            <a:ln w="12700">
              <a:solidFill>
                <a:srgbClr val="00A3A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lIns="37385" tIns="37385" rIns="37385" bIns="37385" rtlCol="0" anchor="ctr"/>
            <a:lstStyle/>
            <a:p>
              <a:pPr algn="ctr" defTabSz="474756">
                <a:lnSpc>
                  <a:spcPct val="70000"/>
                </a:lnSpc>
                <a:spcBef>
                  <a:spcPct val="0"/>
                </a:spcBef>
              </a:pPr>
              <a:r>
                <a:rPr lang="en-US" sz="1100" b="1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913,7</a:t>
              </a:r>
              <a:r>
                <a:rPr lang="ru-RU" sz="1100" b="1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 млрд </a:t>
              </a:r>
              <a:r>
                <a:rPr lang="ru-RU" sz="1100" b="1" dirty="0" err="1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сўм</a:t>
              </a:r>
              <a:endParaRPr lang="en-US" sz="11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9D234675-73BD-4DA0-B2B1-65418908CFE4}"/>
                </a:ext>
              </a:extLst>
            </p:cNvPr>
            <p:cNvGrpSpPr/>
            <p:nvPr/>
          </p:nvGrpSpPr>
          <p:grpSpPr>
            <a:xfrm>
              <a:off x="5686927" y="4577659"/>
              <a:ext cx="1588580" cy="654572"/>
              <a:chOff x="5686927" y="4577659"/>
              <a:chExt cx="1588580" cy="654572"/>
            </a:xfrm>
          </p:grpSpPr>
          <p:sp>
            <p:nvSpPr>
              <p:cNvPr id="17" name="Flowchart: Process 16">
                <a:extLst>
                  <a:ext uri="{FF2B5EF4-FFF2-40B4-BE49-F238E27FC236}">
                    <a16:creationId xmlns:a16="http://schemas.microsoft.com/office/drawing/2014/main" id="{772A29AC-AB99-4042-8511-FD3C68783D42}"/>
                  </a:ext>
                </a:extLst>
              </p:cNvPr>
              <p:cNvSpPr/>
              <p:nvPr/>
            </p:nvSpPr>
            <p:spPr>
              <a:xfrm>
                <a:off x="5686927" y="4577659"/>
                <a:ext cx="1496888" cy="654572"/>
              </a:xfrm>
              <a:prstGeom prst="flowChartProcess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rgbClr val="00A3A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610" tIns="54610" rIns="54610" bIns="54610" rtlCol="0" anchor="ctr"/>
              <a:lstStyle/>
              <a:p>
                <a:pPr algn="l"/>
                <a:endParaRPr lang="en-US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06F860D-C447-4076-84EA-99C78CA5B8D8}"/>
                  </a:ext>
                </a:extLst>
              </p:cNvPr>
              <p:cNvSpPr txBox="1"/>
              <p:nvPr/>
            </p:nvSpPr>
            <p:spPr>
              <a:xfrm>
                <a:off x="5686927" y="4634961"/>
                <a:ext cx="1588580" cy="563174"/>
              </a:xfrm>
              <a:prstGeom prst="rect">
                <a:avLst/>
              </a:prstGeom>
              <a:noFill/>
              <a:effectLst/>
            </p:spPr>
            <p:txBody>
              <a:bodyPr wrap="square" lIns="54610" tIns="54610" rIns="54610" bIns="54610" rtlCol="0" anchor="ctr">
                <a:no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ru-RU" sz="1400" b="1" dirty="0">
                    <a:solidFill>
                      <a:srgbClr val="00338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</a:t>
                </a:r>
                <a:r>
                  <a:rPr lang="en-US" sz="1400" b="1" dirty="0">
                    <a:solidFill>
                      <a:srgbClr val="00338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  <a:r>
                  <a:rPr lang="ru-RU" sz="1400" b="1" dirty="0">
                    <a:solidFill>
                      <a:srgbClr val="00338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400" b="1" dirty="0" err="1">
                    <a:solidFill>
                      <a:srgbClr val="00338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йил</a:t>
                </a:r>
                <a:endParaRPr lang="ru-RU" sz="1400" b="1" dirty="0">
                  <a:solidFill>
                    <a:srgbClr val="00338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>
                  <a:spcAft>
                    <a:spcPts val="600"/>
                  </a:spcAft>
                </a:pPr>
                <a:r>
                  <a:rPr lang="en-US" sz="1400" dirty="0">
                    <a:solidFill>
                      <a:srgbClr val="00338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804</a:t>
                </a:r>
                <a:r>
                  <a:rPr lang="ru-RU" sz="1400" dirty="0">
                    <a:solidFill>
                      <a:srgbClr val="00338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400" dirty="0" err="1">
                    <a:solidFill>
                      <a:srgbClr val="00338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ансабдор</a:t>
                </a:r>
                <a:r>
                  <a:rPr lang="ru-RU" sz="1400" dirty="0">
                    <a:solidFill>
                      <a:srgbClr val="00338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400" dirty="0" err="1">
                    <a:solidFill>
                      <a:srgbClr val="00338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шахс</a:t>
                </a:r>
                <a:endParaRPr lang="en-US" sz="1400" dirty="0">
                  <a:solidFill>
                    <a:srgbClr val="00338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15CD4BB4-F10C-407E-8B2C-084E2CB67BAB}"/>
              </a:ext>
            </a:extLst>
          </p:cNvPr>
          <p:cNvSpPr txBox="1"/>
          <p:nvPr/>
        </p:nvSpPr>
        <p:spPr>
          <a:xfrm>
            <a:off x="1707410" y="4438046"/>
            <a:ext cx="2079723" cy="730854"/>
          </a:xfrm>
          <a:prstGeom prst="rect">
            <a:avLst/>
          </a:prstGeom>
          <a:noFill/>
        </p:spPr>
        <p:txBody>
          <a:bodyPr wrap="square" lIns="0" tIns="54610" rIns="54610" bIns="54610" rtlCol="0">
            <a:noAutofit/>
          </a:bodyPr>
          <a:lstStyle/>
          <a:p>
            <a:pPr algn="just">
              <a:spcAft>
                <a:spcPts val="600"/>
              </a:spcAft>
            </a:pPr>
            <a:r>
              <a:rPr lang="ru-RU" sz="900" i="1" dirty="0" err="1">
                <a:solidFill>
                  <a:schemeClr val="bg1">
                    <a:lumMod val="50000"/>
                  </a:schemeClr>
                </a:solidFill>
              </a:rPr>
              <a:t>Манба</a:t>
            </a:r>
            <a:r>
              <a:rPr lang="ru-RU" sz="900" i="1" dirty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ru-RU" sz="900" i="1" dirty="0" err="1">
                <a:solidFill>
                  <a:schemeClr val="bg1">
                    <a:lumMod val="50000"/>
                  </a:schemeClr>
                </a:solidFill>
              </a:rPr>
              <a:t>Ўзбекистон</a:t>
            </a:r>
            <a:r>
              <a:rPr lang="ru-RU" sz="9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900" i="1" dirty="0" err="1">
                <a:solidFill>
                  <a:schemeClr val="bg1">
                    <a:lumMod val="50000"/>
                  </a:schemeClr>
                </a:solidFill>
              </a:rPr>
              <a:t>Республикаси</a:t>
            </a:r>
            <a:r>
              <a:rPr lang="ru-RU" sz="900" i="1" dirty="0">
                <a:solidFill>
                  <a:schemeClr val="bg1">
                    <a:lumMod val="50000"/>
                  </a:schemeClr>
                </a:solidFill>
              </a:rPr>
              <a:t> бош </a:t>
            </a:r>
            <a:r>
              <a:rPr lang="ru-RU" sz="900" i="1" dirty="0" err="1">
                <a:solidFill>
                  <a:schemeClr val="bg1">
                    <a:lumMod val="50000"/>
                  </a:schemeClr>
                </a:solidFill>
              </a:rPr>
              <a:t>прокуратурасининг</a:t>
            </a:r>
            <a:r>
              <a:rPr lang="ru-RU" sz="9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900" i="1" dirty="0" err="1">
                <a:solidFill>
                  <a:schemeClr val="bg1">
                    <a:lumMod val="50000"/>
                  </a:schemeClr>
                </a:solidFill>
              </a:rPr>
              <a:t>маълумотномаси</a:t>
            </a:r>
            <a:r>
              <a:rPr lang="ru-RU" sz="900" i="1" dirty="0">
                <a:solidFill>
                  <a:schemeClr val="bg1">
                    <a:lumMod val="50000"/>
                  </a:schemeClr>
                </a:solidFill>
              </a:rPr>
              <a:t> (</a:t>
            </a:r>
            <a:r>
              <a:rPr lang="en-US" sz="900" i="1" dirty="0">
                <a:solidFill>
                  <a:schemeClr val="bg1">
                    <a:lumMod val="50000"/>
                  </a:schemeClr>
                </a:solidFill>
              </a:rPr>
              <a:t>t.me/uzbprokuratura/</a:t>
            </a:r>
            <a:r>
              <a:rPr lang="ru-RU" sz="900" i="1" dirty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en-US" sz="900" i="1" dirty="0">
                <a:solidFill>
                  <a:schemeClr val="bg1">
                    <a:lumMod val="50000"/>
                  </a:schemeClr>
                </a:solidFill>
              </a:rPr>
              <a:t>3</a:t>
            </a:r>
            <a:r>
              <a:rPr lang="ru-RU" sz="900" i="1" dirty="0">
                <a:solidFill>
                  <a:schemeClr val="bg1">
                    <a:lumMod val="50000"/>
                  </a:schemeClr>
                </a:solidFill>
              </a:rPr>
              <a:t>182).</a:t>
            </a:r>
            <a:endParaRPr lang="en-US" sz="9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AAEEA33-C0F2-469E-8340-CCCD5FC78972}"/>
              </a:ext>
            </a:extLst>
          </p:cNvPr>
          <p:cNvSpPr/>
          <p:nvPr/>
        </p:nvSpPr>
        <p:spPr>
          <a:xfrm>
            <a:off x="1375328" y="3429000"/>
            <a:ext cx="1022362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000" b="1" dirty="0">
                <a:solidFill>
                  <a:srgbClr val="49A9F6"/>
                </a:solidFill>
              </a:rPr>
              <a:t>2021-йилда </a:t>
            </a:r>
            <a:r>
              <a:rPr lang="ru-RU" sz="2000" b="1" dirty="0" err="1">
                <a:solidFill>
                  <a:srgbClr val="49A9F6"/>
                </a:solidFill>
              </a:rPr>
              <a:t>Ўзбекистон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Республикасида</a:t>
            </a:r>
            <a:r>
              <a:rPr lang="ru-RU" sz="2000" b="1" dirty="0">
                <a:solidFill>
                  <a:srgbClr val="49A9F6"/>
                </a:solidFill>
              </a:rPr>
              <a:t> 2345 та </a:t>
            </a:r>
            <a:r>
              <a:rPr lang="ru-RU" sz="2000" b="1" dirty="0" err="1">
                <a:solidFill>
                  <a:srgbClr val="49A9F6"/>
                </a:solidFill>
              </a:rPr>
              <a:t>жиноий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иш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бўйича</a:t>
            </a:r>
            <a:r>
              <a:rPr lang="ru-RU" sz="2000" b="1" dirty="0">
                <a:solidFill>
                  <a:srgbClr val="49A9F6"/>
                </a:solidFill>
              </a:rPr>
              <a:t> 2804 </a:t>
            </a:r>
            <a:r>
              <a:rPr lang="ru-RU" sz="2000" b="1" dirty="0" err="1">
                <a:solidFill>
                  <a:srgbClr val="49A9F6"/>
                </a:solidFill>
              </a:rPr>
              <a:t>нафа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мансабдо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шахс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жавобгарликк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тортилди</a:t>
            </a:r>
            <a:r>
              <a:rPr lang="ru-RU" sz="2000" b="1" dirty="0">
                <a:solidFill>
                  <a:srgbClr val="49A9F6"/>
                </a:solidFill>
              </a:rPr>
              <a:t>.</a:t>
            </a:r>
            <a:endParaRPr lang="en-US" sz="2000" b="1" dirty="0">
              <a:solidFill>
                <a:srgbClr val="49A9F6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3B9C1DC-9120-4948-B3FA-487D302C7417}"/>
              </a:ext>
            </a:extLst>
          </p:cNvPr>
          <p:cNvGrpSpPr/>
          <p:nvPr/>
        </p:nvGrpSpPr>
        <p:grpSpPr>
          <a:xfrm>
            <a:off x="1375328" y="5707746"/>
            <a:ext cx="5009860" cy="600216"/>
            <a:chOff x="5681885" y="3742236"/>
            <a:chExt cx="2822035" cy="436522"/>
          </a:xfrm>
          <a:effectLst/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66683BE-ABE9-4270-8E11-56D47877EEB8}"/>
                </a:ext>
              </a:extLst>
            </p:cNvPr>
            <p:cNvSpPr/>
            <p:nvPr/>
          </p:nvSpPr>
          <p:spPr>
            <a:xfrm>
              <a:off x="5681885" y="3744325"/>
              <a:ext cx="2822035" cy="43443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/>
              <a:r>
                <a:rPr lang="ru-RU" sz="1100" b="1" dirty="0">
                  <a:solidFill>
                    <a:schemeClr val="bg1"/>
                  </a:solidFill>
                </a:rPr>
                <a:t>Туман (</a:t>
              </a:r>
              <a:r>
                <a:rPr lang="ru-RU" sz="1100" b="1" dirty="0" err="1">
                  <a:solidFill>
                    <a:schemeClr val="bg1"/>
                  </a:solidFill>
                </a:rPr>
                <a:t>шаҳар</a:t>
              </a:r>
              <a:r>
                <a:rPr lang="ru-RU" sz="1100" b="1" dirty="0">
                  <a:solidFill>
                    <a:schemeClr val="bg1"/>
                  </a:solidFill>
                </a:rPr>
                <a:t>) </a:t>
              </a:r>
            </a:p>
            <a:p>
              <a:pPr algn="ctr"/>
              <a:r>
                <a:rPr lang="ru-RU" sz="1100" b="1" dirty="0" err="1">
                  <a:solidFill>
                    <a:schemeClr val="bg1"/>
                  </a:solidFill>
                </a:rPr>
                <a:t>даражасидаги</a:t>
              </a:r>
              <a:r>
                <a:rPr lang="ru-RU" sz="1100" b="1" dirty="0">
                  <a:solidFill>
                    <a:schemeClr val="bg1"/>
                  </a:solidFill>
                </a:rPr>
                <a:t> </a:t>
              </a:r>
              <a:r>
                <a:rPr lang="ru-RU" sz="1100" b="1" dirty="0" err="1">
                  <a:solidFill>
                    <a:schemeClr val="bg1"/>
                  </a:solidFill>
                </a:rPr>
                <a:t>ходимлар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Arrow: Pentagon 23">
              <a:extLst>
                <a:ext uri="{FF2B5EF4-FFF2-40B4-BE49-F238E27FC236}">
                  <a16:creationId xmlns:a16="http://schemas.microsoft.com/office/drawing/2014/main" id="{F3B0B6A4-4D52-41D9-8954-F7D97F617F6B}"/>
                </a:ext>
              </a:extLst>
            </p:cNvPr>
            <p:cNvSpPr/>
            <p:nvPr/>
          </p:nvSpPr>
          <p:spPr>
            <a:xfrm>
              <a:off x="5681885" y="3744327"/>
              <a:ext cx="887982" cy="434431"/>
            </a:xfrm>
            <a:prstGeom prst="homePlate">
              <a:avLst/>
            </a:prstGeom>
            <a:solidFill>
              <a:srgbClr val="0091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r>
                <a:rPr lang="ru-RU" sz="1050" b="1" dirty="0">
                  <a:solidFill>
                    <a:schemeClr val="bg1"/>
                  </a:solidFill>
                </a:rPr>
                <a:t>202</a:t>
              </a:r>
              <a:r>
                <a:rPr lang="en-US" sz="1050" b="1" dirty="0">
                  <a:solidFill>
                    <a:schemeClr val="bg1"/>
                  </a:solidFill>
                </a:rPr>
                <a:t>1</a:t>
              </a:r>
              <a:r>
                <a:rPr lang="ru-RU" sz="1050" b="1" dirty="0">
                  <a:solidFill>
                    <a:schemeClr val="bg1"/>
                  </a:solidFill>
                </a:rPr>
                <a:t> </a:t>
              </a:r>
              <a:r>
                <a:rPr lang="ru-RU" sz="1050" b="1" dirty="0" err="1">
                  <a:solidFill>
                    <a:schemeClr val="bg1"/>
                  </a:solidFill>
                </a:rPr>
                <a:t>йид</a:t>
              </a:r>
              <a:br>
                <a:rPr lang="ru-RU" sz="1050" b="1" dirty="0">
                  <a:solidFill>
                    <a:schemeClr val="bg1"/>
                  </a:solidFill>
                </a:rPr>
              </a:br>
              <a:r>
                <a:rPr lang="en-US" sz="1050" b="1" dirty="0">
                  <a:solidFill>
                    <a:schemeClr val="bg1"/>
                  </a:solidFill>
                </a:rPr>
                <a:t>2</a:t>
              </a:r>
              <a:r>
                <a:rPr lang="ru-RU" sz="1050" b="1" dirty="0">
                  <a:solidFill>
                    <a:schemeClr val="bg1"/>
                  </a:solidFill>
                </a:rPr>
                <a:t> </a:t>
              </a:r>
              <a:r>
                <a:rPr lang="en-US" sz="1050" b="1" dirty="0">
                  <a:solidFill>
                    <a:schemeClr val="bg1"/>
                  </a:solidFill>
                </a:rPr>
                <a:t>547</a:t>
              </a:r>
              <a:r>
                <a:rPr lang="ru-RU" sz="1050" b="1" dirty="0">
                  <a:solidFill>
                    <a:schemeClr val="bg1"/>
                  </a:solidFill>
                </a:rPr>
                <a:t> одам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Arrow: Pentagon 24">
              <a:extLst>
                <a:ext uri="{FF2B5EF4-FFF2-40B4-BE49-F238E27FC236}">
                  <a16:creationId xmlns:a16="http://schemas.microsoft.com/office/drawing/2014/main" id="{E1213B58-FE8F-4B55-9FDE-3E357DD2B335}"/>
                </a:ext>
              </a:extLst>
            </p:cNvPr>
            <p:cNvSpPr/>
            <p:nvPr/>
          </p:nvSpPr>
          <p:spPr>
            <a:xfrm rot="10800000" flipV="1">
              <a:off x="7615717" y="3742236"/>
              <a:ext cx="887983" cy="434430"/>
            </a:xfrm>
            <a:prstGeom prst="homePlate">
              <a:avLst/>
            </a:prstGeom>
            <a:solidFill>
              <a:srgbClr val="0091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54610" tIns="54610" rIns="54610" bIns="54610" rtlCol="0" anchor="ctr">
              <a:noAutofit/>
            </a:bodyPr>
            <a:lstStyle/>
            <a:p>
              <a:pPr algn="r"/>
              <a:r>
                <a:rPr lang="ru-RU" sz="1050" b="1" dirty="0">
                  <a:solidFill>
                    <a:schemeClr val="bg1"/>
                  </a:solidFill>
                </a:rPr>
                <a:t>20</a:t>
              </a:r>
              <a:r>
                <a:rPr lang="en-US" sz="1050" b="1" dirty="0">
                  <a:solidFill>
                    <a:schemeClr val="bg1"/>
                  </a:solidFill>
                </a:rPr>
                <a:t>20</a:t>
              </a:r>
              <a:r>
                <a:rPr lang="ru-RU" sz="1050" b="1" dirty="0">
                  <a:solidFill>
                    <a:schemeClr val="bg1"/>
                  </a:solidFill>
                </a:rPr>
                <a:t> </a:t>
              </a:r>
              <a:r>
                <a:rPr lang="ru-RU" sz="1050" b="1" dirty="0" err="1">
                  <a:solidFill>
                    <a:schemeClr val="bg1"/>
                  </a:solidFill>
                </a:rPr>
                <a:t>йил</a:t>
              </a:r>
              <a:endParaRPr lang="ru-RU" sz="1050" b="1" dirty="0">
                <a:solidFill>
                  <a:schemeClr val="bg1"/>
                </a:solidFill>
              </a:endParaRPr>
            </a:p>
            <a:p>
              <a:pPr algn="r"/>
              <a:r>
                <a:rPr lang="ru-RU" sz="1050" b="1" dirty="0">
                  <a:solidFill>
                    <a:schemeClr val="bg1"/>
                  </a:solidFill>
                </a:rPr>
                <a:t>1 </a:t>
              </a:r>
              <a:r>
                <a:rPr lang="en-US" sz="1050" b="1" dirty="0">
                  <a:solidFill>
                    <a:schemeClr val="bg1"/>
                  </a:solidFill>
                </a:rPr>
                <a:t>669</a:t>
              </a:r>
              <a:r>
                <a:rPr lang="ru-RU" sz="1050" b="1" dirty="0">
                  <a:solidFill>
                    <a:schemeClr val="bg1"/>
                  </a:solidFill>
                </a:rPr>
                <a:t> одам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777E9F9B-C8E9-424E-AAF9-CC5FA1ED34ED}"/>
              </a:ext>
            </a:extLst>
          </p:cNvPr>
          <p:cNvGrpSpPr/>
          <p:nvPr/>
        </p:nvGrpSpPr>
        <p:grpSpPr>
          <a:xfrm>
            <a:off x="6993851" y="5709835"/>
            <a:ext cx="4605102" cy="602823"/>
            <a:chOff x="8582854" y="3738247"/>
            <a:chExt cx="2829907" cy="438418"/>
          </a:xfrm>
          <a:effectLst/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D1A2C95-F30A-4EF4-BC07-9D5B21AAC717}"/>
                </a:ext>
              </a:extLst>
            </p:cNvPr>
            <p:cNvSpPr/>
            <p:nvPr/>
          </p:nvSpPr>
          <p:spPr>
            <a:xfrm>
              <a:off x="8586791" y="3744324"/>
              <a:ext cx="2822035" cy="43234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/>
              <a:r>
                <a:rPr lang="ru-RU" sz="1100" b="1" dirty="0">
                  <a:solidFill>
                    <a:schemeClr val="bg1"/>
                  </a:solidFill>
                </a:rPr>
                <a:t>Республика </a:t>
              </a:r>
              <a:r>
                <a:rPr lang="ru-RU" sz="1100" b="1" dirty="0" err="1">
                  <a:solidFill>
                    <a:schemeClr val="bg1"/>
                  </a:solidFill>
                </a:rPr>
                <a:t>ва</a:t>
              </a:r>
              <a:r>
                <a:rPr lang="ru-RU" sz="1100" b="1" dirty="0">
                  <a:solidFill>
                    <a:schemeClr val="bg1"/>
                  </a:solidFill>
                </a:rPr>
                <a:t> </a:t>
              </a:r>
              <a:r>
                <a:rPr lang="ru-RU" sz="1100" b="1" dirty="0" err="1">
                  <a:solidFill>
                    <a:schemeClr val="bg1"/>
                  </a:solidFill>
                </a:rPr>
                <a:t>вилоят</a:t>
              </a:r>
              <a:r>
                <a:rPr lang="ru-RU" sz="1100" b="1" dirty="0">
                  <a:solidFill>
                    <a:schemeClr val="bg1"/>
                  </a:solidFill>
                </a:rPr>
                <a:t> </a:t>
              </a:r>
            </a:p>
            <a:p>
              <a:pPr algn="ctr"/>
              <a:r>
                <a:rPr lang="ru-RU" sz="1100" b="1" dirty="0" err="1">
                  <a:solidFill>
                    <a:schemeClr val="bg1"/>
                  </a:solidFill>
                </a:rPr>
                <a:t>даражасидаги</a:t>
              </a:r>
              <a:r>
                <a:rPr lang="ru-RU" sz="1100" b="1" dirty="0">
                  <a:solidFill>
                    <a:schemeClr val="bg1"/>
                  </a:solidFill>
                </a:rPr>
                <a:t> </a:t>
              </a:r>
              <a:r>
                <a:rPr lang="ru-RU" sz="1100" b="1" dirty="0" err="1">
                  <a:solidFill>
                    <a:schemeClr val="bg1"/>
                  </a:solidFill>
                </a:rPr>
                <a:t>ходимлар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28" name="Arrow: Pentagon 27">
              <a:extLst>
                <a:ext uri="{FF2B5EF4-FFF2-40B4-BE49-F238E27FC236}">
                  <a16:creationId xmlns:a16="http://schemas.microsoft.com/office/drawing/2014/main" id="{7373C507-6A47-4ED4-B217-2B184C1037F1}"/>
                </a:ext>
              </a:extLst>
            </p:cNvPr>
            <p:cNvSpPr/>
            <p:nvPr/>
          </p:nvSpPr>
          <p:spPr>
            <a:xfrm>
              <a:off x="8582854" y="3742200"/>
              <a:ext cx="887982" cy="434431"/>
            </a:xfrm>
            <a:prstGeom prst="homePlate">
              <a:avLst/>
            </a:prstGeom>
            <a:solidFill>
              <a:srgbClr val="0091D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r>
                <a:rPr lang="ru-RU" sz="1050" b="1" dirty="0">
                  <a:solidFill>
                    <a:schemeClr val="bg1"/>
                  </a:solidFill>
                </a:rPr>
                <a:t>2021 </a:t>
              </a:r>
              <a:r>
                <a:rPr lang="ru-RU" sz="1050" b="1" dirty="0" err="1">
                  <a:solidFill>
                    <a:schemeClr val="bg1"/>
                  </a:solidFill>
                </a:rPr>
                <a:t>йил</a:t>
              </a:r>
              <a:br>
                <a:rPr lang="ru-RU" sz="1050" b="1" dirty="0">
                  <a:solidFill>
                    <a:schemeClr val="bg1"/>
                  </a:solidFill>
                </a:rPr>
              </a:br>
              <a:r>
                <a:rPr lang="en-US" sz="1050" b="1" dirty="0">
                  <a:solidFill>
                    <a:schemeClr val="bg1"/>
                  </a:solidFill>
                </a:rPr>
                <a:t>257</a:t>
              </a:r>
              <a:r>
                <a:rPr lang="ru-RU" sz="1050" b="1" dirty="0">
                  <a:solidFill>
                    <a:schemeClr val="bg1"/>
                  </a:solidFill>
                </a:rPr>
                <a:t> одам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Arrow: Pentagon 28">
              <a:extLst>
                <a:ext uri="{FF2B5EF4-FFF2-40B4-BE49-F238E27FC236}">
                  <a16:creationId xmlns:a16="http://schemas.microsoft.com/office/drawing/2014/main" id="{D7444C66-693D-46C6-B866-EA520F0F3F9A}"/>
                </a:ext>
              </a:extLst>
            </p:cNvPr>
            <p:cNvSpPr/>
            <p:nvPr/>
          </p:nvSpPr>
          <p:spPr>
            <a:xfrm rot="10800000" flipV="1">
              <a:off x="10524778" y="3738247"/>
              <a:ext cx="887983" cy="432341"/>
            </a:xfrm>
            <a:prstGeom prst="homePlate">
              <a:avLst/>
            </a:prstGeom>
            <a:solidFill>
              <a:srgbClr val="0091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lIns="54610" tIns="54610" rIns="54610" bIns="54610" rtlCol="0" anchor="ctr">
              <a:noAutofit/>
            </a:bodyPr>
            <a:lstStyle/>
            <a:p>
              <a:pPr algn="r"/>
              <a:r>
                <a:rPr lang="ru-RU" sz="1050" b="1" dirty="0">
                  <a:solidFill>
                    <a:schemeClr val="bg1"/>
                  </a:solidFill>
                </a:rPr>
                <a:t>2020 </a:t>
              </a:r>
              <a:r>
                <a:rPr lang="ru-RU" sz="1050" b="1" dirty="0" err="1">
                  <a:solidFill>
                    <a:schemeClr val="bg1"/>
                  </a:solidFill>
                </a:rPr>
                <a:t>йил</a:t>
              </a:r>
              <a:br>
                <a:rPr lang="ru-RU" sz="1050" b="1" dirty="0">
                  <a:solidFill>
                    <a:schemeClr val="bg1"/>
                  </a:solidFill>
                </a:rPr>
              </a:br>
              <a:r>
                <a:rPr lang="ru-RU" sz="1050" b="1" dirty="0">
                  <a:solidFill>
                    <a:schemeClr val="bg1"/>
                  </a:solidFill>
                </a:rPr>
                <a:t>54 одам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3A77C93F-E722-4E99-BA2E-2351A34658F7}"/>
              </a:ext>
            </a:extLst>
          </p:cNvPr>
          <p:cNvSpPr/>
          <p:nvPr/>
        </p:nvSpPr>
        <p:spPr>
          <a:xfrm>
            <a:off x="1375328" y="5355572"/>
            <a:ext cx="6484720" cy="212124"/>
          </a:xfrm>
          <a:prstGeom prst="roundRect">
            <a:avLst/>
          </a:prstGeom>
          <a:solidFill>
            <a:schemeClr val="bg1"/>
          </a:solidFill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rgbClr val="004BD2"/>
                </a:solidFill>
              </a:rPr>
              <a:t>Жавобгарликка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тортилган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мансабдор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шахсларнинг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мақоми</a:t>
            </a:r>
            <a:endParaRPr lang="en-US" sz="1400" b="1" dirty="0">
              <a:solidFill>
                <a:srgbClr val="004BD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283202-807F-4579-836F-2CA59D9BCC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Ўзбекистон</a:t>
            </a:r>
            <a:r>
              <a:rPr lang="ru-RU" dirty="0"/>
              <a:t> </a:t>
            </a:r>
            <a:r>
              <a:rPr lang="ru-RU" dirty="0" err="1"/>
              <a:t>Республикасида</a:t>
            </a:r>
            <a:r>
              <a:rPr lang="ru-RU" dirty="0"/>
              <a:t> </a:t>
            </a:r>
            <a:r>
              <a:rPr lang="ru-RU" dirty="0" err="1"/>
              <a:t>коррупцияга</a:t>
            </a:r>
            <a:r>
              <a:rPr lang="ru-RU" dirty="0"/>
              <a:t> </a:t>
            </a:r>
            <a:r>
              <a:rPr lang="ru-RU" dirty="0" err="1"/>
              <a:t>оид</a:t>
            </a:r>
            <a:r>
              <a:rPr lang="ru-RU" dirty="0"/>
              <a:t> </a:t>
            </a:r>
            <a:r>
              <a:rPr lang="ru-RU" dirty="0" err="1"/>
              <a:t>ҳуқуқбузарликлар</a:t>
            </a:r>
            <a:r>
              <a:rPr lang="ru-RU" dirty="0"/>
              <a:t> </a:t>
            </a:r>
            <a:r>
              <a:rPr lang="ru-RU" dirty="0" err="1"/>
              <a:t>тўғрисидаги</a:t>
            </a:r>
            <a:r>
              <a:rPr lang="ru-RU" dirty="0"/>
              <a:t> статистика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DF4B7871-7699-4EAE-B79B-2F2A25798602}"/>
              </a:ext>
            </a:extLst>
          </p:cNvPr>
          <p:cNvSpPr/>
          <p:nvPr/>
        </p:nvSpPr>
        <p:spPr>
          <a:xfrm>
            <a:off x="440353" y="9906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489F7442-E287-4B0B-A06B-34796EA098E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87207" y="1042387"/>
            <a:ext cx="582252" cy="582252"/>
          </a:xfrm>
          <a:prstGeom prst="rect">
            <a:avLst/>
          </a:prstGeom>
        </p:spPr>
      </p:pic>
      <p:sp>
        <p:nvSpPr>
          <p:cNvPr id="32" name="object 12">
            <a:extLst>
              <a:ext uri="{FF2B5EF4-FFF2-40B4-BE49-F238E27FC236}">
                <a16:creationId xmlns:a16="http://schemas.microsoft.com/office/drawing/2014/main" id="{87BB9651-0FDD-43FA-8C17-02568028CF99}"/>
              </a:ext>
            </a:extLst>
          </p:cNvPr>
          <p:cNvSpPr/>
          <p:nvPr/>
        </p:nvSpPr>
        <p:spPr>
          <a:xfrm>
            <a:off x="465776" y="3372095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3" name="Group 44">
            <a:extLst>
              <a:ext uri="{FF2B5EF4-FFF2-40B4-BE49-F238E27FC236}">
                <a16:creationId xmlns:a16="http://schemas.microsoft.com/office/drawing/2014/main" id="{0CE1B0F0-D2AD-4D78-8BF6-8D5D0E79BA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36907" y="3373146"/>
            <a:ext cx="656158" cy="648893"/>
            <a:chOff x="2326" y="2390"/>
            <a:chExt cx="271" cy="268"/>
          </a:xfrm>
          <a:solidFill>
            <a:schemeClr val="bg2">
              <a:lumMod val="25000"/>
            </a:schemeClr>
          </a:solidFill>
        </p:grpSpPr>
        <p:sp>
          <p:nvSpPr>
            <p:cNvPr id="34" name="Freeform 45">
              <a:extLst>
                <a:ext uri="{FF2B5EF4-FFF2-40B4-BE49-F238E27FC236}">
                  <a16:creationId xmlns:a16="http://schemas.microsoft.com/office/drawing/2014/main" id="{4C43C236-138B-4093-B6F7-7CEA1F80C5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6" y="2390"/>
              <a:ext cx="271" cy="268"/>
            </a:xfrm>
            <a:custGeom>
              <a:avLst/>
              <a:gdLst>
                <a:gd name="T0" fmla="*/ 8533 w 8533"/>
                <a:gd name="T1" fmla="*/ 5179 h 8434"/>
                <a:gd name="T2" fmla="*/ 7300 w 8533"/>
                <a:gd name="T3" fmla="*/ 3267 h 8434"/>
                <a:gd name="T4" fmla="*/ 5463 w 8533"/>
                <a:gd name="T5" fmla="*/ 1136 h 8434"/>
                <a:gd name="T6" fmla="*/ 5661 w 8533"/>
                <a:gd name="T7" fmla="*/ 1386 h 8434"/>
                <a:gd name="T8" fmla="*/ 6780 w 8533"/>
                <a:gd name="T9" fmla="*/ 2784 h 8434"/>
                <a:gd name="T10" fmla="*/ 5577 w 8533"/>
                <a:gd name="T11" fmla="*/ 1614 h 8434"/>
                <a:gd name="T12" fmla="*/ 4572 w 8533"/>
                <a:gd name="T13" fmla="*/ 2058 h 8434"/>
                <a:gd name="T14" fmla="*/ 3871 w 8533"/>
                <a:gd name="T15" fmla="*/ 2011 h 8434"/>
                <a:gd name="T16" fmla="*/ 1753 w 8533"/>
                <a:gd name="T17" fmla="*/ 2784 h 8434"/>
                <a:gd name="T18" fmla="*/ 2873 w 8533"/>
                <a:gd name="T19" fmla="*/ 1386 h 8434"/>
                <a:gd name="T20" fmla="*/ 4268 w 8533"/>
                <a:gd name="T21" fmla="*/ 1386 h 8434"/>
                <a:gd name="T22" fmla="*/ 4908 w 8533"/>
                <a:gd name="T23" fmla="*/ 1136 h 8434"/>
                <a:gd name="T24" fmla="*/ 4648 w 8533"/>
                <a:gd name="T25" fmla="*/ 386 h 8434"/>
                <a:gd name="T26" fmla="*/ 3885 w 8533"/>
                <a:gd name="T27" fmla="*/ 381 h 8434"/>
                <a:gd name="T28" fmla="*/ 4142 w 8533"/>
                <a:gd name="T29" fmla="*/ 1136 h 8434"/>
                <a:gd name="T30" fmla="*/ 1233 w 8533"/>
                <a:gd name="T31" fmla="*/ 3267 h 8434"/>
                <a:gd name="T32" fmla="*/ 910 w 8533"/>
                <a:gd name="T33" fmla="*/ 6091 h 8434"/>
                <a:gd name="T34" fmla="*/ 2717 w 8533"/>
                <a:gd name="T35" fmla="*/ 5182 h 8434"/>
                <a:gd name="T36" fmla="*/ 2716 w 8533"/>
                <a:gd name="T37" fmla="*/ 5170 h 8434"/>
                <a:gd name="T38" fmla="*/ 2003 w 8533"/>
                <a:gd name="T39" fmla="*/ 2784 h 8434"/>
                <a:gd name="T40" fmla="*/ 3695 w 8533"/>
                <a:gd name="T41" fmla="*/ 2189 h 8434"/>
                <a:gd name="T42" fmla="*/ 4142 w 8533"/>
                <a:gd name="T43" fmla="*/ 2440 h 8434"/>
                <a:gd name="T44" fmla="*/ 2895 w 8533"/>
                <a:gd name="T45" fmla="*/ 7723 h 8434"/>
                <a:gd name="T46" fmla="*/ 1830 w 8533"/>
                <a:gd name="T47" fmla="*/ 8434 h 8434"/>
                <a:gd name="T48" fmla="*/ 6242 w 8533"/>
                <a:gd name="T49" fmla="*/ 7723 h 8434"/>
                <a:gd name="T50" fmla="*/ 4392 w 8533"/>
                <a:gd name="T51" fmla="*/ 7262 h 8434"/>
                <a:gd name="T52" fmla="*/ 4794 w 8533"/>
                <a:gd name="T53" fmla="*/ 2187 h 8434"/>
                <a:gd name="T54" fmla="*/ 6530 w 8533"/>
                <a:gd name="T55" fmla="*/ 2771 h 8434"/>
                <a:gd name="T56" fmla="*/ 5868 w 8533"/>
                <a:gd name="T57" fmla="*/ 5074 h 8434"/>
                <a:gd name="T58" fmla="*/ 7624 w 8533"/>
                <a:gd name="T59" fmla="*/ 6091 h 8434"/>
                <a:gd name="T60" fmla="*/ 4135 w 8533"/>
                <a:gd name="T61" fmla="*/ 381 h 8434"/>
                <a:gd name="T62" fmla="*/ 4398 w 8533"/>
                <a:gd name="T63" fmla="*/ 386 h 8434"/>
                <a:gd name="T64" fmla="*/ 4135 w 8533"/>
                <a:gd name="T65" fmla="*/ 381 h 8434"/>
                <a:gd name="T66" fmla="*/ 371 w 8533"/>
                <a:gd name="T67" fmla="*/ 5042 h 8434"/>
                <a:gd name="T68" fmla="*/ 910 w 8533"/>
                <a:gd name="T69" fmla="*/ 5841 h 8434"/>
                <a:gd name="T70" fmla="*/ 1807 w 8533"/>
                <a:gd name="T71" fmla="*/ 5841 h 8434"/>
                <a:gd name="T72" fmla="*/ 3783 w 8533"/>
                <a:gd name="T73" fmla="*/ 7848 h 8434"/>
                <a:gd name="T74" fmla="*/ 6554 w 8533"/>
                <a:gd name="T75" fmla="*/ 8184 h 8434"/>
                <a:gd name="T76" fmla="*/ 3433 w 8533"/>
                <a:gd name="T77" fmla="*/ 7973 h 8434"/>
                <a:gd name="T78" fmla="*/ 3156 w 8533"/>
                <a:gd name="T79" fmla="*/ 7723 h 8434"/>
                <a:gd name="T80" fmla="*/ 4267 w 8533"/>
                <a:gd name="T81" fmla="*/ 7512 h 8434"/>
                <a:gd name="T82" fmla="*/ 5378 w 8533"/>
                <a:gd name="T83" fmla="*/ 7723 h 8434"/>
                <a:gd name="T84" fmla="*/ 7175 w 8533"/>
                <a:gd name="T85" fmla="*/ 3532 h 8434"/>
                <a:gd name="T86" fmla="*/ 6726 w 8533"/>
                <a:gd name="T87" fmla="*/ 5841 h 8434"/>
                <a:gd name="T88" fmla="*/ 7624 w 8533"/>
                <a:gd name="T89" fmla="*/ 5841 h 8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533" h="8434">
                  <a:moveTo>
                    <a:pt x="8533" y="5183"/>
                  </a:moveTo>
                  <a:lnTo>
                    <a:pt x="8533" y="5182"/>
                  </a:lnTo>
                  <a:cubicBezTo>
                    <a:pt x="8533" y="5181"/>
                    <a:pt x="8533" y="5180"/>
                    <a:pt x="8533" y="5179"/>
                  </a:cubicBezTo>
                  <a:cubicBezTo>
                    <a:pt x="8533" y="5176"/>
                    <a:pt x="8533" y="5173"/>
                    <a:pt x="8533" y="5170"/>
                  </a:cubicBezTo>
                  <a:cubicBezTo>
                    <a:pt x="8530" y="5138"/>
                    <a:pt x="8516" y="5108"/>
                    <a:pt x="8495" y="5086"/>
                  </a:cubicBezTo>
                  <a:lnTo>
                    <a:pt x="7300" y="3267"/>
                  </a:lnTo>
                  <a:lnTo>
                    <a:pt x="7300" y="2775"/>
                  </a:lnTo>
                  <a:cubicBezTo>
                    <a:pt x="7300" y="1871"/>
                    <a:pt x="6565" y="1136"/>
                    <a:pt x="5661" y="1136"/>
                  </a:cubicBezTo>
                  <a:lnTo>
                    <a:pt x="5463" y="1136"/>
                  </a:lnTo>
                  <a:cubicBezTo>
                    <a:pt x="5393" y="1136"/>
                    <a:pt x="5338" y="1192"/>
                    <a:pt x="5338" y="1261"/>
                  </a:cubicBezTo>
                  <a:cubicBezTo>
                    <a:pt x="5338" y="1330"/>
                    <a:pt x="5393" y="1386"/>
                    <a:pt x="5463" y="1386"/>
                  </a:cubicBezTo>
                  <a:lnTo>
                    <a:pt x="5661" y="1386"/>
                  </a:lnTo>
                  <a:cubicBezTo>
                    <a:pt x="6427" y="1386"/>
                    <a:pt x="7050" y="2009"/>
                    <a:pt x="7050" y="2775"/>
                  </a:cubicBezTo>
                  <a:lnTo>
                    <a:pt x="7050" y="3159"/>
                  </a:lnTo>
                  <a:cubicBezTo>
                    <a:pt x="6893" y="3106"/>
                    <a:pt x="6780" y="2958"/>
                    <a:pt x="6780" y="2784"/>
                  </a:cubicBezTo>
                  <a:lnTo>
                    <a:pt x="6780" y="2771"/>
                  </a:lnTo>
                  <a:cubicBezTo>
                    <a:pt x="6780" y="2133"/>
                    <a:pt x="6261" y="1614"/>
                    <a:pt x="5622" y="1614"/>
                  </a:cubicBezTo>
                  <a:lnTo>
                    <a:pt x="5577" y="1614"/>
                  </a:lnTo>
                  <a:cubicBezTo>
                    <a:pt x="5214" y="1614"/>
                    <a:pt x="4872" y="1755"/>
                    <a:pt x="4616" y="2012"/>
                  </a:cubicBezTo>
                  <a:cubicBezTo>
                    <a:pt x="4615" y="2013"/>
                    <a:pt x="4614" y="2014"/>
                    <a:pt x="4613" y="2015"/>
                  </a:cubicBezTo>
                  <a:lnTo>
                    <a:pt x="4572" y="2058"/>
                  </a:lnTo>
                  <a:cubicBezTo>
                    <a:pt x="4490" y="2145"/>
                    <a:pt x="4378" y="2195"/>
                    <a:pt x="4258" y="2198"/>
                  </a:cubicBezTo>
                  <a:cubicBezTo>
                    <a:pt x="4137" y="2201"/>
                    <a:pt x="4023" y="2157"/>
                    <a:pt x="3936" y="2074"/>
                  </a:cubicBezTo>
                  <a:lnTo>
                    <a:pt x="3871" y="2011"/>
                  </a:lnTo>
                  <a:cubicBezTo>
                    <a:pt x="3614" y="1755"/>
                    <a:pt x="3274" y="1614"/>
                    <a:pt x="2911" y="1614"/>
                  </a:cubicBezTo>
                  <a:cubicBezTo>
                    <a:pt x="2273" y="1614"/>
                    <a:pt x="1753" y="2133"/>
                    <a:pt x="1753" y="2771"/>
                  </a:cubicBezTo>
                  <a:lnTo>
                    <a:pt x="1753" y="2784"/>
                  </a:lnTo>
                  <a:cubicBezTo>
                    <a:pt x="1753" y="2958"/>
                    <a:pt x="1640" y="3106"/>
                    <a:pt x="1483" y="3159"/>
                  </a:cubicBezTo>
                  <a:lnTo>
                    <a:pt x="1483" y="2775"/>
                  </a:lnTo>
                  <a:cubicBezTo>
                    <a:pt x="1483" y="2009"/>
                    <a:pt x="2107" y="1386"/>
                    <a:pt x="2873" y="1386"/>
                  </a:cubicBezTo>
                  <a:lnTo>
                    <a:pt x="4265" y="1386"/>
                  </a:lnTo>
                  <a:cubicBezTo>
                    <a:pt x="4266" y="1386"/>
                    <a:pt x="4266" y="1386"/>
                    <a:pt x="4267" y="1386"/>
                  </a:cubicBezTo>
                  <a:cubicBezTo>
                    <a:pt x="4267" y="1386"/>
                    <a:pt x="4268" y="1386"/>
                    <a:pt x="4268" y="1386"/>
                  </a:cubicBezTo>
                  <a:lnTo>
                    <a:pt x="4908" y="1386"/>
                  </a:lnTo>
                  <a:cubicBezTo>
                    <a:pt x="4977" y="1386"/>
                    <a:pt x="5033" y="1330"/>
                    <a:pt x="5033" y="1261"/>
                  </a:cubicBezTo>
                  <a:cubicBezTo>
                    <a:pt x="5033" y="1192"/>
                    <a:pt x="4977" y="1136"/>
                    <a:pt x="4908" y="1136"/>
                  </a:cubicBezTo>
                  <a:lnTo>
                    <a:pt x="4392" y="1136"/>
                  </a:lnTo>
                  <a:lnTo>
                    <a:pt x="4392" y="746"/>
                  </a:lnTo>
                  <a:cubicBezTo>
                    <a:pt x="4541" y="694"/>
                    <a:pt x="4648" y="553"/>
                    <a:pt x="4648" y="386"/>
                  </a:cubicBezTo>
                  <a:lnTo>
                    <a:pt x="4648" y="381"/>
                  </a:lnTo>
                  <a:cubicBezTo>
                    <a:pt x="4648" y="171"/>
                    <a:pt x="4477" y="0"/>
                    <a:pt x="4267" y="0"/>
                  </a:cubicBezTo>
                  <a:cubicBezTo>
                    <a:pt x="4056" y="0"/>
                    <a:pt x="3885" y="171"/>
                    <a:pt x="3885" y="381"/>
                  </a:cubicBezTo>
                  <a:lnTo>
                    <a:pt x="3885" y="386"/>
                  </a:lnTo>
                  <a:cubicBezTo>
                    <a:pt x="3885" y="553"/>
                    <a:pt x="3993" y="694"/>
                    <a:pt x="4142" y="746"/>
                  </a:cubicBezTo>
                  <a:lnTo>
                    <a:pt x="4142" y="1136"/>
                  </a:lnTo>
                  <a:lnTo>
                    <a:pt x="2873" y="1136"/>
                  </a:lnTo>
                  <a:cubicBezTo>
                    <a:pt x="1969" y="1136"/>
                    <a:pt x="1233" y="1871"/>
                    <a:pt x="1233" y="2775"/>
                  </a:cubicBezTo>
                  <a:lnTo>
                    <a:pt x="1233" y="3267"/>
                  </a:lnTo>
                  <a:lnTo>
                    <a:pt x="51" y="5074"/>
                  </a:lnTo>
                  <a:cubicBezTo>
                    <a:pt x="20" y="5100"/>
                    <a:pt x="0" y="5138"/>
                    <a:pt x="0" y="5182"/>
                  </a:cubicBezTo>
                  <a:cubicBezTo>
                    <a:pt x="0" y="5683"/>
                    <a:pt x="408" y="6091"/>
                    <a:pt x="910" y="6091"/>
                  </a:cubicBezTo>
                  <a:lnTo>
                    <a:pt x="1807" y="6091"/>
                  </a:lnTo>
                  <a:cubicBezTo>
                    <a:pt x="2308" y="6091"/>
                    <a:pt x="2715" y="5685"/>
                    <a:pt x="2717" y="5185"/>
                  </a:cubicBezTo>
                  <a:cubicBezTo>
                    <a:pt x="2717" y="5184"/>
                    <a:pt x="2717" y="5183"/>
                    <a:pt x="2717" y="5182"/>
                  </a:cubicBezTo>
                  <a:lnTo>
                    <a:pt x="2717" y="5182"/>
                  </a:lnTo>
                  <a:cubicBezTo>
                    <a:pt x="2717" y="5181"/>
                    <a:pt x="2717" y="5180"/>
                    <a:pt x="2717" y="5179"/>
                  </a:cubicBezTo>
                  <a:cubicBezTo>
                    <a:pt x="2716" y="5176"/>
                    <a:pt x="2716" y="5173"/>
                    <a:pt x="2716" y="5170"/>
                  </a:cubicBezTo>
                  <a:cubicBezTo>
                    <a:pt x="2713" y="5137"/>
                    <a:pt x="2699" y="5108"/>
                    <a:pt x="2678" y="5086"/>
                  </a:cubicBezTo>
                  <a:lnTo>
                    <a:pt x="1567" y="3394"/>
                  </a:lnTo>
                  <a:cubicBezTo>
                    <a:pt x="1821" y="3307"/>
                    <a:pt x="2003" y="3067"/>
                    <a:pt x="2003" y="2784"/>
                  </a:cubicBezTo>
                  <a:lnTo>
                    <a:pt x="2003" y="2771"/>
                  </a:lnTo>
                  <a:cubicBezTo>
                    <a:pt x="2003" y="2271"/>
                    <a:pt x="2410" y="1864"/>
                    <a:pt x="2911" y="1864"/>
                  </a:cubicBezTo>
                  <a:cubicBezTo>
                    <a:pt x="3207" y="1864"/>
                    <a:pt x="3486" y="1979"/>
                    <a:pt x="3695" y="2189"/>
                  </a:cubicBezTo>
                  <a:cubicBezTo>
                    <a:pt x="3696" y="2189"/>
                    <a:pt x="3696" y="2190"/>
                    <a:pt x="3697" y="2190"/>
                  </a:cubicBezTo>
                  <a:lnTo>
                    <a:pt x="3763" y="2254"/>
                  </a:lnTo>
                  <a:cubicBezTo>
                    <a:pt x="3868" y="2355"/>
                    <a:pt x="4000" y="2419"/>
                    <a:pt x="4142" y="2440"/>
                  </a:cubicBezTo>
                  <a:lnTo>
                    <a:pt x="4142" y="7262"/>
                  </a:lnTo>
                  <a:lnTo>
                    <a:pt x="3467" y="7262"/>
                  </a:lnTo>
                  <a:cubicBezTo>
                    <a:pt x="3187" y="7262"/>
                    <a:pt x="2952" y="7460"/>
                    <a:pt x="2895" y="7723"/>
                  </a:cubicBezTo>
                  <a:lnTo>
                    <a:pt x="2292" y="7723"/>
                  </a:lnTo>
                  <a:cubicBezTo>
                    <a:pt x="1968" y="7723"/>
                    <a:pt x="1705" y="7986"/>
                    <a:pt x="1705" y="8309"/>
                  </a:cubicBezTo>
                  <a:cubicBezTo>
                    <a:pt x="1705" y="8378"/>
                    <a:pt x="1761" y="8434"/>
                    <a:pt x="1830" y="8434"/>
                  </a:cubicBezTo>
                  <a:lnTo>
                    <a:pt x="6703" y="8434"/>
                  </a:lnTo>
                  <a:cubicBezTo>
                    <a:pt x="6772" y="8434"/>
                    <a:pt x="6828" y="8378"/>
                    <a:pt x="6828" y="8309"/>
                  </a:cubicBezTo>
                  <a:cubicBezTo>
                    <a:pt x="6828" y="7986"/>
                    <a:pt x="6565" y="7723"/>
                    <a:pt x="6242" y="7723"/>
                  </a:cubicBezTo>
                  <a:lnTo>
                    <a:pt x="5638" y="7723"/>
                  </a:lnTo>
                  <a:cubicBezTo>
                    <a:pt x="5581" y="7460"/>
                    <a:pt x="5346" y="7262"/>
                    <a:pt x="5066" y="7262"/>
                  </a:cubicBezTo>
                  <a:lnTo>
                    <a:pt x="4392" y="7262"/>
                  </a:lnTo>
                  <a:lnTo>
                    <a:pt x="4392" y="2433"/>
                  </a:lnTo>
                  <a:cubicBezTo>
                    <a:pt x="4530" y="2404"/>
                    <a:pt x="4655" y="2334"/>
                    <a:pt x="4754" y="2229"/>
                  </a:cubicBezTo>
                  <a:lnTo>
                    <a:pt x="4794" y="2187"/>
                  </a:lnTo>
                  <a:cubicBezTo>
                    <a:pt x="5003" y="1979"/>
                    <a:pt x="5281" y="1864"/>
                    <a:pt x="5577" y="1864"/>
                  </a:cubicBezTo>
                  <a:lnTo>
                    <a:pt x="5622" y="1864"/>
                  </a:lnTo>
                  <a:cubicBezTo>
                    <a:pt x="6123" y="1864"/>
                    <a:pt x="6530" y="2271"/>
                    <a:pt x="6530" y="2771"/>
                  </a:cubicBezTo>
                  <a:lnTo>
                    <a:pt x="6530" y="2784"/>
                  </a:lnTo>
                  <a:cubicBezTo>
                    <a:pt x="6530" y="3067"/>
                    <a:pt x="6713" y="3307"/>
                    <a:pt x="6967" y="3394"/>
                  </a:cubicBezTo>
                  <a:lnTo>
                    <a:pt x="5868" y="5074"/>
                  </a:lnTo>
                  <a:cubicBezTo>
                    <a:pt x="5837" y="5100"/>
                    <a:pt x="5817" y="5138"/>
                    <a:pt x="5817" y="5182"/>
                  </a:cubicBezTo>
                  <a:cubicBezTo>
                    <a:pt x="5817" y="5683"/>
                    <a:pt x="6225" y="6091"/>
                    <a:pt x="6726" y="6091"/>
                  </a:cubicBezTo>
                  <a:lnTo>
                    <a:pt x="7624" y="6091"/>
                  </a:lnTo>
                  <a:cubicBezTo>
                    <a:pt x="8124" y="6091"/>
                    <a:pt x="8532" y="5685"/>
                    <a:pt x="8533" y="5185"/>
                  </a:cubicBezTo>
                  <a:cubicBezTo>
                    <a:pt x="8533" y="5184"/>
                    <a:pt x="8533" y="5183"/>
                    <a:pt x="8533" y="5183"/>
                  </a:cubicBezTo>
                  <a:close/>
                  <a:moveTo>
                    <a:pt x="4135" y="381"/>
                  </a:moveTo>
                  <a:cubicBezTo>
                    <a:pt x="4135" y="309"/>
                    <a:pt x="4194" y="250"/>
                    <a:pt x="4267" y="250"/>
                  </a:cubicBezTo>
                  <a:cubicBezTo>
                    <a:pt x="4339" y="250"/>
                    <a:pt x="4398" y="309"/>
                    <a:pt x="4398" y="381"/>
                  </a:cubicBezTo>
                  <a:lnTo>
                    <a:pt x="4398" y="386"/>
                  </a:lnTo>
                  <a:cubicBezTo>
                    <a:pt x="4398" y="459"/>
                    <a:pt x="4339" y="517"/>
                    <a:pt x="4267" y="517"/>
                  </a:cubicBezTo>
                  <a:cubicBezTo>
                    <a:pt x="4194" y="517"/>
                    <a:pt x="4135" y="459"/>
                    <a:pt x="4135" y="386"/>
                  </a:cubicBezTo>
                  <a:lnTo>
                    <a:pt x="4135" y="381"/>
                  </a:lnTo>
                  <a:close/>
                  <a:moveTo>
                    <a:pt x="1359" y="3532"/>
                  </a:moveTo>
                  <a:lnTo>
                    <a:pt x="2351" y="5042"/>
                  </a:lnTo>
                  <a:lnTo>
                    <a:pt x="371" y="5042"/>
                  </a:lnTo>
                  <a:lnTo>
                    <a:pt x="1359" y="3532"/>
                  </a:lnTo>
                  <a:close/>
                  <a:moveTo>
                    <a:pt x="1807" y="5841"/>
                  </a:moveTo>
                  <a:lnTo>
                    <a:pt x="910" y="5841"/>
                  </a:lnTo>
                  <a:cubicBezTo>
                    <a:pt x="584" y="5841"/>
                    <a:pt x="312" y="5604"/>
                    <a:pt x="259" y="5292"/>
                  </a:cubicBezTo>
                  <a:lnTo>
                    <a:pt x="2457" y="5292"/>
                  </a:lnTo>
                  <a:cubicBezTo>
                    <a:pt x="2405" y="5604"/>
                    <a:pt x="2133" y="5841"/>
                    <a:pt x="1807" y="5841"/>
                  </a:cubicBezTo>
                  <a:close/>
                  <a:moveTo>
                    <a:pt x="5378" y="7723"/>
                  </a:moveTo>
                  <a:lnTo>
                    <a:pt x="3908" y="7723"/>
                  </a:lnTo>
                  <a:cubicBezTo>
                    <a:pt x="3839" y="7723"/>
                    <a:pt x="3783" y="7779"/>
                    <a:pt x="3783" y="7848"/>
                  </a:cubicBezTo>
                  <a:cubicBezTo>
                    <a:pt x="3783" y="7917"/>
                    <a:pt x="3839" y="7973"/>
                    <a:pt x="3908" y="7973"/>
                  </a:cubicBezTo>
                  <a:lnTo>
                    <a:pt x="6242" y="7973"/>
                  </a:lnTo>
                  <a:cubicBezTo>
                    <a:pt x="6383" y="7973"/>
                    <a:pt x="6504" y="8060"/>
                    <a:pt x="6554" y="8184"/>
                  </a:cubicBezTo>
                  <a:lnTo>
                    <a:pt x="1980" y="8184"/>
                  </a:lnTo>
                  <a:cubicBezTo>
                    <a:pt x="2029" y="8060"/>
                    <a:pt x="2150" y="7973"/>
                    <a:pt x="2292" y="7973"/>
                  </a:cubicBezTo>
                  <a:lnTo>
                    <a:pt x="3433" y="7973"/>
                  </a:lnTo>
                  <a:cubicBezTo>
                    <a:pt x="3502" y="7973"/>
                    <a:pt x="3558" y="7917"/>
                    <a:pt x="3558" y="7848"/>
                  </a:cubicBezTo>
                  <a:cubicBezTo>
                    <a:pt x="3558" y="7779"/>
                    <a:pt x="3502" y="7723"/>
                    <a:pt x="3433" y="7723"/>
                  </a:cubicBezTo>
                  <a:lnTo>
                    <a:pt x="3156" y="7723"/>
                  </a:lnTo>
                  <a:cubicBezTo>
                    <a:pt x="3205" y="7599"/>
                    <a:pt x="3326" y="7512"/>
                    <a:pt x="3467" y="7512"/>
                  </a:cubicBezTo>
                  <a:lnTo>
                    <a:pt x="4266" y="7512"/>
                  </a:lnTo>
                  <a:cubicBezTo>
                    <a:pt x="4266" y="7512"/>
                    <a:pt x="4266" y="7512"/>
                    <a:pt x="4267" y="7512"/>
                  </a:cubicBezTo>
                  <a:cubicBezTo>
                    <a:pt x="4267" y="7512"/>
                    <a:pt x="4267" y="7512"/>
                    <a:pt x="4268" y="7512"/>
                  </a:cubicBezTo>
                  <a:lnTo>
                    <a:pt x="5066" y="7512"/>
                  </a:lnTo>
                  <a:cubicBezTo>
                    <a:pt x="5207" y="7512"/>
                    <a:pt x="5328" y="7599"/>
                    <a:pt x="5378" y="7723"/>
                  </a:cubicBezTo>
                  <a:close/>
                  <a:moveTo>
                    <a:pt x="8167" y="5042"/>
                  </a:moveTo>
                  <a:lnTo>
                    <a:pt x="6187" y="5042"/>
                  </a:lnTo>
                  <a:lnTo>
                    <a:pt x="7175" y="3532"/>
                  </a:lnTo>
                  <a:lnTo>
                    <a:pt x="8167" y="5042"/>
                  </a:lnTo>
                  <a:close/>
                  <a:moveTo>
                    <a:pt x="7624" y="5841"/>
                  </a:moveTo>
                  <a:lnTo>
                    <a:pt x="6726" y="5841"/>
                  </a:lnTo>
                  <a:cubicBezTo>
                    <a:pt x="6400" y="5841"/>
                    <a:pt x="6129" y="5604"/>
                    <a:pt x="6076" y="5292"/>
                  </a:cubicBezTo>
                  <a:lnTo>
                    <a:pt x="8274" y="5292"/>
                  </a:lnTo>
                  <a:cubicBezTo>
                    <a:pt x="8221" y="5604"/>
                    <a:pt x="7950" y="5841"/>
                    <a:pt x="7624" y="5841"/>
                  </a:cubicBezTo>
                  <a:close/>
                  <a:moveTo>
                    <a:pt x="7624" y="584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46">
              <a:extLst>
                <a:ext uri="{FF2B5EF4-FFF2-40B4-BE49-F238E27FC236}">
                  <a16:creationId xmlns:a16="http://schemas.microsoft.com/office/drawing/2014/main" id="{A9552565-5609-4599-B9FD-7D4C3B5D14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8" y="2441"/>
              <a:ext cx="8" cy="8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250 w 250"/>
                <a:gd name="T11" fmla="*/ 12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250" y="12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118064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2C6541-2A31-4E7F-B834-4CE389EA3A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4400" dirty="0" err="1"/>
              <a:t>Турли</a:t>
            </a:r>
            <a:r>
              <a:rPr lang="ru-RU" sz="4400" dirty="0"/>
              <a:t> </a:t>
            </a:r>
            <a:r>
              <a:rPr lang="ru-RU" sz="4400" dirty="0" err="1"/>
              <a:t>мамлакатлар</a:t>
            </a:r>
            <a:r>
              <a:rPr lang="ru-RU" sz="4400" dirty="0"/>
              <a:t>, </a:t>
            </a:r>
            <a:r>
              <a:rPr lang="ru-RU" sz="4400" dirty="0" err="1"/>
              <a:t>иқтисодиёт</a:t>
            </a:r>
            <a:r>
              <a:rPr lang="ru-RU" sz="4400" dirty="0"/>
              <a:t> </a:t>
            </a:r>
            <a:r>
              <a:rPr lang="ru-RU" sz="4400" dirty="0" err="1"/>
              <a:t>тармоқлари</a:t>
            </a:r>
            <a:r>
              <a:rPr lang="ru-RU" sz="4400" dirty="0"/>
              <a:t>, </a:t>
            </a:r>
            <a:r>
              <a:rPr lang="ru-RU" sz="4400" dirty="0" err="1"/>
              <a:t>фаолият</a:t>
            </a:r>
            <a:r>
              <a:rPr lang="ru-RU" sz="4400" dirty="0"/>
              <a:t> </a:t>
            </a:r>
            <a:r>
              <a:rPr lang="ru-RU" sz="4400" dirty="0" err="1"/>
              <a:t>соҳаларида</a:t>
            </a:r>
            <a:r>
              <a:rPr lang="ru-RU" sz="4400" dirty="0"/>
              <a:t> коррупция </a:t>
            </a:r>
            <a:r>
              <a:rPr lang="ru-RU" sz="4400" dirty="0" err="1"/>
              <a:t>даражаси</a:t>
            </a:r>
            <a:r>
              <a:rPr lang="ru-RU" sz="4400" dirty="0"/>
              <a:t> </a:t>
            </a:r>
            <a:r>
              <a:rPr lang="ru-RU" sz="4400" dirty="0" err="1"/>
              <a:t>бўйича</a:t>
            </a:r>
            <a:r>
              <a:rPr lang="ru-RU" sz="4400" dirty="0"/>
              <a:t> </a:t>
            </a:r>
            <a:r>
              <a:rPr lang="ru-RU" sz="4400" dirty="0" err="1"/>
              <a:t>халқаро</a:t>
            </a:r>
            <a:r>
              <a:rPr lang="ru-RU" sz="4400" dirty="0"/>
              <a:t> </a:t>
            </a:r>
            <a:r>
              <a:rPr lang="ru-RU" sz="4400" dirty="0" err="1"/>
              <a:t>тадқиқотлар</a:t>
            </a:r>
            <a:endParaRPr lang="en-US" sz="44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EE0174C-B42B-4279-A654-0497B7B9D41F}"/>
              </a:ext>
            </a:extLst>
          </p:cNvPr>
          <p:cNvSpPr txBox="1">
            <a:spLocks/>
          </p:cNvSpPr>
          <p:nvPr/>
        </p:nvSpPr>
        <p:spPr>
          <a:xfrm>
            <a:off x="350378" y="5223794"/>
            <a:ext cx="2020192" cy="15216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9600" b="1" dirty="0">
                <a:solidFill>
                  <a:srgbClr val="1BD7D3"/>
                </a:solidFill>
                <a:latin typeface="Arial Black" panose="020B0A04020102020204" pitchFamily="34" charset="0"/>
              </a:rPr>
              <a:t>8.</a:t>
            </a:r>
            <a:endParaRPr lang="en-US" sz="9600" b="1" dirty="0">
              <a:solidFill>
                <a:srgbClr val="1BD7D3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9850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A1F237-3BBF-4AFA-9766-6273E27592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584855" cy="1521626"/>
          </a:xfrm>
        </p:spPr>
        <p:txBody>
          <a:bodyPr>
            <a:noAutofit/>
          </a:bodyPr>
          <a:lstStyle/>
          <a:p>
            <a:r>
              <a:rPr lang="ru-RU" sz="4400" dirty="0"/>
              <a:t>Коррупция </a:t>
            </a:r>
            <a:r>
              <a:rPr lang="ru-RU" sz="4400" dirty="0" err="1"/>
              <a:t>тушунчаси</a:t>
            </a:r>
            <a:r>
              <a:rPr lang="ru-RU" sz="4400" dirty="0"/>
              <a:t> </a:t>
            </a:r>
            <a:r>
              <a:rPr lang="ru-RU" sz="4400" dirty="0" err="1"/>
              <a:t>бўйича</a:t>
            </a:r>
            <a:r>
              <a:rPr lang="ru-RU" sz="4400" dirty="0"/>
              <a:t> </a:t>
            </a:r>
            <a:r>
              <a:rPr lang="ru-RU" sz="4400" dirty="0" err="1"/>
              <a:t>асосий</a:t>
            </a:r>
            <a:r>
              <a:rPr lang="ru-RU" sz="4400" dirty="0"/>
              <a:t> </a:t>
            </a:r>
            <a:r>
              <a:rPr lang="ru-RU" sz="4400" dirty="0" err="1"/>
              <a:t>концепциялар</a:t>
            </a:r>
            <a:endParaRPr lang="en-US" sz="4100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F7E116A-5677-46CC-BDC6-704F37249A21}"/>
              </a:ext>
            </a:extLst>
          </p:cNvPr>
          <p:cNvSpPr txBox="1">
            <a:spLocks/>
          </p:cNvSpPr>
          <p:nvPr/>
        </p:nvSpPr>
        <p:spPr>
          <a:xfrm>
            <a:off x="350378" y="5223794"/>
            <a:ext cx="2020192" cy="15216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9600" b="1" dirty="0">
                <a:solidFill>
                  <a:srgbClr val="1BD7D3"/>
                </a:solidFill>
                <a:latin typeface="Arial Black" panose="020B0A04020102020204" pitchFamily="34" charset="0"/>
              </a:rPr>
              <a:t>1.</a:t>
            </a:r>
            <a:endParaRPr lang="en-US" sz="9600" b="1" dirty="0">
              <a:solidFill>
                <a:srgbClr val="1BD7D3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51122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itle 12">
            <a:extLst>
              <a:ext uri="{FF2B5EF4-FFF2-40B4-BE49-F238E27FC236}">
                <a16:creationId xmlns:a16="http://schemas.microsoft.com/office/drawing/2014/main" id="{084E6610-7197-4400-BBCD-15DC2006C5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parency International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22C5B75-BD78-4C2A-B0F4-5C2954B1C9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7350" y="5739049"/>
            <a:ext cx="3972845" cy="723600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3034BFA-F43C-4598-B294-FB201C5AD123}"/>
              </a:ext>
            </a:extLst>
          </p:cNvPr>
          <p:cNvSpPr txBox="1">
            <a:spLocks/>
          </p:cNvSpPr>
          <p:nvPr/>
        </p:nvSpPr>
        <p:spPr>
          <a:xfrm>
            <a:off x="2731909" y="1715046"/>
            <a:ext cx="8728403" cy="43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400" dirty="0" err="1"/>
              <a:t>бу</a:t>
            </a:r>
            <a:r>
              <a:rPr lang="ru-RU" sz="1400" dirty="0"/>
              <a:t> </a:t>
            </a:r>
            <a:r>
              <a:rPr lang="ru-RU" sz="1400" dirty="0" err="1"/>
              <a:t>коррупцияга</a:t>
            </a:r>
            <a:r>
              <a:rPr lang="ru-RU" sz="1400" dirty="0"/>
              <a:t> </a:t>
            </a:r>
            <a:r>
              <a:rPr lang="ru-RU" sz="1400" dirty="0" err="1"/>
              <a:t>қарши</a:t>
            </a:r>
            <a:r>
              <a:rPr lang="ru-RU" sz="1400" dirty="0"/>
              <a:t> </a:t>
            </a:r>
            <a:r>
              <a:rPr lang="ru-RU" sz="1400" dirty="0" err="1"/>
              <a:t>курашиш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бутун</a:t>
            </a:r>
            <a:r>
              <a:rPr lang="ru-RU" sz="1400" dirty="0"/>
              <a:t> </a:t>
            </a:r>
            <a:r>
              <a:rPr lang="ru-RU" sz="1400" dirty="0" err="1"/>
              <a:t>дунё</a:t>
            </a:r>
            <a:r>
              <a:rPr lang="ru-RU" sz="1400" dirty="0"/>
              <a:t> </a:t>
            </a:r>
            <a:r>
              <a:rPr lang="ru-RU" sz="1400" dirty="0" err="1"/>
              <a:t>бўйлаб</a:t>
            </a:r>
            <a:r>
              <a:rPr lang="ru-RU" sz="1400" dirty="0"/>
              <a:t> коррупция </a:t>
            </a:r>
            <a:r>
              <a:rPr lang="ru-RU" sz="1400" dirty="0" err="1"/>
              <a:t>даражасини</a:t>
            </a:r>
            <a:r>
              <a:rPr lang="ru-RU" sz="1400" dirty="0"/>
              <a:t> </a:t>
            </a:r>
            <a:r>
              <a:rPr lang="ru-RU" sz="1400" dirty="0" err="1"/>
              <a:t>ўрганиш</a:t>
            </a:r>
            <a:r>
              <a:rPr lang="ru-RU" sz="1400" dirty="0"/>
              <a:t> </a:t>
            </a:r>
            <a:r>
              <a:rPr lang="ru-RU" sz="1400" dirty="0" err="1"/>
              <a:t>бўйича</a:t>
            </a:r>
            <a:r>
              <a:rPr lang="ru-RU" sz="1400" dirty="0"/>
              <a:t> </a:t>
            </a:r>
            <a:r>
              <a:rPr lang="ru-RU" sz="1400" dirty="0" err="1"/>
              <a:t>нодавлат</a:t>
            </a:r>
            <a:r>
              <a:rPr lang="ru-RU" sz="1400" dirty="0"/>
              <a:t> </a:t>
            </a:r>
            <a:r>
              <a:rPr lang="ru-RU" sz="1400" dirty="0" err="1"/>
              <a:t>халқаро</a:t>
            </a:r>
            <a:r>
              <a:rPr lang="ru-RU" sz="1400" dirty="0"/>
              <a:t> </a:t>
            </a:r>
            <a:r>
              <a:rPr lang="ru-RU" sz="1400" dirty="0" err="1"/>
              <a:t>ташкилотдир</a:t>
            </a:r>
            <a:r>
              <a:rPr lang="ru-RU" sz="1400" dirty="0"/>
              <a:t>.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1F4D49-E8BE-42E7-8FEB-5437358DBA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7350" y="2161094"/>
            <a:ext cx="5732962" cy="345210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9251A37F-FD76-4727-B64E-9479FA9F7CBF}"/>
              </a:ext>
            </a:extLst>
          </p:cNvPr>
          <p:cNvSpPr/>
          <p:nvPr/>
        </p:nvSpPr>
        <p:spPr>
          <a:xfrm>
            <a:off x="431999" y="2432966"/>
            <a:ext cx="5141950" cy="1338828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 marL="0" lvl="1"/>
            <a:r>
              <a:rPr lang="en-US" sz="1400" dirty="0">
                <a:solidFill>
                  <a:schemeClr val="tx2"/>
                </a:solidFill>
              </a:rPr>
              <a:t>Transparency International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омон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узилган</a:t>
            </a:r>
            <a:r>
              <a:rPr lang="ru-RU" sz="1400" dirty="0">
                <a:solidFill>
                  <a:schemeClr val="tx2"/>
                </a:solidFill>
              </a:rPr>
              <a:t> 2021 </a:t>
            </a:r>
            <a:r>
              <a:rPr lang="ru-RU" sz="1400" dirty="0" err="1">
                <a:solidFill>
                  <a:schemeClr val="tx2"/>
                </a:solidFill>
              </a:rPr>
              <a:t>йи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дро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ндекс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ўра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Ўзбекистон</a:t>
            </a:r>
            <a:r>
              <a:rPr lang="ru-RU" sz="1400" dirty="0">
                <a:solidFill>
                  <a:schemeClr val="tx2"/>
                </a:solidFill>
              </a:rPr>
              <a:t> 28 балл </a:t>
            </a:r>
            <a:r>
              <a:rPr lang="ru-RU" sz="1400" dirty="0" err="1">
                <a:solidFill>
                  <a:schemeClr val="tx2"/>
                </a:solidFill>
              </a:rPr>
              <a:t>тўплад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180 та </a:t>
            </a:r>
            <a:r>
              <a:rPr lang="ru-RU" sz="1400" dirty="0" err="1">
                <a:solidFill>
                  <a:schemeClr val="tx2"/>
                </a:solidFill>
              </a:rPr>
              <a:t>мумки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ган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асида</a:t>
            </a:r>
            <a:r>
              <a:rPr lang="ru-RU" sz="1400" dirty="0">
                <a:solidFill>
                  <a:schemeClr val="tx2"/>
                </a:solidFill>
              </a:rPr>
              <a:t> 140-ўринни </a:t>
            </a:r>
            <a:r>
              <a:rPr lang="ru-RU" sz="1400" dirty="0" err="1">
                <a:solidFill>
                  <a:schemeClr val="tx2"/>
                </a:solidFill>
              </a:rPr>
              <a:t>эгаллад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шу </a:t>
            </a:r>
            <a:r>
              <a:rPr lang="ru-RU" sz="1400" dirty="0" err="1">
                <a:solidFill>
                  <a:schemeClr val="tx2"/>
                </a:solidFill>
              </a:rPr>
              <a:t>тариқ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рғизистон</a:t>
            </a:r>
            <a:r>
              <a:rPr lang="ru-RU" sz="1400" dirty="0">
                <a:solidFill>
                  <a:schemeClr val="tx2"/>
                </a:solidFill>
              </a:rPr>
              <a:t> (27 балл)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ожикистон</a:t>
            </a:r>
            <a:r>
              <a:rPr lang="ru-RU" sz="1400" dirty="0">
                <a:solidFill>
                  <a:schemeClr val="tx2"/>
                </a:solidFill>
              </a:rPr>
              <a:t> (25 балл) </a:t>
            </a:r>
            <a:r>
              <a:rPr lang="ru-RU" sz="1400" dirty="0" err="1">
                <a:solidFill>
                  <a:schemeClr val="tx2"/>
                </a:solidFill>
              </a:rPr>
              <a:t>каб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ўш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авлатлар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исбат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ях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ўрсаткич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амой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ди</a:t>
            </a:r>
            <a:r>
              <a:rPr lang="ru-RU" sz="1400" dirty="0">
                <a:solidFill>
                  <a:schemeClr val="tx2"/>
                </a:solidFill>
              </a:rPr>
              <a:t>. 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AB3ACED-83CC-461F-9580-F91DD86A739E}"/>
              </a:ext>
            </a:extLst>
          </p:cNvPr>
          <p:cNvSpPr/>
          <p:nvPr/>
        </p:nvSpPr>
        <p:spPr>
          <a:xfrm>
            <a:off x="1430959" y="6053055"/>
            <a:ext cx="350161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i="1" dirty="0" err="1">
                <a:solidFill>
                  <a:schemeClr val="bg1">
                    <a:lumMod val="50000"/>
                  </a:schemeClr>
                </a:solidFill>
              </a:rPr>
              <a:t>Манба</a:t>
            </a:r>
            <a:r>
              <a:rPr lang="ru-RU" sz="1050" i="1" dirty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en-US" sz="1050" i="1" dirty="0">
                <a:solidFill>
                  <a:schemeClr val="bg1">
                    <a:lumMod val="50000"/>
                  </a:schemeClr>
                </a:solidFill>
              </a:rPr>
              <a:t>https://www.transparency.org/en/cpi/2021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2D28C31-CA25-4138-8A29-C0D257B61292}"/>
              </a:ext>
            </a:extLst>
          </p:cNvPr>
          <p:cNvSpPr txBox="1">
            <a:spLocks/>
          </p:cNvSpPr>
          <p:nvPr/>
        </p:nvSpPr>
        <p:spPr>
          <a:xfrm>
            <a:off x="1122044" y="1173139"/>
            <a:ext cx="9566595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defRPr sz="1600" b="1">
                <a:solidFill>
                  <a:srgbClr val="49A9F6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>
                <a:solidFill>
                  <a:schemeClr val="tx2"/>
                </a:solidFill>
              </a:defRPr>
            </a:lvl2pPr>
            <a:lvl3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>
                <a:solidFill>
                  <a:schemeClr val="tx2"/>
                </a:solidFill>
              </a:defRPr>
            </a:lvl3pPr>
            <a:lvl4pPr marL="360000" indent="-144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4pPr>
            <a:lvl5pPr marL="57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baseline="0">
                <a:solidFill>
                  <a:schemeClr val="tx2"/>
                </a:solidFill>
              </a:defRPr>
            </a:lvl5pPr>
            <a:lvl6pPr marL="1098000" indent="-230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6pPr>
            <a:lvl7pPr marL="1371600" indent="-28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>
                <a:solidFill>
                  <a:schemeClr val="tx2"/>
                </a:solidFill>
              </a:defRPr>
            </a:lvl7pPr>
            <a:lvl8pPr marL="16452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 err="1"/>
              <a:t>Жаҳон</a:t>
            </a:r>
            <a:r>
              <a:rPr lang="ru-RU" dirty="0"/>
              <a:t> рейтинги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7BF8BC3-8B43-45CC-8D81-997D175C0F58}"/>
              </a:ext>
            </a:extLst>
          </p:cNvPr>
          <p:cNvCxnSpPr>
            <a:cxnSpLocks/>
          </p:cNvCxnSpPr>
          <p:nvPr/>
        </p:nvCxnSpPr>
        <p:spPr>
          <a:xfrm>
            <a:off x="431999" y="1525551"/>
            <a:ext cx="11028313" cy="0"/>
          </a:xfrm>
          <a:prstGeom prst="line">
            <a:avLst/>
          </a:prstGeom>
          <a:ln w="38100">
            <a:solidFill>
              <a:srgbClr val="49A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1BBFCDD-91FA-4BB7-AFDE-FA1603A917E3}"/>
              </a:ext>
            </a:extLst>
          </p:cNvPr>
          <p:cNvGrpSpPr/>
          <p:nvPr/>
        </p:nvGrpSpPr>
        <p:grpSpPr>
          <a:xfrm>
            <a:off x="481766" y="930440"/>
            <a:ext cx="553772" cy="579346"/>
            <a:chOff x="5317576" y="2553027"/>
            <a:chExt cx="650124" cy="680148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56A4B77-A41B-4863-ABE2-D3265E350BAA}"/>
                </a:ext>
              </a:extLst>
            </p:cNvPr>
            <p:cNvSpPr/>
            <p:nvPr/>
          </p:nvSpPr>
          <p:spPr>
            <a:xfrm>
              <a:off x="5808922" y="2553027"/>
              <a:ext cx="14434" cy="230950"/>
            </a:xfrm>
            <a:custGeom>
              <a:avLst/>
              <a:gdLst>
                <a:gd name="connsiteX0" fmla="*/ 10867 w 14434"/>
                <a:gd name="connsiteY0" fmla="*/ 229115 h 230949"/>
                <a:gd name="connsiteX1" fmla="*/ 10867 w 14434"/>
                <a:gd name="connsiteY1" fmla="*/ 10867 h 2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34" h="230949">
                  <a:moveTo>
                    <a:pt x="10867" y="229115"/>
                  </a:moveTo>
                  <a:lnTo>
                    <a:pt x="10867" y="10867"/>
                  </a:lnTo>
                </a:path>
              </a:pathLst>
            </a:custGeom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8A574868-5ECA-475A-8681-96BA547499D7}"/>
                </a:ext>
              </a:extLst>
            </p:cNvPr>
            <p:cNvSpPr/>
            <p:nvPr/>
          </p:nvSpPr>
          <p:spPr>
            <a:xfrm>
              <a:off x="5808922" y="2553028"/>
              <a:ext cx="158778" cy="158778"/>
            </a:xfrm>
            <a:custGeom>
              <a:avLst/>
              <a:gdLst>
                <a:gd name="connsiteX0" fmla="*/ 10867 w 158778"/>
                <a:gd name="connsiteY0" fmla="*/ 10867 h 158778"/>
                <a:gd name="connsiteX1" fmla="*/ 161274 w 158778"/>
                <a:gd name="connsiteY1" fmla="*/ 86359 h 158778"/>
                <a:gd name="connsiteX2" fmla="*/ 10867 w 158778"/>
                <a:gd name="connsiteY2" fmla="*/ 161129 h 15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778" h="158778">
                  <a:moveTo>
                    <a:pt x="10867" y="10867"/>
                  </a:moveTo>
                  <a:lnTo>
                    <a:pt x="161274" y="86359"/>
                  </a:lnTo>
                  <a:lnTo>
                    <a:pt x="10867" y="161129"/>
                  </a:lnTo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83E1599E-982F-4D64-9B38-2E88D5655A4B}"/>
                </a:ext>
              </a:extLst>
            </p:cNvPr>
            <p:cNvSpPr/>
            <p:nvPr/>
          </p:nvSpPr>
          <p:spPr>
            <a:xfrm>
              <a:off x="5714521" y="2771275"/>
              <a:ext cx="216516" cy="461900"/>
            </a:xfrm>
            <a:custGeom>
              <a:avLst/>
              <a:gdLst>
                <a:gd name="connsiteX0" fmla="*/ 209340 w 216515"/>
                <a:gd name="connsiteY0" fmla="*/ 456456 h 461899"/>
                <a:gd name="connsiteX1" fmla="*/ 209340 w 216515"/>
                <a:gd name="connsiteY1" fmla="*/ 10867 h 461899"/>
                <a:gd name="connsiteX2" fmla="*/ 10867 w 216515"/>
                <a:gd name="connsiteY2" fmla="*/ 10867 h 461899"/>
                <a:gd name="connsiteX3" fmla="*/ 10867 w 216515"/>
                <a:gd name="connsiteY3" fmla="*/ 456456 h 461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515" h="461899">
                  <a:moveTo>
                    <a:pt x="209340" y="456456"/>
                  </a:moveTo>
                  <a:lnTo>
                    <a:pt x="209340" y="10867"/>
                  </a:lnTo>
                  <a:lnTo>
                    <a:pt x="10867" y="10867"/>
                  </a:lnTo>
                  <a:lnTo>
                    <a:pt x="10867" y="456456"/>
                  </a:lnTo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8F2AF6F-D1BD-4526-848B-A6D7C76BEBD4}"/>
                </a:ext>
              </a:extLst>
            </p:cNvPr>
            <p:cNvSpPr/>
            <p:nvPr/>
          </p:nvSpPr>
          <p:spPr>
            <a:xfrm>
              <a:off x="5516049" y="2952282"/>
              <a:ext cx="216516" cy="274253"/>
            </a:xfrm>
            <a:custGeom>
              <a:avLst/>
              <a:gdLst>
                <a:gd name="connsiteX0" fmla="*/ 209340 w 216515"/>
                <a:gd name="connsiteY0" fmla="*/ 275449 h 274253"/>
                <a:gd name="connsiteX1" fmla="*/ 209340 w 216515"/>
                <a:gd name="connsiteY1" fmla="*/ 10867 h 274253"/>
                <a:gd name="connsiteX2" fmla="*/ 10867 w 216515"/>
                <a:gd name="connsiteY2" fmla="*/ 10867 h 274253"/>
                <a:gd name="connsiteX3" fmla="*/ 10867 w 216515"/>
                <a:gd name="connsiteY3" fmla="*/ 275449 h 27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515" h="274253">
                  <a:moveTo>
                    <a:pt x="209340" y="275449"/>
                  </a:moveTo>
                  <a:lnTo>
                    <a:pt x="209340" y="10867"/>
                  </a:lnTo>
                  <a:lnTo>
                    <a:pt x="10867" y="10867"/>
                  </a:lnTo>
                  <a:lnTo>
                    <a:pt x="10867" y="275449"/>
                  </a:lnTo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FFBF41DF-F798-4CA4-97A2-A131CEB88B80}"/>
                </a:ext>
              </a:extLst>
            </p:cNvPr>
            <p:cNvSpPr/>
            <p:nvPr/>
          </p:nvSpPr>
          <p:spPr>
            <a:xfrm>
              <a:off x="5317576" y="3084501"/>
              <a:ext cx="216516" cy="144344"/>
            </a:xfrm>
            <a:custGeom>
              <a:avLst/>
              <a:gdLst>
                <a:gd name="connsiteX0" fmla="*/ 209340 w 216515"/>
                <a:gd name="connsiteY0" fmla="*/ 143230 h 144343"/>
                <a:gd name="connsiteX1" fmla="*/ 209340 w 216515"/>
                <a:gd name="connsiteY1" fmla="*/ 10867 h 144343"/>
                <a:gd name="connsiteX2" fmla="*/ 10867 w 216515"/>
                <a:gd name="connsiteY2" fmla="*/ 10867 h 144343"/>
                <a:gd name="connsiteX3" fmla="*/ 10867 w 216515"/>
                <a:gd name="connsiteY3" fmla="*/ 143230 h 14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6515" h="144343">
                  <a:moveTo>
                    <a:pt x="209340" y="143230"/>
                  </a:moveTo>
                  <a:lnTo>
                    <a:pt x="209340" y="10867"/>
                  </a:lnTo>
                  <a:lnTo>
                    <a:pt x="10867" y="10867"/>
                  </a:lnTo>
                  <a:lnTo>
                    <a:pt x="10867" y="143230"/>
                  </a:lnTo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9AE3E597-7CDA-4827-BE1B-92E57B266463}"/>
                </a:ext>
              </a:extLst>
            </p:cNvPr>
            <p:cNvSpPr/>
            <p:nvPr/>
          </p:nvSpPr>
          <p:spPr>
            <a:xfrm>
              <a:off x="5317576" y="3216864"/>
              <a:ext cx="606244" cy="14434"/>
            </a:xfrm>
            <a:custGeom>
              <a:avLst/>
              <a:gdLst>
                <a:gd name="connsiteX0" fmla="*/ 10867 w 606243"/>
                <a:gd name="connsiteY0" fmla="*/ 10867 h 14434"/>
                <a:gd name="connsiteX1" fmla="*/ 606285 w 606243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6243" h="14434">
                  <a:moveTo>
                    <a:pt x="10867" y="10867"/>
                  </a:moveTo>
                  <a:lnTo>
                    <a:pt x="606285" y="10867"/>
                  </a:lnTo>
                </a:path>
              </a:pathLst>
            </a:custGeom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33FDCC4-93E1-4A49-A721-0F5384A986E8}"/>
              </a:ext>
            </a:extLst>
          </p:cNvPr>
          <p:cNvSpPr/>
          <p:nvPr/>
        </p:nvSpPr>
        <p:spPr>
          <a:xfrm>
            <a:off x="431999" y="1715044"/>
            <a:ext cx="1724497" cy="432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004BD2"/>
                </a:solidFill>
              </a:rPr>
              <a:t>Transparency International </a:t>
            </a:r>
            <a:endParaRPr lang="ru-RU" sz="1400" b="1" dirty="0">
              <a:solidFill>
                <a:srgbClr val="004BD2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80FFB07-F46E-470A-ABF2-3B10B8395EEE}"/>
              </a:ext>
            </a:extLst>
          </p:cNvPr>
          <p:cNvGrpSpPr/>
          <p:nvPr/>
        </p:nvGrpSpPr>
        <p:grpSpPr>
          <a:xfrm>
            <a:off x="2359483" y="1729095"/>
            <a:ext cx="238043" cy="431999"/>
            <a:chOff x="3841139" y="1940745"/>
            <a:chExt cx="238043" cy="442712"/>
          </a:xfrm>
          <a:solidFill>
            <a:srgbClr val="49A9F6"/>
          </a:solidFill>
        </p:grpSpPr>
        <p:sp>
          <p:nvSpPr>
            <p:cNvPr id="30" name="Arrow: Chevron 29">
              <a:extLst>
                <a:ext uri="{FF2B5EF4-FFF2-40B4-BE49-F238E27FC236}">
                  <a16:creationId xmlns:a16="http://schemas.microsoft.com/office/drawing/2014/main" id="{CD2F06DF-18B9-44F7-B23F-4B79FA917A85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rrow: Chevron 30">
              <a:extLst>
                <a:ext uri="{FF2B5EF4-FFF2-40B4-BE49-F238E27FC236}">
                  <a16:creationId xmlns:a16="http://schemas.microsoft.com/office/drawing/2014/main" id="{6C3FB4E8-7F29-4775-A0E2-7C1277C0E3DA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B1E15C1C-F5B6-47CF-A481-FED2B1C9D568}"/>
              </a:ext>
            </a:extLst>
          </p:cNvPr>
          <p:cNvSpPr/>
          <p:nvPr/>
        </p:nvSpPr>
        <p:spPr>
          <a:xfrm>
            <a:off x="431999" y="3869089"/>
            <a:ext cx="5141950" cy="1869960"/>
          </a:xfrm>
          <a:prstGeom prst="roundRect">
            <a:avLst>
              <a:gd name="adj" fmla="val 4731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93ADDDE-6FD9-4B1D-B187-D30D062007EE}"/>
              </a:ext>
            </a:extLst>
          </p:cNvPr>
          <p:cNvSpPr txBox="1">
            <a:spLocks/>
          </p:cNvSpPr>
          <p:nvPr/>
        </p:nvSpPr>
        <p:spPr>
          <a:xfrm>
            <a:off x="1430960" y="3964725"/>
            <a:ext cx="3096338" cy="600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000" kern="1200">
                <a:solidFill>
                  <a:srgbClr val="005EB8"/>
                </a:solidFill>
                <a:latin typeface="KPMG Cyrillic Extralight" panose="020B030303020204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3600" dirty="0">
                <a:solidFill>
                  <a:srgbClr val="1BD7D3"/>
                </a:solidFill>
                <a:latin typeface="+mj-lt"/>
              </a:rPr>
              <a:t>180</a:t>
            </a:r>
            <a:r>
              <a:rPr lang="ru-RU" sz="3600" dirty="0">
                <a:solidFill>
                  <a:schemeClr val="accent5"/>
                </a:solidFill>
                <a:latin typeface="+mj-lt"/>
              </a:rPr>
              <a:t> 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та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мамлакат</a:t>
            </a:r>
            <a:endParaRPr lang="ru-RU" sz="360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180D579-C865-43D2-A7F6-B1FBD0A52214}"/>
              </a:ext>
            </a:extLst>
          </p:cNvPr>
          <p:cNvGrpSpPr/>
          <p:nvPr/>
        </p:nvGrpSpPr>
        <p:grpSpPr>
          <a:xfrm>
            <a:off x="599453" y="3924472"/>
            <a:ext cx="532763" cy="640255"/>
            <a:chOff x="8516101" y="1289821"/>
            <a:chExt cx="532763" cy="640255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D808098-5563-4D36-92FB-AC56FC765BE5}"/>
                </a:ext>
              </a:extLst>
            </p:cNvPr>
            <p:cNvSpPr/>
            <p:nvPr/>
          </p:nvSpPr>
          <p:spPr>
            <a:xfrm>
              <a:off x="8516101" y="1289821"/>
              <a:ext cx="522591" cy="522591"/>
            </a:xfrm>
            <a:custGeom>
              <a:avLst/>
              <a:gdLst>
                <a:gd name="connsiteX0" fmla="*/ 154892 w 266700"/>
                <a:gd name="connsiteY0" fmla="*/ 28737 h 266700"/>
                <a:gd name="connsiteX1" fmla="*/ 240305 w 266700"/>
                <a:gd name="connsiteY1" fmla="*/ 154892 h 266700"/>
                <a:gd name="connsiteX2" fmla="*/ 114150 w 266700"/>
                <a:gd name="connsiteY2" fmla="*/ 240305 h 266700"/>
                <a:gd name="connsiteX3" fmla="*/ 28737 w 266700"/>
                <a:gd name="connsiteY3" fmla="*/ 114150 h 266700"/>
                <a:gd name="connsiteX4" fmla="*/ 154892 w 266700"/>
                <a:gd name="connsiteY4" fmla="*/ 28737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700" h="266700">
                  <a:moveTo>
                    <a:pt x="154892" y="28737"/>
                  </a:moveTo>
                  <a:cubicBezTo>
                    <a:pt x="213315" y="39987"/>
                    <a:pt x="251556" y="96469"/>
                    <a:pt x="240305" y="154892"/>
                  </a:cubicBezTo>
                  <a:cubicBezTo>
                    <a:pt x="229055" y="213315"/>
                    <a:pt x="172573" y="251555"/>
                    <a:pt x="114150" y="240305"/>
                  </a:cubicBezTo>
                  <a:cubicBezTo>
                    <a:pt x="55727" y="229054"/>
                    <a:pt x="17486" y="172573"/>
                    <a:pt x="28737" y="114150"/>
                  </a:cubicBezTo>
                  <a:cubicBezTo>
                    <a:pt x="39987" y="55727"/>
                    <a:pt x="96469" y="17486"/>
                    <a:pt x="154892" y="28737"/>
                  </a:cubicBezTo>
                  <a:close/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07CD142-A904-4BAD-9AA0-31B829FDE827}"/>
                </a:ext>
              </a:extLst>
            </p:cNvPr>
            <p:cNvSpPr/>
            <p:nvPr/>
          </p:nvSpPr>
          <p:spPr>
            <a:xfrm>
              <a:off x="8582265" y="1356159"/>
              <a:ext cx="466599" cy="466599"/>
            </a:xfrm>
            <a:custGeom>
              <a:avLst/>
              <a:gdLst>
                <a:gd name="connsiteX0" fmla="*/ 194405 w 238125"/>
                <a:gd name="connsiteY0" fmla="*/ 7144 h 238125"/>
                <a:gd name="connsiteX1" fmla="*/ 233172 w 238125"/>
                <a:gd name="connsiteY1" fmla="*/ 100775 h 238125"/>
                <a:gd name="connsiteX2" fmla="*/ 100774 w 238125"/>
                <a:gd name="connsiteY2" fmla="*/ 233172 h 238125"/>
                <a:gd name="connsiteX3" fmla="*/ 7144 w 238125"/>
                <a:gd name="connsiteY3" fmla="*/ 19440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125" h="238125">
                  <a:moveTo>
                    <a:pt x="194405" y="7144"/>
                  </a:moveTo>
                  <a:cubicBezTo>
                    <a:pt x="218408" y="31147"/>
                    <a:pt x="233172" y="64198"/>
                    <a:pt x="233172" y="100775"/>
                  </a:cubicBezTo>
                  <a:cubicBezTo>
                    <a:pt x="233172" y="173927"/>
                    <a:pt x="173927" y="233172"/>
                    <a:pt x="100774" y="233172"/>
                  </a:cubicBezTo>
                  <a:cubicBezTo>
                    <a:pt x="64199" y="233172"/>
                    <a:pt x="31147" y="218313"/>
                    <a:pt x="7144" y="194405"/>
                  </a:cubicBezTo>
                </a:path>
              </a:pathLst>
            </a:custGeom>
            <a:noFill/>
            <a:ln w="12700" cap="sq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AF61E93-999F-42B9-9E97-4F36CBB12B9A}"/>
                </a:ext>
              </a:extLst>
            </p:cNvPr>
            <p:cNvSpPr/>
            <p:nvPr/>
          </p:nvSpPr>
          <p:spPr>
            <a:xfrm>
              <a:off x="8553896" y="1688752"/>
              <a:ext cx="74656" cy="74656"/>
            </a:xfrm>
            <a:custGeom>
              <a:avLst/>
              <a:gdLst>
                <a:gd name="connsiteX0" fmla="*/ 39053 w 38100"/>
                <a:gd name="connsiteY0" fmla="*/ 7144 h 38100"/>
                <a:gd name="connsiteX1" fmla="*/ 7144 w 38100"/>
                <a:gd name="connsiteY1" fmla="*/ 3914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39053" y="7144"/>
                  </a:moveTo>
                  <a:lnTo>
                    <a:pt x="7144" y="39148"/>
                  </a:lnTo>
                </a:path>
              </a:pathLst>
            </a:custGeom>
            <a:ln w="12700" cap="sq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95742BD-9EFC-4394-89B0-C0112621203B}"/>
                </a:ext>
              </a:extLst>
            </p:cNvPr>
            <p:cNvSpPr/>
            <p:nvPr/>
          </p:nvSpPr>
          <p:spPr>
            <a:xfrm>
              <a:off x="8914858" y="1313419"/>
              <a:ext cx="74656" cy="74656"/>
            </a:xfrm>
            <a:custGeom>
              <a:avLst/>
              <a:gdLst>
                <a:gd name="connsiteX0" fmla="*/ 39148 w 38100"/>
                <a:gd name="connsiteY0" fmla="*/ 7144 h 38100"/>
                <a:gd name="connsiteX1" fmla="*/ 7144 w 38100"/>
                <a:gd name="connsiteY1" fmla="*/ 3905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39148" y="7144"/>
                  </a:moveTo>
                  <a:lnTo>
                    <a:pt x="7144" y="39052"/>
                  </a:lnTo>
                </a:path>
              </a:pathLst>
            </a:custGeom>
            <a:ln w="12700" cap="sq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E44A1B9-9FD7-4E77-B0F9-7F9D997AAC32}"/>
                </a:ext>
              </a:extLst>
            </p:cNvPr>
            <p:cNvSpPr/>
            <p:nvPr/>
          </p:nvSpPr>
          <p:spPr>
            <a:xfrm>
              <a:off x="8676517" y="1855420"/>
              <a:ext cx="205304" cy="74656"/>
            </a:xfrm>
            <a:custGeom>
              <a:avLst/>
              <a:gdLst>
                <a:gd name="connsiteX0" fmla="*/ 98108 w 104775"/>
                <a:gd name="connsiteY0" fmla="*/ 35338 h 38100"/>
                <a:gd name="connsiteX1" fmla="*/ 7144 w 104775"/>
                <a:gd name="connsiteY1" fmla="*/ 35338 h 38100"/>
                <a:gd name="connsiteX2" fmla="*/ 39338 w 104775"/>
                <a:gd name="connsiteY2" fmla="*/ 7144 h 38100"/>
                <a:gd name="connsiteX3" fmla="*/ 66008 w 104775"/>
                <a:gd name="connsiteY3" fmla="*/ 7144 h 38100"/>
                <a:gd name="connsiteX4" fmla="*/ 98203 w 104775"/>
                <a:gd name="connsiteY4" fmla="*/ 35338 h 38100"/>
                <a:gd name="connsiteX5" fmla="*/ 98203 w 104775"/>
                <a:gd name="connsiteY5" fmla="*/ 3533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75" h="38100">
                  <a:moveTo>
                    <a:pt x="98108" y="35338"/>
                  </a:moveTo>
                  <a:lnTo>
                    <a:pt x="7144" y="35338"/>
                  </a:lnTo>
                  <a:cubicBezTo>
                    <a:pt x="7144" y="19812"/>
                    <a:pt x="21527" y="7144"/>
                    <a:pt x="39338" y="7144"/>
                  </a:cubicBezTo>
                  <a:lnTo>
                    <a:pt x="66008" y="7144"/>
                  </a:lnTo>
                  <a:cubicBezTo>
                    <a:pt x="83820" y="7144"/>
                    <a:pt x="98203" y="19717"/>
                    <a:pt x="98203" y="35338"/>
                  </a:cubicBezTo>
                  <a:lnTo>
                    <a:pt x="98203" y="35338"/>
                  </a:lnTo>
                  <a:close/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9DDA50B-C7A2-4060-8A0C-98458825C510}"/>
                </a:ext>
              </a:extLst>
            </p:cNvPr>
            <p:cNvSpPr/>
            <p:nvPr/>
          </p:nvSpPr>
          <p:spPr>
            <a:xfrm>
              <a:off x="8558935" y="1390781"/>
              <a:ext cx="130648" cy="149312"/>
            </a:xfrm>
            <a:custGeom>
              <a:avLst/>
              <a:gdLst>
                <a:gd name="connsiteX0" fmla="*/ 34671 w 66675"/>
                <a:gd name="connsiteY0" fmla="*/ 7478 h 76200"/>
                <a:gd name="connsiteX1" fmla="*/ 66961 w 66675"/>
                <a:gd name="connsiteY1" fmla="*/ 27576 h 76200"/>
                <a:gd name="connsiteX2" fmla="*/ 52673 w 66675"/>
                <a:gd name="connsiteY2" fmla="*/ 40435 h 76200"/>
                <a:gd name="connsiteX3" fmla="*/ 37052 w 66675"/>
                <a:gd name="connsiteY3" fmla="*/ 55294 h 76200"/>
                <a:gd name="connsiteX4" fmla="*/ 34576 w 66675"/>
                <a:gd name="connsiteY4" fmla="*/ 74534 h 76200"/>
                <a:gd name="connsiteX5" fmla="*/ 7144 w 66675"/>
                <a:gd name="connsiteY5" fmla="*/ 6196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675" h="76200">
                  <a:moveTo>
                    <a:pt x="34671" y="7478"/>
                  </a:moveTo>
                  <a:cubicBezTo>
                    <a:pt x="34671" y="7478"/>
                    <a:pt x="67628" y="2906"/>
                    <a:pt x="66961" y="27576"/>
                  </a:cubicBezTo>
                  <a:cubicBezTo>
                    <a:pt x="66866" y="32338"/>
                    <a:pt x="57912" y="34434"/>
                    <a:pt x="52673" y="40435"/>
                  </a:cubicBezTo>
                  <a:cubicBezTo>
                    <a:pt x="47435" y="46435"/>
                    <a:pt x="44291" y="48150"/>
                    <a:pt x="37052" y="55294"/>
                  </a:cubicBezTo>
                  <a:cubicBezTo>
                    <a:pt x="33433" y="58818"/>
                    <a:pt x="38100" y="70534"/>
                    <a:pt x="34576" y="74534"/>
                  </a:cubicBezTo>
                  <a:cubicBezTo>
                    <a:pt x="29623" y="80249"/>
                    <a:pt x="16478" y="74153"/>
                    <a:pt x="7144" y="61961"/>
                  </a:cubicBezTo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73481A1-524B-4D0B-8C13-4C89AD4F65DC}"/>
                </a:ext>
              </a:extLst>
            </p:cNvPr>
            <p:cNvSpPr/>
            <p:nvPr/>
          </p:nvSpPr>
          <p:spPr>
            <a:xfrm>
              <a:off x="8558003" y="1566867"/>
              <a:ext cx="130648" cy="149312"/>
            </a:xfrm>
            <a:custGeom>
              <a:avLst/>
              <a:gdLst>
                <a:gd name="connsiteX0" fmla="*/ 7144 w 66675"/>
                <a:gd name="connsiteY0" fmla="*/ 12482 h 76200"/>
                <a:gd name="connsiteX1" fmla="*/ 24289 w 66675"/>
                <a:gd name="connsiteY1" fmla="*/ 7624 h 76200"/>
                <a:gd name="connsiteX2" fmla="*/ 36766 w 66675"/>
                <a:gd name="connsiteY2" fmla="*/ 16102 h 76200"/>
                <a:gd name="connsiteX3" fmla="*/ 54864 w 66675"/>
                <a:gd name="connsiteY3" fmla="*/ 22865 h 76200"/>
                <a:gd name="connsiteX4" fmla="*/ 58388 w 66675"/>
                <a:gd name="connsiteY4" fmla="*/ 33628 h 76200"/>
                <a:gd name="connsiteX5" fmla="*/ 61055 w 66675"/>
                <a:gd name="connsiteY5" fmla="*/ 49249 h 76200"/>
                <a:gd name="connsiteX6" fmla="*/ 47149 w 66675"/>
                <a:gd name="connsiteY6" fmla="*/ 7849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5" h="76200">
                  <a:moveTo>
                    <a:pt x="7144" y="12482"/>
                  </a:moveTo>
                  <a:cubicBezTo>
                    <a:pt x="7144" y="12482"/>
                    <a:pt x="16002" y="5243"/>
                    <a:pt x="24289" y="7624"/>
                  </a:cubicBezTo>
                  <a:cubicBezTo>
                    <a:pt x="28385" y="8767"/>
                    <a:pt x="30861" y="13149"/>
                    <a:pt x="36766" y="16102"/>
                  </a:cubicBezTo>
                  <a:cubicBezTo>
                    <a:pt x="42005" y="18674"/>
                    <a:pt x="47625" y="18388"/>
                    <a:pt x="54864" y="22865"/>
                  </a:cubicBezTo>
                  <a:cubicBezTo>
                    <a:pt x="57150" y="24198"/>
                    <a:pt x="57817" y="26008"/>
                    <a:pt x="58388" y="33628"/>
                  </a:cubicBezTo>
                  <a:cubicBezTo>
                    <a:pt x="58579" y="36771"/>
                    <a:pt x="66580" y="40295"/>
                    <a:pt x="61055" y="49249"/>
                  </a:cubicBezTo>
                  <a:cubicBezTo>
                    <a:pt x="56769" y="56107"/>
                    <a:pt x="47149" y="78491"/>
                    <a:pt x="47149" y="78491"/>
                  </a:cubicBezTo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26DE32F-FD5F-4D08-B19A-44B2F713C936}"/>
                </a:ext>
              </a:extLst>
            </p:cNvPr>
            <p:cNvSpPr/>
            <p:nvPr/>
          </p:nvSpPr>
          <p:spPr>
            <a:xfrm>
              <a:off x="8729159" y="1568370"/>
              <a:ext cx="130648" cy="149312"/>
            </a:xfrm>
            <a:custGeom>
              <a:avLst/>
              <a:gdLst>
                <a:gd name="connsiteX0" fmla="*/ 8854 w 66675"/>
                <a:gd name="connsiteY0" fmla="*/ 22003 h 76200"/>
                <a:gd name="connsiteX1" fmla="*/ 8854 w 66675"/>
                <a:gd name="connsiteY1" fmla="*/ 38195 h 76200"/>
                <a:gd name="connsiteX2" fmla="*/ 23713 w 66675"/>
                <a:gd name="connsiteY2" fmla="*/ 44863 h 76200"/>
                <a:gd name="connsiteX3" fmla="*/ 22760 w 66675"/>
                <a:gd name="connsiteY3" fmla="*/ 75057 h 76200"/>
                <a:gd name="connsiteX4" fmla="*/ 36190 w 66675"/>
                <a:gd name="connsiteY4" fmla="*/ 75057 h 76200"/>
                <a:gd name="connsiteX5" fmla="*/ 57907 w 66675"/>
                <a:gd name="connsiteY5" fmla="*/ 59627 h 76200"/>
                <a:gd name="connsiteX6" fmla="*/ 57907 w 66675"/>
                <a:gd name="connsiteY6" fmla="*/ 28861 h 76200"/>
                <a:gd name="connsiteX7" fmla="*/ 40762 w 66675"/>
                <a:gd name="connsiteY7" fmla="*/ 7144 h 76200"/>
                <a:gd name="connsiteX8" fmla="*/ 19426 w 66675"/>
                <a:gd name="connsiteY8" fmla="*/ 7144 h 76200"/>
                <a:gd name="connsiteX9" fmla="*/ 8949 w 66675"/>
                <a:gd name="connsiteY9" fmla="*/ 22003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76200">
                  <a:moveTo>
                    <a:pt x="8854" y="22003"/>
                  </a:moveTo>
                  <a:cubicBezTo>
                    <a:pt x="7234" y="25718"/>
                    <a:pt x="5996" y="35338"/>
                    <a:pt x="8854" y="38195"/>
                  </a:cubicBezTo>
                  <a:cubicBezTo>
                    <a:pt x="11521" y="40862"/>
                    <a:pt x="21331" y="41529"/>
                    <a:pt x="23713" y="44863"/>
                  </a:cubicBezTo>
                  <a:cubicBezTo>
                    <a:pt x="28094" y="51054"/>
                    <a:pt x="19236" y="68389"/>
                    <a:pt x="22760" y="75057"/>
                  </a:cubicBezTo>
                  <a:cubicBezTo>
                    <a:pt x="24379" y="78010"/>
                    <a:pt x="26380" y="76962"/>
                    <a:pt x="36190" y="75057"/>
                  </a:cubicBezTo>
                  <a:cubicBezTo>
                    <a:pt x="42763" y="73819"/>
                    <a:pt x="55812" y="74581"/>
                    <a:pt x="57907" y="59627"/>
                  </a:cubicBezTo>
                  <a:cubicBezTo>
                    <a:pt x="60289" y="42005"/>
                    <a:pt x="60003" y="36004"/>
                    <a:pt x="57907" y="28861"/>
                  </a:cubicBezTo>
                  <a:cubicBezTo>
                    <a:pt x="56383" y="23717"/>
                    <a:pt x="40762" y="7144"/>
                    <a:pt x="40762" y="7144"/>
                  </a:cubicBezTo>
                  <a:lnTo>
                    <a:pt x="19426" y="7144"/>
                  </a:lnTo>
                  <a:cubicBezTo>
                    <a:pt x="19426" y="7144"/>
                    <a:pt x="10759" y="17812"/>
                    <a:pt x="8949" y="22003"/>
                  </a:cubicBezTo>
                  <a:close/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60B3263-B20A-4E04-83C8-6C4B4CA0C1F4}"/>
                </a:ext>
              </a:extLst>
            </p:cNvPr>
            <p:cNvSpPr/>
            <p:nvPr/>
          </p:nvSpPr>
          <p:spPr>
            <a:xfrm>
              <a:off x="8744082" y="1362692"/>
              <a:ext cx="242632" cy="223968"/>
            </a:xfrm>
            <a:custGeom>
              <a:avLst/>
              <a:gdLst>
                <a:gd name="connsiteX0" fmla="*/ 125825 w 123825"/>
                <a:gd name="connsiteY0" fmla="*/ 100870 h 114300"/>
                <a:gd name="connsiteX1" fmla="*/ 107537 w 123825"/>
                <a:gd name="connsiteY1" fmla="*/ 111252 h 114300"/>
                <a:gd name="connsiteX2" fmla="*/ 99727 w 123825"/>
                <a:gd name="connsiteY2" fmla="*/ 85249 h 114300"/>
                <a:gd name="connsiteX3" fmla="*/ 86487 w 123825"/>
                <a:gd name="connsiteY3" fmla="*/ 85249 h 114300"/>
                <a:gd name="connsiteX4" fmla="*/ 83344 w 123825"/>
                <a:gd name="connsiteY4" fmla="*/ 98584 h 114300"/>
                <a:gd name="connsiteX5" fmla="*/ 68485 w 123825"/>
                <a:gd name="connsiteY5" fmla="*/ 102394 h 114300"/>
                <a:gd name="connsiteX6" fmla="*/ 45529 w 123825"/>
                <a:gd name="connsiteY6" fmla="*/ 78010 h 114300"/>
                <a:gd name="connsiteX7" fmla="*/ 15526 w 123825"/>
                <a:gd name="connsiteY7" fmla="*/ 82867 h 114300"/>
                <a:gd name="connsiteX8" fmla="*/ 7144 w 123825"/>
                <a:gd name="connsiteY8" fmla="*/ 68866 h 114300"/>
                <a:gd name="connsiteX9" fmla="*/ 10763 w 123825"/>
                <a:gd name="connsiteY9" fmla="*/ 54007 h 114300"/>
                <a:gd name="connsiteX10" fmla="*/ 28956 w 123825"/>
                <a:gd name="connsiteY10" fmla="*/ 38767 h 114300"/>
                <a:gd name="connsiteX11" fmla="*/ 34099 w 123825"/>
                <a:gd name="connsiteY11" fmla="*/ 32956 h 114300"/>
                <a:gd name="connsiteX12" fmla="*/ 44672 w 123825"/>
                <a:gd name="connsiteY12" fmla="*/ 19717 h 114300"/>
                <a:gd name="connsiteX13" fmla="*/ 64579 w 123825"/>
                <a:gd name="connsiteY13" fmla="*/ 19717 h 114300"/>
                <a:gd name="connsiteX14" fmla="*/ 78010 w 123825"/>
                <a:gd name="connsiteY14" fmla="*/ 7144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3825" h="114300">
                  <a:moveTo>
                    <a:pt x="125825" y="100870"/>
                  </a:moveTo>
                  <a:cubicBezTo>
                    <a:pt x="125825" y="100870"/>
                    <a:pt x="112585" y="113729"/>
                    <a:pt x="107537" y="111252"/>
                  </a:cubicBezTo>
                  <a:cubicBezTo>
                    <a:pt x="101632" y="108490"/>
                    <a:pt x="104013" y="88106"/>
                    <a:pt x="99727" y="85249"/>
                  </a:cubicBezTo>
                  <a:cubicBezTo>
                    <a:pt x="96964" y="83439"/>
                    <a:pt x="86487" y="85249"/>
                    <a:pt x="86487" y="85249"/>
                  </a:cubicBezTo>
                  <a:cubicBezTo>
                    <a:pt x="89630" y="97346"/>
                    <a:pt x="83344" y="98584"/>
                    <a:pt x="83344" y="98584"/>
                  </a:cubicBezTo>
                  <a:lnTo>
                    <a:pt x="68485" y="102394"/>
                  </a:lnTo>
                  <a:cubicBezTo>
                    <a:pt x="68485" y="102394"/>
                    <a:pt x="54673" y="80677"/>
                    <a:pt x="45529" y="78010"/>
                  </a:cubicBezTo>
                  <a:cubicBezTo>
                    <a:pt x="37910" y="75819"/>
                    <a:pt x="15526" y="82867"/>
                    <a:pt x="15526" y="82867"/>
                  </a:cubicBezTo>
                  <a:lnTo>
                    <a:pt x="7144" y="68866"/>
                  </a:lnTo>
                  <a:lnTo>
                    <a:pt x="10763" y="54007"/>
                  </a:lnTo>
                  <a:cubicBezTo>
                    <a:pt x="10763" y="54007"/>
                    <a:pt x="11716" y="41910"/>
                    <a:pt x="28956" y="38767"/>
                  </a:cubicBezTo>
                  <a:lnTo>
                    <a:pt x="34099" y="32956"/>
                  </a:lnTo>
                  <a:lnTo>
                    <a:pt x="44672" y="19717"/>
                  </a:lnTo>
                  <a:lnTo>
                    <a:pt x="64579" y="19717"/>
                  </a:lnTo>
                  <a:lnTo>
                    <a:pt x="78010" y="7144"/>
                  </a:lnTo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56D2DEF-253B-4880-A9B2-03C932CBD480}"/>
                </a:ext>
              </a:extLst>
            </p:cNvPr>
            <p:cNvSpPr/>
            <p:nvPr/>
          </p:nvSpPr>
          <p:spPr>
            <a:xfrm>
              <a:off x="8765732" y="1799056"/>
              <a:ext cx="18664" cy="74656"/>
            </a:xfrm>
            <a:custGeom>
              <a:avLst/>
              <a:gdLst>
                <a:gd name="connsiteX0" fmla="*/ 7144 w 9525"/>
                <a:gd name="connsiteY0" fmla="*/ 7144 h 38100"/>
                <a:gd name="connsiteX1" fmla="*/ 7144 w 9525"/>
                <a:gd name="connsiteY1" fmla="*/ 3590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8100">
                  <a:moveTo>
                    <a:pt x="7144" y="7144"/>
                  </a:moveTo>
                  <a:lnTo>
                    <a:pt x="7144" y="35909"/>
                  </a:lnTo>
                </a:path>
              </a:pathLst>
            </a:custGeom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50EB156-5CEF-4A7C-8784-0960562BEC94}"/>
                </a:ext>
              </a:extLst>
            </p:cNvPr>
            <p:cNvSpPr/>
            <p:nvPr/>
          </p:nvSpPr>
          <p:spPr>
            <a:xfrm>
              <a:off x="8558749" y="1910666"/>
              <a:ext cx="429271" cy="18664"/>
            </a:xfrm>
            <a:custGeom>
              <a:avLst/>
              <a:gdLst>
                <a:gd name="connsiteX0" fmla="*/ 218313 w 219075"/>
                <a:gd name="connsiteY0" fmla="*/ 7144 h 9525"/>
                <a:gd name="connsiteX1" fmla="*/ 7144 w 219075"/>
                <a:gd name="connsiteY1" fmla="*/ 7144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5" h="9525">
                  <a:moveTo>
                    <a:pt x="218313" y="7144"/>
                  </a:moveTo>
                  <a:lnTo>
                    <a:pt x="7144" y="7144"/>
                  </a:lnTo>
                </a:path>
              </a:pathLst>
            </a:custGeom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46" name="Title 1">
            <a:extLst>
              <a:ext uri="{FF2B5EF4-FFF2-40B4-BE49-F238E27FC236}">
                <a16:creationId xmlns:a16="http://schemas.microsoft.com/office/drawing/2014/main" id="{7B06269A-76CB-438C-A9F0-606B36FE5B94}"/>
              </a:ext>
            </a:extLst>
          </p:cNvPr>
          <p:cNvSpPr txBox="1">
            <a:spLocks/>
          </p:cNvSpPr>
          <p:nvPr/>
        </p:nvSpPr>
        <p:spPr>
          <a:xfrm>
            <a:off x="1494003" y="4883129"/>
            <a:ext cx="3891284" cy="600002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000" kern="1200">
                <a:solidFill>
                  <a:srgbClr val="005EB8"/>
                </a:solidFill>
                <a:latin typeface="KPMG Cyrillic Extralight" panose="020B030303020204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3600" dirty="0">
                <a:solidFill>
                  <a:srgbClr val="1BD7D3"/>
                </a:solidFill>
                <a:latin typeface="+mj-lt"/>
              </a:rPr>
              <a:t>100</a:t>
            </a:r>
            <a:r>
              <a:rPr lang="ru-RU" sz="3600" dirty="0">
                <a:solidFill>
                  <a:schemeClr val="accent5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максимал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баллар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сони </a:t>
            </a:r>
            <a:endParaRPr lang="ru-RU" sz="360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866643C-CC2F-49B9-8E05-9F7E92A2F0E1}"/>
              </a:ext>
            </a:extLst>
          </p:cNvPr>
          <p:cNvGrpSpPr/>
          <p:nvPr/>
        </p:nvGrpSpPr>
        <p:grpSpPr>
          <a:xfrm>
            <a:off x="613095" y="4830845"/>
            <a:ext cx="571641" cy="607630"/>
            <a:chOff x="441212" y="2492403"/>
            <a:chExt cx="749722" cy="796922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26AC44A-CCF7-4293-BD76-0359A907D13F}"/>
                </a:ext>
              </a:extLst>
            </p:cNvPr>
            <p:cNvSpPr/>
            <p:nvPr/>
          </p:nvSpPr>
          <p:spPr>
            <a:xfrm>
              <a:off x="441212" y="2556492"/>
              <a:ext cx="317556" cy="577375"/>
            </a:xfrm>
            <a:custGeom>
              <a:avLst/>
              <a:gdLst>
                <a:gd name="connsiteX0" fmla="*/ 229981 w 317556"/>
                <a:gd name="connsiteY0" fmla="*/ 264912 h 577374"/>
                <a:gd name="connsiteX1" fmla="*/ 229981 w 317556"/>
                <a:gd name="connsiteY1" fmla="*/ 176863 h 577374"/>
                <a:gd name="connsiteX2" fmla="*/ 315432 w 317556"/>
                <a:gd name="connsiteY2" fmla="*/ 176285 h 577374"/>
                <a:gd name="connsiteX3" fmla="*/ 163150 w 317556"/>
                <a:gd name="connsiteY3" fmla="*/ 10867 h 577374"/>
                <a:gd name="connsiteX4" fmla="*/ 10867 w 317556"/>
                <a:gd name="connsiteY4" fmla="*/ 176285 h 577374"/>
                <a:gd name="connsiteX5" fmla="*/ 96319 w 317556"/>
                <a:gd name="connsiteY5" fmla="*/ 176863 h 577374"/>
                <a:gd name="connsiteX6" fmla="*/ 96319 w 317556"/>
                <a:gd name="connsiteY6" fmla="*/ 571787 h 57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556" h="577374">
                  <a:moveTo>
                    <a:pt x="229981" y="264912"/>
                  </a:moveTo>
                  <a:lnTo>
                    <a:pt x="229981" y="176863"/>
                  </a:lnTo>
                  <a:lnTo>
                    <a:pt x="315432" y="176285"/>
                  </a:lnTo>
                  <a:lnTo>
                    <a:pt x="163150" y="10867"/>
                  </a:lnTo>
                  <a:lnTo>
                    <a:pt x="10867" y="176285"/>
                  </a:lnTo>
                  <a:lnTo>
                    <a:pt x="96319" y="176863"/>
                  </a:lnTo>
                  <a:lnTo>
                    <a:pt x="96319" y="571787"/>
                  </a:ln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962F268-8613-4C0B-989E-CB3B24C0389E}"/>
                </a:ext>
              </a:extLst>
            </p:cNvPr>
            <p:cNvSpPr/>
            <p:nvPr/>
          </p:nvSpPr>
          <p:spPr>
            <a:xfrm>
              <a:off x="644015" y="2925290"/>
              <a:ext cx="57737" cy="57737"/>
            </a:xfrm>
            <a:custGeom>
              <a:avLst/>
              <a:gdLst>
                <a:gd name="connsiteX0" fmla="*/ 61099 w 57737"/>
                <a:gd name="connsiteY0" fmla="*/ 10867 h 57737"/>
                <a:gd name="connsiteX1" fmla="*/ 10867 w 57737"/>
                <a:gd name="connsiteY1" fmla="*/ 61099 h 5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57737">
                  <a:moveTo>
                    <a:pt x="61099" y="10867"/>
                  </a:moveTo>
                  <a:cubicBezTo>
                    <a:pt x="61099" y="38581"/>
                    <a:pt x="38581" y="61099"/>
                    <a:pt x="10867" y="61099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193DE92-C116-4FE1-A943-1426A2FDC294}"/>
                </a:ext>
              </a:extLst>
            </p:cNvPr>
            <p:cNvSpPr/>
            <p:nvPr/>
          </p:nvSpPr>
          <p:spPr>
            <a:xfrm>
              <a:off x="593495" y="2897865"/>
              <a:ext cx="86606" cy="230950"/>
            </a:xfrm>
            <a:custGeom>
              <a:avLst/>
              <a:gdLst>
                <a:gd name="connsiteX0" fmla="*/ 10867 w 86606"/>
                <a:gd name="connsiteY0" fmla="*/ 221032 h 230949"/>
                <a:gd name="connsiteX1" fmla="*/ 10867 w 86606"/>
                <a:gd name="connsiteY1" fmla="*/ 38293 h 230949"/>
                <a:gd name="connsiteX2" fmla="*/ 38293 w 86606"/>
                <a:gd name="connsiteY2" fmla="*/ 10867 h 230949"/>
                <a:gd name="connsiteX3" fmla="*/ 84194 w 86606"/>
                <a:gd name="connsiteY3" fmla="*/ 10867 h 2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6" h="230949">
                  <a:moveTo>
                    <a:pt x="10867" y="221032"/>
                  </a:moveTo>
                  <a:lnTo>
                    <a:pt x="10867" y="38293"/>
                  </a:lnTo>
                  <a:cubicBezTo>
                    <a:pt x="10867" y="23281"/>
                    <a:pt x="23136" y="10867"/>
                    <a:pt x="38293" y="10867"/>
                  </a:cubicBezTo>
                  <a:lnTo>
                    <a:pt x="84194" y="10867"/>
                  </a:ln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DBE94564-9BFD-4472-AA8F-F515E4AA1F62}"/>
                </a:ext>
              </a:extLst>
            </p:cNvPr>
            <p:cNvSpPr/>
            <p:nvPr/>
          </p:nvSpPr>
          <p:spPr>
            <a:xfrm>
              <a:off x="593350" y="3108029"/>
              <a:ext cx="101041" cy="72172"/>
            </a:xfrm>
            <a:custGeom>
              <a:avLst/>
              <a:gdLst>
                <a:gd name="connsiteX0" fmla="*/ 90689 w 101040"/>
                <a:gd name="connsiteY0" fmla="*/ 75678 h 72171"/>
                <a:gd name="connsiteX1" fmla="*/ 10867 w 101040"/>
                <a:gd name="connsiteY1" fmla="*/ 10867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40" h="72171">
                  <a:moveTo>
                    <a:pt x="90689" y="75678"/>
                  </a:moveTo>
                  <a:cubicBezTo>
                    <a:pt x="55036" y="75678"/>
                    <a:pt x="10867" y="46520"/>
                    <a:pt x="10867" y="10867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43C9A66-9784-491E-BD2B-2B9994FBFEBF}"/>
                </a:ext>
              </a:extLst>
            </p:cNvPr>
            <p:cNvSpPr/>
            <p:nvPr/>
          </p:nvSpPr>
          <p:spPr>
            <a:xfrm>
              <a:off x="929094" y="3002947"/>
              <a:ext cx="14434" cy="115475"/>
            </a:xfrm>
            <a:custGeom>
              <a:avLst/>
              <a:gdLst>
                <a:gd name="connsiteX0" fmla="*/ 10867 w 14434"/>
                <a:gd name="connsiteY0" fmla="*/ 115949 h 115474"/>
                <a:gd name="connsiteX1" fmla="*/ 10867 w 14434"/>
                <a:gd name="connsiteY1" fmla="*/ 10867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34" h="115474">
                  <a:moveTo>
                    <a:pt x="10867" y="115949"/>
                  </a:moveTo>
                  <a:lnTo>
                    <a:pt x="10867" y="10867"/>
                  </a:lnTo>
                </a:path>
              </a:pathLst>
            </a:custGeom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E2CF4B6-7715-4C09-9C81-56B961AC83AF}"/>
                </a:ext>
              </a:extLst>
            </p:cNvPr>
            <p:cNvSpPr/>
            <p:nvPr/>
          </p:nvSpPr>
          <p:spPr>
            <a:xfrm>
              <a:off x="880161" y="3108029"/>
              <a:ext cx="57737" cy="72172"/>
            </a:xfrm>
            <a:custGeom>
              <a:avLst/>
              <a:gdLst>
                <a:gd name="connsiteX0" fmla="*/ 10867 w 57737"/>
                <a:gd name="connsiteY0" fmla="*/ 75678 h 72171"/>
                <a:gd name="connsiteX1" fmla="*/ 59800 w 57737"/>
                <a:gd name="connsiteY1" fmla="*/ 10867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72171">
                  <a:moveTo>
                    <a:pt x="10867" y="75678"/>
                  </a:moveTo>
                  <a:cubicBezTo>
                    <a:pt x="46520" y="75678"/>
                    <a:pt x="59800" y="46520"/>
                    <a:pt x="59800" y="10867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CD37B1B-78C3-426C-853A-F9138317D10D}"/>
                </a:ext>
              </a:extLst>
            </p:cNvPr>
            <p:cNvSpPr/>
            <p:nvPr/>
          </p:nvSpPr>
          <p:spPr>
            <a:xfrm>
              <a:off x="714888" y="3002947"/>
              <a:ext cx="72172" cy="115475"/>
            </a:xfrm>
            <a:custGeom>
              <a:avLst/>
              <a:gdLst>
                <a:gd name="connsiteX0" fmla="*/ 64996 w 72171"/>
                <a:gd name="connsiteY0" fmla="*/ 115949 h 115474"/>
                <a:gd name="connsiteX1" fmla="*/ 10867 w 72171"/>
                <a:gd name="connsiteY1" fmla="*/ 10867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115474">
                  <a:moveTo>
                    <a:pt x="64996" y="115949"/>
                  </a:moveTo>
                  <a:cubicBezTo>
                    <a:pt x="64996" y="58212"/>
                    <a:pt x="40602" y="10867"/>
                    <a:pt x="10867" y="10867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373F38C-DD6F-40BC-9AB8-A07EFC5E3BF8}"/>
                </a:ext>
              </a:extLst>
            </p:cNvPr>
            <p:cNvSpPr/>
            <p:nvPr/>
          </p:nvSpPr>
          <p:spPr>
            <a:xfrm>
              <a:off x="666821" y="2897865"/>
              <a:ext cx="43303" cy="43303"/>
            </a:xfrm>
            <a:custGeom>
              <a:avLst/>
              <a:gdLst>
                <a:gd name="connsiteX0" fmla="*/ 10867 w 43303"/>
                <a:gd name="connsiteY0" fmla="*/ 10867 h 43303"/>
                <a:gd name="connsiteX1" fmla="*/ 38293 w 43303"/>
                <a:gd name="connsiteY1" fmla="*/ 38293 h 43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303" h="43303">
                  <a:moveTo>
                    <a:pt x="10867" y="10867"/>
                  </a:moveTo>
                  <a:cubicBezTo>
                    <a:pt x="25879" y="10867"/>
                    <a:pt x="38293" y="23136"/>
                    <a:pt x="38293" y="38293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BC19F09-6B64-4B70-9AC2-1AC10013B303}"/>
                </a:ext>
              </a:extLst>
            </p:cNvPr>
            <p:cNvSpPr/>
            <p:nvPr/>
          </p:nvSpPr>
          <p:spPr>
            <a:xfrm>
              <a:off x="681111" y="2856005"/>
              <a:ext cx="86606" cy="158778"/>
            </a:xfrm>
            <a:custGeom>
              <a:avLst/>
              <a:gdLst>
                <a:gd name="connsiteX0" fmla="*/ 10867 w 86606"/>
                <a:gd name="connsiteY0" fmla="*/ 52727 h 158778"/>
                <a:gd name="connsiteX1" fmla="*/ 10867 w 86606"/>
                <a:gd name="connsiteY1" fmla="*/ 39592 h 158778"/>
                <a:gd name="connsiteX2" fmla="*/ 41468 w 86606"/>
                <a:gd name="connsiteY2" fmla="*/ 10867 h 158778"/>
                <a:gd name="connsiteX3" fmla="*/ 47675 w 86606"/>
                <a:gd name="connsiteY3" fmla="*/ 10867 h 158778"/>
                <a:gd name="connsiteX4" fmla="*/ 78276 w 86606"/>
                <a:gd name="connsiteY4" fmla="*/ 39592 h 158778"/>
                <a:gd name="connsiteX5" fmla="*/ 78276 w 86606"/>
                <a:gd name="connsiteY5" fmla="*/ 129085 h 158778"/>
                <a:gd name="connsiteX6" fmla="*/ 47675 w 86606"/>
                <a:gd name="connsiteY6" fmla="*/ 157809 h 158778"/>
                <a:gd name="connsiteX7" fmla="*/ 41468 w 86606"/>
                <a:gd name="connsiteY7" fmla="*/ 157809 h 158778"/>
                <a:gd name="connsiteX8" fmla="*/ 10867 w 86606"/>
                <a:gd name="connsiteY8" fmla="*/ 130384 h 158778"/>
                <a:gd name="connsiteX9" fmla="*/ 10867 w 86606"/>
                <a:gd name="connsiteY9" fmla="*/ 114650 h 15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606" h="158778">
                  <a:moveTo>
                    <a:pt x="10867" y="52727"/>
                  </a:moveTo>
                  <a:lnTo>
                    <a:pt x="10867" y="39592"/>
                  </a:lnTo>
                  <a:cubicBezTo>
                    <a:pt x="10867" y="23858"/>
                    <a:pt x="24580" y="10867"/>
                    <a:pt x="41468" y="10867"/>
                  </a:cubicBezTo>
                  <a:lnTo>
                    <a:pt x="47675" y="10867"/>
                  </a:lnTo>
                  <a:cubicBezTo>
                    <a:pt x="64563" y="10867"/>
                    <a:pt x="78276" y="23714"/>
                    <a:pt x="78276" y="39592"/>
                  </a:cubicBezTo>
                  <a:lnTo>
                    <a:pt x="78276" y="129085"/>
                  </a:lnTo>
                  <a:cubicBezTo>
                    <a:pt x="78276" y="144818"/>
                    <a:pt x="64563" y="157809"/>
                    <a:pt x="47675" y="157809"/>
                  </a:cubicBezTo>
                  <a:lnTo>
                    <a:pt x="41468" y="157809"/>
                  </a:lnTo>
                  <a:cubicBezTo>
                    <a:pt x="25013" y="157809"/>
                    <a:pt x="11589" y="145540"/>
                    <a:pt x="10867" y="130384"/>
                  </a:cubicBezTo>
                  <a:lnTo>
                    <a:pt x="10867" y="114650"/>
                  </a:ln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2D2E7169-88D3-4C9A-8012-F7810D661F69}"/>
                </a:ext>
              </a:extLst>
            </p:cNvPr>
            <p:cNvSpPr/>
            <p:nvPr/>
          </p:nvSpPr>
          <p:spPr>
            <a:xfrm>
              <a:off x="748664" y="2856005"/>
              <a:ext cx="86606" cy="158778"/>
            </a:xfrm>
            <a:custGeom>
              <a:avLst/>
              <a:gdLst>
                <a:gd name="connsiteX0" fmla="*/ 44644 w 86606"/>
                <a:gd name="connsiteY0" fmla="*/ 10867 h 158778"/>
                <a:gd name="connsiteX1" fmla="*/ 78420 w 86606"/>
                <a:gd name="connsiteY1" fmla="*/ 44644 h 158778"/>
                <a:gd name="connsiteX2" fmla="*/ 78420 w 86606"/>
                <a:gd name="connsiteY2" fmla="*/ 124033 h 158778"/>
                <a:gd name="connsiteX3" fmla="*/ 44644 w 86606"/>
                <a:gd name="connsiteY3" fmla="*/ 157809 h 158778"/>
                <a:gd name="connsiteX4" fmla="*/ 44644 w 86606"/>
                <a:gd name="connsiteY4" fmla="*/ 157809 h 158778"/>
                <a:gd name="connsiteX5" fmla="*/ 10867 w 86606"/>
                <a:gd name="connsiteY5" fmla="*/ 124033 h 158778"/>
                <a:gd name="connsiteX6" fmla="*/ 10867 w 86606"/>
                <a:gd name="connsiteY6" fmla="*/ 44644 h 158778"/>
                <a:gd name="connsiteX7" fmla="*/ 44644 w 86606"/>
                <a:gd name="connsiteY7" fmla="*/ 10867 h 15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606" h="158778">
                  <a:moveTo>
                    <a:pt x="44644" y="10867"/>
                  </a:moveTo>
                  <a:cubicBezTo>
                    <a:pt x="63298" y="10867"/>
                    <a:pt x="78420" y="25989"/>
                    <a:pt x="78420" y="44644"/>
                  </a:cubicBezTo>
                  <a:lnTo>
                    <a:pt x="78420" y="124033"/>
                  </a:lnTo>
                  <a:cubicBezTo>
                    <a:pt x="78420" y="142687"/>
                    <a:pt x="63298" y="157809"/>
                    <a:pt x="44644" y="157809"/>
                  </a:cubicBezTo>
                  <a:lnTo>
                    <a:pt x="44644" y="157809"/>
                  </a:lnTo>
                  <a:cubicBezTo>
                    <a:pt x="25989" y="157809"/>
                    <a:pt x="10867" y="142687"/>
                    <a:pt x="10867" y="124033"/>
                  </a:cubicBezTo>
                  <a:lnTo>
                    <a:pt x="10867" y="44644"/>
                  </a:lnTo>
                  <a:cubicBezTo>
                    <a:pt x="10867" y="25989"/>
                    <a:pt x="25989" y="10867"/>
                    <a:pt x="44644" y="10867"/>
                  </a:cubicBezTo>
                  <a:close/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3BE94A8-A68D-4E1D-8934-BBB752071FA2}"/>
                </a:ext>
              </a:extLst>
            </p:cNvPr>
            <p:cNvSpPr/>
            <p:nvPr/>
          </p:nvSpPr>
          <p:spPr>
            <a:xfrm>
              <a:off x="816073" y="2865243"/>
              <a:ext cx="86606" cy="158778"/>
            </a:xfrm>
            <a:custGeom>
              <a:avLst/>
              <a:gdLst>
                <a:gd name="connsiteX0" fmla="*/ 44644 w 86606"/>
                <a:gd name="connsiteY0" fmla="*/ 10867 h 158778"/>
                <a:gd name="connsiteX1" fmla="*/ 78420 w 86606"/>
                <a:gd name="connsiteY1" fmla="*/ 44644 h 158778"/>
                <a:gd name="connsiteX2" fmla="*/ 78420 w 86606"/>
                <a:gd name="connsiteY2" fmla="*/ 114795 h 158778"/>
                <a:gd name="connsiteX3" fmla="*/ 44644 w 86606"/>
                <a:gd name="connsiteY3" fmla="*/ 148571 h 158778"/>
                <a:gd name="connsiteX4" fmla="*/ 44644 w 86606"/>
                <a:gd name="connsiteY4" fmla="*/ 148571 h 158778"/>
                <a:gd name="connsiteX5" fmla="*/ 10867 w 86606"/>
                <a:gd name="connsiteY5" fmla="*/ 114795 h 158778"/>
                <a:gd name="connsiteX6" fmla="*/ 10867 w 86606"/>
                <a:gd name="connsiteY6" fmla="*/ 44644 h 158778"/>
                <a:gd name="connsiteX7" fmla="*/ 44644 w 86606"/>
                <a:gd name="connsiteY7" fmla="*/ 10867 h 15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606" h="158778">
                  <a:moveTo>
                    <a:pt x="44644" y="10867"/>
                  </a:moveTo>
                  <a:cubicBezTo>
                    <a:pt x="63298" y="10867"/>
                    <a:pt x="78420" y="25989"/>
                    <a:pt x="78420" y="44644"/>
                  </a:cubicBezTo>
                  <a:lnTo>
                    <a:pt x="78420" y="114795"/>
                  </a:lnTo>
                  <a:cubicBezTo>
                    <a:pt x="78420" y="133449"/>
                    <a:pt x="63298" y="148571"/>
                    <a:pt x="44644" y="148571"/>
                  </a:cubicBezTo>
                  <a:lnTo>
                    <a:pt x="44644" y="148571"/>
                  </a:lnTo>
                  <a:cubicBezTo>
                    <a:pt x="25989" y="148571"/>
                    <a:pt x="10867" y="133449"/>
                    <a:pt x="10867" y="114795"/>
                  </a:cubicBezTo>
                  <a:lnTo>
                    <a:pt x="10867" y="44644"/>
                  </a:lnTo>
                  <a:cubicBezTo>
                    <a:pt x="10867" y="25989"/>
                    <a:pt x="25989" y="10867"/>
                    <a:pt x="44644" y="10867"/>
                  </a:cubicBezTo>
                  <a:close/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0FFCC72-177F-4838-9797-28F02D91747E}"/>
                </a:ext>
              </a:extLst>
            </p:cNvPr>
            <p:cNvSpPr/>
            <p:nvPr/>
          </p:nvSpPr>
          <p:spPr>
            <a:xfrm>
              <a:off x="876553" y="2895122"/>
              <a:ext cx="72172" cy="115475"/>
            </a:xfrm>
            <a:custGeom>
              <a:avLst/>
              <a:gdLst>
                <a:gd name="connsiteX0" fmla="*/ 17940 w 72171"/>
                <a:gd name="connsiteY0" fmla="*/ 14620 h 115474"/>
                <a:gd name="connsiteX1" fmla="*/ 31797 w 72171"/>
                <a:gd name="connsiteY1" fmla="*/ 10867 h 115474"/>
                <a:gd name="connsiteX2" fmla="*/ 46809 w 72171"/>
                <a:gd name="connsiteY2" fmla="*/ 10867 h 115474"/>
                <a:gd name="connsiteX3" fmla="*/ 73079 w 72171"/>
                <a:gd name="connsiteY3" fmla="*/ 35406 h 115474"/>
                <a:gd name="connsiteX4" fmla="*/ 73079 w 72171"/>
                <a:gd name="connsiteY4" fmla="*/ 94009 h 115474"/>
                <a:gd name="connsiteX5" fmla="*/ 46809 w 72171"/>
                <a:gd name="connsiteY5" fmla="*/ 118548 h 115474"/>
                <a:gd name="connsiteX6" fmla="*/ 31797 w 72171"/>
                <a:gd name="connsiteY6" fmla="*/ 118548 h 115474"/>
                <a:gd name="connsiteX7" fmla="*/ 10867 w 72171"/>
                <a:gd name="connsiteY7" fmla="*/ 108732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171" h="115474">
                  <a:moveTo>
                    <a:pt x="17940" y="14620"/>
                  </a:moveTo>
                  <a:cubicBezTo>
                    <a:pt x="21982" y="12311"/>
                    <a:pt x="26745" y="10867"/>
                    <a:pt x="31797" y="10867"/>
                  </a:cubicBezTo>
                  <a:lnTo>
                    <a:pt x="46809" y="10867"/>
                  </a:lnTo>
                  <a:cubicBezTo>
                    <a:pt x="61243" y="10867"/>
                    <a:pt x="73079" y="21982"/>
                    <a:pt x="73079" y="35406"/>
                  </a:cubicBezTo>
                  <a:lnTo>
                    <a:pt x="73079" y="94009"/>
                  </a:lnTo>
                  <a:cubicBezTo>
                    <a:pt x="73079" y="107578"/>
                    <a:pt x="61243" y="118548"/>
                    <a:pt x="46809" y="118548"/>
                  </a:cubicBezTo>
                  <a:lnTo>
                    <a:pt x="31797" y="118548"/>
                  </a:lnTo>
                  <a:cubicBezTo>
                    <a:pt x="23281" y="118548"/>
                    <a:pt x="15631" y="114650"/>
                    <a:pt x="10867" y="108732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39BA77EB-D9D8-4412-85FE-EA6FDA5B3C5D}"/>
                </a:ext>
              </a:extLst>
            </p:cNvPr>
            <p:cNvSpPr/>
            <p:nvPr/>
          </p:nvSpPr>
          <p:spPr>
            <a:xfrm>
              <a:off x="673173" y="3173850"/>
              <a:ext cx="14434" cy="115475"/>
            </a:xfrm>
            <a:custGeom>
              <a:avLst/>
              <a:gdLst>
                <a:gd name="connsiteX0" fmla="*/ 10867 w 14434"/>
                <a:gd name="connsiteY0" fmla="*/ 10867 h 115474"/>
                <a:gd name="connsiteX1" fmla="*/ 10867 w 14434"/>
                <a:gd name="connsiteY1" fmla="*/ 114506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34" h="115474">
                  <a:moveTo>
                    <a:pt x="10867" y="10867"/>
                  </a:moveTo>
                  <a:lnTo>
                    <a:pt x="10867" y="114506"/>
                  </a:lnTo>
                </a:path>
              </a:pathLst>
            </a:custGeom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2A08F522-64B1-4430-A590-790DB499E91C}"/>
                </a:ext>
              </a:extLst>
            </p:cNvPr>
            <p:cNvSpPr/>
            <p:nvPr/>
          </p:nvSpPr>
          <p:spPr>
            <a:xfrm>
              <a:off x="880161" y="3172839"/>
              <a:ext cx="14434" cy="115475"/>
            </a:xfrm>
            <a:custGeom>
              <a:avLst/>
              <a:gdLst>
                <a:gd name="connsiteX0" fmla="*/ 10867 w 14434"/>
                <a:gd name="connsiteY0" fmla="*/ 10867 h 115474"/>
                <a:gd name="connsiteX1" fmla="*/ 10867 w 14434"/>
                <a:gd name="connsiteY1" fmla="*/ 115516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34" h="115474">
                  <a:moveTo>
                    <a:pt x="10867" y="10867"/>
                  </a:moveTo>
                  <a:lnTo>
                    <a:pt x="10867" y="115516"/>
                  </a:lnTo>
                </a:path>
              </a:pathLst>
            </a:custGeom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A40AD51D-CBAB-41CE-9072-B652EA2706D8}"/>
                </a:ext>
              </a:extLst>
            </p:cNvPr>
            <p:cNvSpPr/>
            <p:nvPr/>
          </p:nvSpPr>
          <p:spPr>
            <a:xfrm>
              <a:off x="773491" y="2492403"/>
              <a:ext cx="288687" cy="346425"/>
            </a:xfrm>
            <a:custGeom>
              <a:avLst/>
              <a:gdLst>
                <a:gd name="connsiteX0" fmla="*/ 210783 w 288687"/>
                <a:gd name="connsiteY0" fmla="*/ 335641 h 346424"/>
                <a:gd name="connsiteX1" fmla="*/ 210783 w 288687"/>
                <a:gd name="connsiteY1" fmla="*/ 162284 h 346424"/>
                <a:gd name="connsiteX2" fmla="*/ 288729 w 288687"/>
                <a:gd name="connsiteY2" fmla="*/ 161851 h 346424"/>
                <a:gd name="connsiteX3" fmla="*/ 149870 w 288687"/>
                <a:gd name="connsiteY3" fmla="*/ 10867 h 346424"/>
                <a:gd name="connsiteX4" fmla="*/ 10867 w 288687"/>
                <a:gd name="connsiteY4" fmla="*/ 161851 h 346424"/>
                <a:gd name="connsiteX5" fmla="*/ 88957 w 288687"/>
                <a:gd name="connsiteY5" fmla="*/ 162284 h 346424"/>
                <a:gd name="connsiteX6" fmla="*/ 88957 w 288687"/>
                <a:gd name="connsiteY6" fmla="*/ 288585 h 346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687" h="346424">
                  <a:moveTo>
                    <a:pt x="210783" y="335641"/>
                  </a:moveTo>
                  <a:lnTo>
                    <a:pt x="210783" y="162284"/>
                  </a:lnTo>
                  <a:lnTo>
                    <a:pt x="288729" y="161851"/>
                  </a:lnTo>
                  <a:lnTo>
                    <a:pt x="149870" y="10867"/>
                  </a:lnTo>
                  <a:lnTo>
                    <a:pt x="10867" y="161851"/>
                  </a:lnTo>
                  <a:lnTo>
                    <a:pt x="88957" y="162284"/>
                  </a:lnTo>
                  <a:lnTo>
                    <a:pt x="88957" y="288585"/>
                  </a:ln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BBD274B0-E4D5-4A38-A8E7-CE79E0FE009F}"/>
                </a:ext>
              </a:extLst>
            </p:cNvPr>
            <p:cNvSpPr/>
            <p:nvPr/>
          </p:nvSpPr>
          <p:spPr>
            <a:xfrm>
              <a:off x="974418" y="2817176"/>
              <a:ext cx="216516" cy="404162"/>
            </a:xfrm>
            <a:custGeom>
              <a:avLst/>
              <a:gdLst>
                <a:gd name="connsiteX0" fmla="*/ 157520 w 216515"/>
                <a:gd name="connsiteY0" fmla="*/ 318897 h 404162"/>
                <a:gd name="connsiteX1" fmla="*/ 157520 w 216515"/>
                <a:gd name="connsiteY1" fmla="*/ 122012 h 404162"/>
                <a:gd name="connsiteX2" fmla="*/ 214681 w 216515"/>
                <a:gd name="connsiteY2" fmla="*/ 121579 h 404162"/>
                <a:gd name="connsiteX3" fmla="*/ 112774 w 216515"/>
                <a:gd name="connsiteY3" fmla="*/ 10867 h 404162"/>
                <a:gd name="connsiteX4" fmla="*/ 10867 w 216515"/>
                <a:gd name="connsiteY4" fmla="*/ 121579 h 404162"/>
                <a:gd name="connsiteX5" fmla="*/ 68027 w 216515"/>
                <a:gd name="connsiteY5" fmla="*/ 122012 h 404162"/>
                <a:gd name="connsiteX6" fmla="*/ 68027 w 216515"/>
                <a:gd name="connsiteY6" fmla="*/ 401028 h 404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515" h="404162">
                  <a:moveTo>
                    <a:pt x="157520" y="318897"/>
                  </a:moveTo>
                  <a:lnTo>
                    <a:pt x="157520" y="122012"/>
                  </a:lnTo>
                  <a:lnTo>
                    <a:pt x="214681" y="121579"/>
                  </a:lnTo>
                  <a:lnTo>
                    <a:pt x="112774" y="10867"/>
                  </a:lnTo>
                  <a:lnTo>
                    <a:pt x="10867" y="121579"/>
                  </a:lnTo>
                  <a:lnTo>
                    <a:pt x="68027" y="122012"/>
                  </a:lnTo>
                  <a:lnTo>
                    <a:pt x="68027" y="401028"/>
                  </a:ln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012343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3BDB78C-9CB6-4C01-BECF-90E81C28F4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parency International 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575332F-B1F3-4D55-91C2-F75368CE1AC9}"/>
              </a:ext>
            </a:extLst>
          </p:cNvPr>
          <p:cNvSpPr txBox="1">
            <a:spLocks/>
          </p:cNvSpPr>
          <p:nvPr/>
        </p:nvSpPr>
        <p:spPr>
          <a:xfrm>
            <a:off x="1523862" y="407116"/>
            <a:ext cx="9017000" cy="2804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FEC3480-5843-4AC3-925C-672F1B2AEBD9}"/>
              </a:ext>
            </a:extLst>
          </p:cNvPr>
          <p:cNvSpPr txBox="1">
            <a:spLocks/>
          </p:cNvSpPr>
          <p:nvPr/>
        </p:nvSpPr>
        <p:spPr>
          <a:xfrm>
            <a:off x="544751" y="1656032"/>
            <a:ext cx="10933887" cy="215204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400" dirty="0" err="1"/>
              <a:t>КИЭИдаги</a:t>
            </a:r>
            <a:r>
              <a:rPr lang="ru-RU" sz="1400" dirty="0"/>
              <a:t> </a:t>
            </a:r>
            <a:r>
              <a:rPr lang="ru-RU" sz="1400" dirty="0" err="1"/>
              <a:t>мамлакатларни</a:t>
            </a:r>
            <a:r>
              <a:rPr lang="ru-RU" sz="1400" dirty="0"/>
              <a:t> </a:t>
            </a:r>
            <a:r>
              <a:rPr lang="ru-RU" sz="1400" dirty="0" err="1"/>
              <a:t>баҳолаш</a:t>
            </a:r>
            <a:r>
              <a:rPr lang="ru-RU" sz="1400" dirty="0"/>
              <a:t> </a:t>
            </a:r>
            <a:r>
              <a:rPr lang="ru-RU" sz="1400" dirty="0" err="1"/>
              <a:t>давлат</a:t>
            </a:r>
            <a:r>
              <a:rPr lang="ru-RU" sz="1400" dirty="0"/>
              <a:t> </a:t>
            </a:r>
            <a:r>
              <a:rPr lang="ru-RU" sz="1400" dirty="0" err="1"/>
              <a:t>секторидаги</a:t>
            </a:r>
            <a:r>
              <a:rPr lang="ru-RU" sz="1400" dirty="0"/>
              <a:t> </a:t>
            </a:r>
            <a:r>
              <a:rPr lang="ru-RU" sz="1400" dirty="0" err="1"/>
              <a:t>коррупцияни</a:t>
            </a:r>
            <a:r>
              <a:rPr lang="ru-RU" sz="1400" dirty="0"/>
              <a:t> </a:t>
            </a:r>
            <a:r>
              <a:rPr lang="ru-RU" sz="1400" dirty="0" err="1"/>
              <a:t>идрок</a:t>
            </a:r>
            <a:r>
              <a:rPr lang="ru-RU" sz="1400" dirty="0"/>
              <a:t> </a:t>
            </a:r>
            <a:r>
              <a:rPr lang="ru-RU" sz="1400" dirty="0" err="1"/>
              <a:t>етиш</a:t>
            </a:r>
            <a:r>
              <a:rPr lang="ru-RU" sz="1400" dirty="0"/>
              <a:t> </a:t>
            </a:r>
            <a:r>
              <a:rPr lang="ru-RU" sz="1400" dirty="0" err="1"/>
              <a:t>даражасини</a:t>
            </a:r>
            <a:r>
              <a:rPr lang="ru-RU" sz="1400" dirty="0"/>
              <a:t> 0 дан 100 </a:t>
            </a:r>
            <a:r>
              <a:rPr lang="ru-RU" sz="1400" dirty="0" err="1"/>
              <a:t>гача</a:t>
            </a:r>
            <a:r>
              <a:rPr lang="ru-RU" sz="1400" dirty="0"/>
              <a:t> </a:t>
            </a:r>
            <a:r>
              <a:rPr lang="ru-RU" sz="1400" dirty="0" err="1"/>
              <a:t>бўлган</a:t>
            </a:r>
            <a:r>
              <a:rPr lang="ru-RU" sz="1400" dirty="0"/>
              <a:t> шкала </a:t>
            </a:r>
            <a:r>
              <a:rPr lang="ru-RU" sz="1400" dirty="0" err="1"/>
              <a:t>бўйича</a:t>
            </a:r>
            <a:r>
              <a:rPr lang="ru-RU" sz="1400" dirty="0"/>
              <a:t> </a:t>
            </a:r>
            <a:r>
              <a:rPr lang="ru-RU" sz="1400" dirty="0" err="1"/>
              <a:t>акс</a:t>
            </a:r>
            <a:r>
              <a:rPr lang="ru-RU" sz="1400" dirty="0"/>
              <a:t> </a:t>
            </a:r>
            <a:r>
              <a:rPr lang="ru-RU" sz="1400" dirty="0" err="1"/>
              <a:t>эттирувчи</a:t>
            </a:r>
            <a:r>
              <a:rPr lang="ru-RU" sz="1400" dirty="0"/>
              <a:t> </a:t>
            </a:r>
            <a:r>
              <a:rPr lang="ru-RU" sz="1400" dirty="0" err="1"/>
              <a:t>мамлакат</a:t>
            </a:r>
            <a:r>
              <a:rPr lang="ru-RU" sz="1400" dirty="0"/>
              <a:t> </a:t>
            </a:r>
            <a:r>
              <a:rPr lang="ru-RU" sz="1400" dirty="0" err="1"/>
              <a:t>томонидан</a:t>
            </a:r>
            <a:r>
              <a:rPr lang="ru-RU" sz="1400" dirty="0"/>
              <a:t> </a:t>
            </a:r>
            <a:r>
              <a:rPr lang="ru-RU" sz="1400" dirty="0" err="1"/>
              <a:t>олинган</a:t>
            </a:r>
            <a:r>
              <a:rPr lang="ru-RU" sz="1400" dirty="0"/>
              <a:t> </a:t>
            </a:r>
            <a:r>
              <a:rPr lang="ru-RU" sz="1400" dirty="0" err="1"/>
              <a:t>балларни</a:t>
            </a:r>
            <a:r>
              <a:rPr lang="ru-RU" sz="1400" dirty="0"/>
              <a:t> </a:t>
            </a:r>
            <a:r>
              <a:rPr lang="ru-RU" sz="1400" dirty="0" err="1"/>
              <a:t>ҳисоблаш</a:t>
            </a:r>
            <a:r>
              <a:rPr lang="ru-RU" sz="1400" dirty="0"/>
              <a:t> </a:t>
            </a:r>
            <a:r>
              <a:rPr lang="ru-RU" sz="1400" dirty="0" err="1"/>
              <a:t>йўли</a:t>
            </a:r>
            <a:r>
              <a:rPr lang="ru-RU" sz="1400" dirty="0"/>
              <a:t> </a:t>
            </a:r>
            <a:r>
              <a:rPr lang="ru-RU" sz="1400" dirty="0" err="1"/>
              <a:t>билан</a:t>
            </a:r>
            <a:r>
              <a:rPr lang="ru-RU" sz="1400" dirty="0"/>
              <a:t> </a:t>
            </a:r>
            <a:r>
              <a:rPr lang="ru-RU" sz="1400" dirty="0" err="1"/>
              <a:t>амалга</a:t>
            </a:r>
            <a:r>
              <a:rPr lang="ru-RU" sz="1400" dirty="0"/>
              <a:t> </a:t>
            </a:r>
            <a:r>
              <a:rPr lang="ru-RU" sz="1400" dirty="0" err="1"/>
              <a:t>оширилади</a:t>
            </a:r>
            <a:r>
              <a:rPr lang="ru-RU" sz="1400" dirty="0"/>
              <a:t>, </a:t>
            </a:r>
            <a:r>
              <a:rPr lang="ru-RU" sz="1400" dirty="0" err="1"/>
              <a:t>бу</a:t>
            </a:r>
            <a:r>
              <a:rPr lang="ru-RU" sz="1400" dirty="0"/>
              <a:t> </a:t>
            </a:r>
            <a:r>
              <a:rPr lang="ru-RU" sz="1400" dirty="0" err="1"/>
              <a:t>ерда</a:t>
            </a:r>
            <a:endParaRPr lang="ru-RU" sz="1400" dirty="0"/>
          </a:p>
          <a:p>
            <a:pPr lvl="1"/>
            <a:r>
              <a:rPr lang="ru-RU" sz="2000" b="1" dirty="0">
                <a:solidFill>
                  <a:schemeClr val="accent5"/>
                </a:solidFill>
              </a:rPr>
              <a:t>0</a:t>
            </a:r>
            <a:r>
              <a:rPr lang="ru-RU" sz="1400" dirty="0"/>
              <a:t> </a:t>
            </a:r>
            <a:r>
              <a:rPr lang="ru-RU" sz="1400" dirty="0" err="1"/>
              <a:t>жуда</a:t>
            </a:r>
            <a:r>
              <a:rPr lang="ru-RU" sz="1400" dirty="0"/>
              <a:t> </a:t>
            </a:r>
            <a:r>
              <a:rPr lang="ru-RU" sz="1400" dirty="0" err="1"/>
              <a:t>юқори</a:t>
            </a:r>
            <a:r>
              <a:rPr lang="ru-RU" sz="1400" dirty="0"/>
              <a:t> </a:t>
            </a:r>
            <a:r>
              <a:rPr lang="ru-RU" sz="1400" dirty="0" err="1"/>
              <a:t>деган</a:t>
            </a:r>
            <a:r>
              <a:rPr lang="ru-RU" sz="1400" dirty="0"/>
              <a:t> </a:t>
            </a:r>
            <a:r>
              <a:rPr lang="ru-RU" sz="1400" dirty="0" err="1"/>
              <a:t>маънони</a:t>
            </a:r>
            <a:r>
              <a:rPr lang="ru-RU" sz="1400" dirty="0"/>
              <a:t>, </a:t>
            </a:r>
            <a:r>
              <a:rPr lang="ru-RU" sz="2000" b="1" dirty="0">
                <a:solidFill>
                  <a:srgbClr val="1BD7D3"/>
                </a:solidFill>
              </a:rPr>
              <a:t>100</a:t>
            </a:r>
            <a:r>
              <a:rPr lang="ru-RU" sz="1400" dirty="0"/>
              <a:t> </a:t>
            </a:r>
            <a:r>
              <a:rPr lang="ru-RU" sz="1400" dirty="0" err="1"/>
              <a:t>эса</a:t>
            </a:r>
            <a:r>
              <a:rPr lang="ru-RU" sz="1400" dirty="0"/>
              <a:t> — </a:t>
            </a:r>
            <a:r>
              <a:rPr lang="ru-RU" sz="1400" dirty="0" err="1"/>
              <a:t>коррупциянинг</a:t>
            </a:r>
            <a:r>
              <a:rPr lang="ru-RU" sz="1400" dirty="0"/>
              <a:t> </a:t>
            </a:r>
            <a:r>
              <a:rPr lang="ru-RU" sz="1400" dirty="0" err="1"/>
              <a:t>жуда</a:t>
            </a:r>
            <a:r>
              <a:rPr lang="ru-RU" sz="1400" dirty="0"/>
              <a:t> паст </a:t>
            </a:r>
            <a:r>
              <a:rPr lang="ru-RU" sz="1400" dirty="0" err="1"/>
              <a:t>даражаси</a:t>
            </a:r>
            <a:r>
              <a:rPr lang="ru-RU" sz="1400" dirty="0"/>
              <a:t>, </a:t>
            </a:r>
            <a:r>
              <a:rPr lang="ru-RU" sz="1400" dirty="0" err="1"/>
              <a:t>деган</a:t>
            </a:r>
            <a:r>
              <a:rPr lang="ru-RU" sz="1400" dirty="0"/>
              <a:t> </a:t>
            </a:r>
            <a:r>
              <a:rPr lang="ru-RU" sz="1400" dirty="0" err="1"/>
              <a:t>маънони</a:t>
            </a:r>
            <a:r>
              <a:rPr lang="ru-RU" sz="1400" dirty="0"/>
              <a:t> </a:t>
            </a:r>
            <a:r>
              <a:rPr lang="ru-RU" sz="1400" dirty="0" err="1"/>
              <a:t>англатади</a:t>
            </a:r>
            <a:r>
              <a:rPr lang="ru-RU" sz="1400" dirty="0"/>
              <a:t>.</a:t>
            </a:r>
          </a:p>
          <a:p>
            <a:pPr lvl="1" algn="just"/>
            <a:r>
              <a:rPr lang="ru-RU" sz="1200" dirty="0" err="1"/>
              <a:t>Шунингдек</a:t>
            </a:r>
            <a:r>
              <a:rPr lang="ru-RU" sz="1200" dirty="0"/>
              <a:t>, </a:t>
            </a:r>
            <a:r>
              <a:rPr lang="ru-RU" sz="1200" dirty="0" err="1"/>
              <a:t>КИЭИдаги</a:t>
            </a:r>
            <a:r>
              <a:rPr lang="ru-RU" sz="1200" dirty="0"/>
              <a:t> </a:t>
            </a:r>
            <a:r>
              <a:rPr lang="ru-RU" sz="1200" dirty="0" err="1"/>
              <a:t>давлатларнинг</a:t>
            </a:r>
            <a:r>
              <a:rPr lang="ru-RU" sz="1200" dirty="0"/>
              <a:t> </a:t>
            </a:r>
            <a:r>
              <a:rPr lang="ru-RU" sz="1200" dirty="0" err="1"/>
              <a:t>позициялари</a:t>
            </a:r>
            <a:r>
              <a:rPr lang="ru-RU" sz="1200" dirty="0"/>
              <a:t> </a:t>
            </a:r>
            <a:r>
              <a:rPr lang="ru-RU" sz="1200" dirty="0" err="1"/>
              <a:t>ҳам</a:t>
            </a:r>
            <a:r>
              <a:rPr lang="ru-RU" sz="1200" dirty="0"/>
              <a:t> </a:t>
            </a:r>
            <a:r>
              <a:rPr lang="ru-RU" sz="1200" dirty="0" err="1"/>
              <a:t>тақсимланади</a:t>
            </a:r>
            <a:r>
              <a:rPr lang="ru-RU" sz="1200" dirty="0"/>
              <a:t>, </a:t>
            </a:r>
            <a:r>
              <a:rPr lang="ru-RU" sz="1200" dirty="0" err="1"/>
              <a:t>бу</a:t>
            </a:r>
            <a:r>
              <a:rPr lang="ru-RU" sz="1200" dirty="0"/>
              <a:t> </a:t>
            </a:r>
            <a:r>
              <a:rPr lang="ru-RU" sz="1200" dirty="0" err="1"/>
              <a:t>мамлакатнинг</a:t>
            </a:r>
            <a:r>
              <a:rPr lang="ru-RU" sz="1200" dirty="0"/>
              <a:t> </a:t>
            </a:r>
            <a:r>
              <a:rPr lang="ru-RU" sz="1200" dirty="0" err="1"/>
              <a:t>бошқа</a:t>
            </a:r>
            <a:r>
              <a:rPr lang="ru-RU" sz="1200" dirty="0"/>
              <a:t> </a:t>
            </a:r>
            <a:r>
              <a:rPr lang="ru-RU" sz="1200" dirty="0" err="1"/>
              <a:t>мамлакатларга</a:t>
            </a:r>
            <a:r>
              <a:rPr lang="ru-RU" sz="1200" dirty="0"/>
              <a:t> </a:t>
            </a:r>
            <a:r>
              <a:rPr lang="ru-RU" sz="1200" dirty="0" err="1"/>
              <a:t>нисбатан</a:t>
            </a:r>
            <a:r>
              <a:rPr lang="ru-RU" sz="1200" dirty="0"/>
              <a:t> </a:t>
            </a:r>
            <a:r>
              <a:rPr lang="ru-RU" sz="1200" dirty="0" err="1"/>
              <a:t>индексдаги</a:t>
            </a:r>
            <a:r>
              <a:rPr lang="ru-RU" sz="1200" dirty="0"/>
              <a:t> </a:t>
            </a:r>
            <a:r>
              <a:rPr lang="ru-RU" sz="1200" dirty="0" err="1"/>
              <a:t>ўрнини</a:t>
            </a:r>
            <a:r>
              <a:rPr lang="ru-RU" sz="1200" dirty="0"/>
              <a:t> </a:t>
            </a:r>
            <a:r>
              <a:rPr lang="ru-RU" sz="1200" dirty="0" err="1"/>
              <a:t>намойиш</a:t>
            </a:r>
            <a:r>
              <a:rPr lang="ru-RU" sz="1200" dirty="0"/>
              <a:t> </a:t>
            </a:r>
            <a:r>
              <a:rPr lang="ru-RU" sz="1200" dirty="0" err="1"/>
              <a:t>этади</a:t>
            </a:r>
            <a:r>
              <a:rPr lang="ru-RU" sz="1200" dirty="0"/>
              <a:t>. </a:t>
            </a:r>
            <a:r>
              <a:rPr lang="ru-RU" sz="1200" dirty="0" err="1"/>
              <a:t>Позицияларнинг</a:t>
            </a:r>
            <a:r>
              <a:rPr lang="ru-RU" sz="1200" dirty="0"/>
              <a:t> </a:t>
            </a:r>
            <a:r>
              <a:rPr lang="ru-RU" sz="1200" dirty="0" err="1"/>
              <a:t>ўзгариши</a:t>
            </a:r>
            <a:r>
              <a:rPr lang="ru-RU" sz="1200" dirty="0"/>
              <a:t> </a:t>
            </a:r>
            <a:r>
              <a:rPr lang="ru-RU" sz="1200" dirty="0" err="1"/>
              <a:t>оддийгина</a:t>
            </a:r>
            <a:r>
              <a:rPr lang="ru-RU" sz="1200" dirty="0"/>
              <a:t> </a:t>
            </a:r>
            <a:r>
              <a:rPr lang="ru-RU" sz="1200" dirty="0" err="1"/>
              <a:t>КИЭИга</a:t>
            </a:r>
            <a:r>
              <a:rPr lang="ru-RU" sz="1200" dirty="0"/>
              <a:t> </a:t>
            </a:r>
            <a:r>
              <a:rPr lang="ru-RU" sz="1200" dirty="0" err="1"/>
              <a:t>киритилган</a:t>
            </a:r>
            <a:r>
              <a:rPr lang="ru-RU" sz="1200" dirty="0"/>
              <a:t> </a:t>
            </a:r>
            <a:r>
              <a:rPr lang="ru-RU" sz="1200" dirty="0" err="1"/>
              <a:t>мамлакатлар</a:t>
            </a:r>
            <a:r>
              <a:rPr lang="ru-RU" sz="1200" dirty="0"/>
              <a:t> </a:t>
            </a:r>
            <a:r>
              <a:rPr lang="ru-RU" sz="1200" dirty="0" err="1"/>
              <a:t>сонининг</a:t>
            </a:r>
            <a:r>
              <a:rPr lang="ru-RU" sz="1200" dirty="0"/>
              <a:t> </a:t>
            </a:r>
            <a:r>
              <a:rPr lang="ru-RU" sz="1200" dirty="0" err="1"/>
              <a:t>ўзгариши</a:t>
            </a:r>
            <a:r>
              <a:rPr lang="ru-RU" sz="1200" dirty="0"/>
              <a:t> </a:t>
            </a:r>
            <a:r>
              <a:rPr lang="ru-RU" sz="1200" dirty="0" err="1"/>
              <a:t>натижасида</a:t>
            </a:r>
            <a:r>
              <a:rPr lang="ru-RU" sz="1200" dirty="0"/>
              <a:t> </a:t>
            </a:r>
            <a:r>
              <a:rPr lang="ru-RU" sz="1200" dirty="0" err="1"/>
              <a:t>содир</a:t>
            </a:r>
            <a:r>
              <a:rPr lang="ru-RU" sz="1200" dirty="0"/>
              <a:t> </a:t>
            </a:r>
            <a:r>
              <a:rPr lang="ru-RU" sz="1200" dirty="0" err="1"/>
              <a:t>бўлиши</a:t>
            </a:r>
            <a:r>
              <a:rPr lang="ru-RU" sz="1200" dirty="0"/>
              <a:t> </a:t>
            </a:r>
            <a:r>
              <a:rPr lang="ru-RU" sz="1200" dirty="0" err="1"/>
              <a:t>мумкин</a:t>
            </a:r>
            <a:r>
              <a:rPr lang="ru-RU" sz="1400" dirty="0"/>
              <a:t>.</a:t>
            </a:r>
          </a:p>
          <a:p>
            <a:pPr lvl="1"/>
            <a:endParaRPr lang="ru-RU" sz="1400" b="1" dirty="0"/>
          </a:p>
          <a:p>
            <a:pPr lvl="1"/>
            <a:endParaRPr lang="ru-RU" sz="1400" b="1" dirty="0"/>
          </a:p>
          <a:p>
            <a:pPr lvl="1"/>
            <a:r>
              <a:rPr lang="ru-RU" sz="1400" dirty="0" err="1"/>
              <a:t>Шундай</a:t>
            </a:r>
            <a:r>
              <a:rPr lang="ru-RU" sz="1400" dirty="0"/>
              <a:t> </a:t>
            </a:r>
            <a:r>
              <a:rPr lang="ru-RU" sz="1400" dirty="0" err="1"/>
              <a:t>қилиб</a:t>
            </a:r>
            <a:r>
              <a:rPr lang="ru-RU" sz="1400" dirty="0"/>
              <a:t>, </a:t>
            </a:r>
            <a:r>
              <a:rPr lang="ru-RU" sz="1400" dirty="0" err="1"/>
              <a:t>мамлакатдаги</a:t>
            </a:r>
            <a:r>
              <a:rPr lang="ru-RU" sz="1400" dirty="0"/>
              <a:t> коррупция </a:t>
            </a:r>
            <a:r>
              <a:rPr lang="ru-RU" sz="1400" dirty="0" err="1"/>
              <a:t>даражасини</a:t>
            </a:r>
            <a:r>
              <a:rPr lang="ru-RU" sz="1400" dirty="0"/>
              <a:t> </a:t>
            </a:r>
            <a:r>
              <a:rPr lang="ru-RU" sz="1400" dirty="0" err="1"/>
              <a:t>баҳолаш</a:t>
            </a:r>
            <a:r>
              <a:rPr lang="ru-RU" sz="1400" dirty="0"/>
              <a:t> </a:t>
            </a:r>
            <a:r>
              <a:rPr lang="ru-RU" sz="1400" dirty="0" err="1"/>
              <a:t>нуқтаи</a:t>
            </a:r>
            <a:r>
              <a:rPr lang="ru-RU" sz="1400" dirty="0"/>
              <a:t> </a:t>
            </a:r>
            <a:r>
              <a:rPr lang="ru-RU" sz="1400" dirty="0" err="1"/>
              <a:t>назаридан</a:t>
            </a:r>
            <a:r>
              <a:rPr lang="ru-RU" sz="1400" dirty="0"/>
              <a:t>, </a:t>
            </a:r>
            <a:r>
              <a:rPr lang="ru-RU" sz="1400" dirty="0" err="1"/>
              <a:t>давлатнинг</a:t>
            </a:r>
            <a:r>
              <a:rPr lang="ru-RU" sz="1400" dirty="0"/>
              <a:t> </a:t>
            </a:r>
            <a:r>
              <a:rPr lang="ru-RU" sz="1400" dirty="0" err="1"/>
              <a:t>рейтингдаги</a:t>
            </a:r>
            <a:r>
              <a:rPr lang="ru-RU" sz="1400" dirty="0"/>
              <a:t> </a:t>
            </a:r>
            <a:r>
              <a:rPr lang="ru-RU" sz="1400" dirty="0" err="1"/>
              <a:t>позицияси</a:t>
            </a:r>
            <a:r>
              <a:rPr lang="ru-RU" sz="1400" dirty="0"/>
              <a:t> </a:t>
            </a:r>
            <a:r>
              <a:rPr lang="ru-RU" sz="1400" dirty="0" err="1"/>
              <a:t>тўпланган</a:t>
            </a:r>
            <a:r>
              <a:rPr lang="ru-RU" sz="1400" dirty="0"/>
              <a:t> </a:t>
            </a:r>
            <a:r>
              <a:rPr lang="ru-RU" sz="1400" dirty="0" err="1"/>
              <a:t>баллар</a:t>
            </a:r>
            <a:r>
              <a:rPr lang="ru-RU" sz="1400" dirty="0"/>
              <a:t> сони </a:t>
            </a:r>
            <a:r>
              <a:rPr lang="ru-RU" sz="1400" dirty="0" err="1"/>
              <a:t>каби</a:t>
            </a:r>
            <a:r>
              <a:rPr lang="ru-RU" sz="1400" dirty="0"/>
              <a:t> </a:t>
            </a:r>
            <a:r>
              <a:rPr lang="ru-RU" sz="1400" dirty="0" err="1"/>
              <a:t>муҳим</a:t>
            </a:r>
            <a:r>
              <a:rPr lang="ru-RU" sz="1400" dirty="0"/>
              <a:t> </a:t>
            </a:r>
            <a:r>
              <a:rPr lang="ru-RU" sz="1400" dirty="0" err="1"/>
              <a:t>эмас</a:t>
            </a:r>
            <a:r>
              <a:rPr lang="ru-RU" sz="1400" dirty="0"/>
              <a:t>.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BE86C45C-0537-4CE9-981D-2B6F21A0BA36}"/>
              </a:ext>
            </a:extLst>
          </p:cNvPr>
          <p:cNvSpPr txBox="1">
            <a:spLocks/>
          </p:cNvSpPr>
          <p:nvPr/>
        </p:nvSpPr>
        <p:spPr>
          <a:xfrm>
            <a:off x="3954874" y="1083761"/>
            <a:ext cx="7202751" cy="43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400" dirty="0"/>
              <a:t>коррупция </a:t>
            </a:r>
            <a:r>
              <a:rPr lang="ru-RU" sz="1400" dirty="0" err="1"/>
              <a:t>даражаси</a:t>
            </a:r>
            <a:r>
              <a:rPr lang="ru-RU" sz="1400" dirty="0"/>
              <a:t> </a:t>
            </a:r>
            <a:r>
              <a:rPr lang="ru-RU" sz="1400" dirty="0" err="1"/>
              <a:t>бўйича</a:t>
            </a:r>
            <a:r>
              <a:rPr lang="ru-RU" sz="1400" dirty="0"/>
              <a:t> </a:t>
            </a:r>
            <a:r>
              <a:rPr lang="ru-RU" sz="1400" dirty="0" err="1"/>
              <a:t>мамлакатларнинг</a:t>
            </a:r>
            <a:r>
              <a:rPr lang="ru-RU" sz="1400" dirty="0"/>
              <a:t> </a:t>
            </a:r>
            <a:r>
              <a:rPr lang="ru-RU" sz="1400" dirty="0" err="1"/>
              <a:t>энг</a:t>
            </a:r>
            <a:r>
              <a:rPr lang="ru-RU" sz="1400" dirty="0"/>
              <a:t> </a:t>
            </a:r>
            <a:r>
              <a:rPr lang="ru-RU" sz="1400" dirty="0" err="1"/>
              <a:t>кенг</a:t>
            </a:r>
            <a:r>
              <a:rPr lang="ru-RU" sz="1400" dirty="0"/>
              <a:t> </a:t>
            </a:r>
            <a:r>
              <a:rPr lang="ru-RU" sz="1400" dirty="0" err="1"/>
              <a:t>қўлланиладиган</a:t>
            </a:r>
            <a:r>
              <a:rPr lang="ru-RU" sz="1400" dirty="0"/>
              <a:t> </a:t>
            </a:r>
            <a:r>
              <a:rPr lang="ru-RU" sz="1400" dirty="0" err="1"/>
              <a:t>глобал</a:t>
            </a:r>
            <a:r>
              <a:rPr lang="en-US" sz="1400" dirty="0"/>
              <a:t> </a:t>
            </a:r>
            <a:r>
              <a:rPr lang="ru-RU" sz="1400" dirty="0"/>
              <a:t>рейтинги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DE879FF-5697-4532-A6BE-E77F0D31C053}"/>
              </a:ext>
            </a:extLst>
          </p:cNvPr>
          <p:cNvSpPr/>
          <p:nvPr/>
        </p:nvSpPr>
        <p:spPr>
          <a:xfrm>
            <a:off x="544751" y="1083761"/>
            <a:ext cx="2973280" cy="432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rgbClr val="004BD2"/>
                </a:solidFill>
              </a:rPr>
              <a:t>Коррупцияни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идрок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этиш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индекси</a:t>
            </a:r>
            <a:r>
              <a:rPr lang="ru-RU" sz="1400" b="1" dirty="0">
                <a:solidFill>
                  <a:srgbClr val="004BD2"/>
                </a:solidFill>
              </a:rPr>
              <a:t> (КИЭИ) 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D593F60-3BFF-4F36-92A1-88C8C8D56B2A}"/>
              </a:ext>
            </a:extLst>
          </p:cNvPr>
          <p:cNvGrpSpPr/>
          <p:nvPr/>
        </p:nvGrpSpPr>
        <p:grpSpPr>
          <a:xfrm>
            <a:off x="3518031" y="1083762"/>
            <a:ext cx="238043" cy="431999"/>
            <a:chOff x="3841139" y="1940745"/>
            <a:chExt cx="238043" cy="442712"/>
          </a:xfrm>
          <a:solidFill>
            <a:srgbClr val="49A9F6"/>
          </a:solidFill>
        </p:grpSpPr>
        <p:sp>
          <p:nvSpPr>
            <p:cNvPr id="14" name="Arrow: Chevron 13">
              <a:extLst>
                <a:ext uri="{FF2B5EF4-FFF2-40B4-BE49-F238E27FC236}">
                  <a16:creationId xmlns:a16="http://schemas.microsoft.com/office/drawing/2014/main" id="{3FE51DE2-E98A-4EB6-8307-B04E276C7EE2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Arrow: Chevron 14">
              <a:extLst>
                <a:ext uri="{FF2B5EF4-FFF2-40B4-BE49-F238E27FC236}">
                  <a16:creationId xmlns:a16="http://schemas.microsoft.com/office/drawing/2014/main" id="{7D45BD5F-3EF9-419E-95E0-8296DC1A1DA9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1AD17D4-5B01-4E58-92D0-0751BE1C8CAD}"/>
              </a:ext>
            </a:extLst>
          </p:cNvPr>
          <p:cNvSpPr txBox="1">
            <a:spLocks/>
          </p:cNvSpPr>
          <p:nvPr/>
        </p:nvSpPr>
        <p:spPr>
          <a:xfrm>
            <a:off x="544751" y="3043840"/>
            <a:ext cx="10933887" cy="432000"/>
          </a:xfrm>
          <a:prstGeom prst="roundRect">
            <a:avLst>
              <a:gd name="adj" fmla="val 50000"/>
            </a:avLst>
          </a:prstGeom>
          <a:solidFill>
            <a:srgbClr val="49A9F6">
              <a:alpha val="32000"/>
            </a:srgbClr>
          </a:solidFill>
          <a:ln>
            <a:solidFill>
              <a:srgbClr val="004BD2"/>
            </a:solidFill>
          </a:ln>
        </p:spPr>
        <p:txBody>
          <a:bodyPr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 err="1">
                <a:solidFill>
                  <a:schemeClr val="tx2"/>
                </a:solidFill>
              </a:rPr>
              <a:t>КИЭИга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кўра</a:t>
            </a:r>
            <a:r>
              <a:rPr lang="ru-RU" dirty="0">
                <a:solidFill>
                  <a:schemeClr val="tx2"/>
                </a:solidFill>
              </a:rPr>
              <a:t> , 2012 </a:t>
            </a:r>
            <a:r>
              <a:rPr lang="ru-RU" dirty="0" err="1">
                <a:solidFill>
                  <a:schemeClr val="tx2"/>
                </a:solidFill>
              </a:rPr>
              <a:t>йилдан</a:t>
            </a:r>
            <a:r>
              <a:rPr lang="ru-RU" dirty="0">
                <a:solidFill>
                  <a:schemeClr val="tx2"/>
                </a:solidFill>
              </a:rPr>
              <a:t> 2021 </a:t>
            </a:r>
            <a:r>
              <a:rPr lang="ru-RU" dirty="0" err="1">
                <a:solidFill>
                  <a:schemeClr val="tx2"/>
                </a:solidFill>
              </a:rPr>
              <a:t>йилгача</a:t>
            </a:r>
            <a:r>
              <a:rPr lang="ru-RU" dirty="0">
                <a:solidFill>
                  <a:schemeClr val="tx2"/>
                </a:solidFill>
              </a:rPr>
              <a:t> </a:t>
            </a:r>
            <a:r>
              <a:rPr lang="ru-RU" dirty="0" err="1">
                <a:solidFill>
                  <a:schemeClr val="tx2"/>
                </a:solidFill>
              </a:rPr>
              <a:t>Ўзбекистон</a:t>
            </a:r>
            <a:r>
              <a:rPr lang="ru-RU" dirty="0">
                <a:solidFill>
                  <a:schemeClr val="tx2"/>
                </a:solidFill>
              </a:rPr>
              <a:t> 170-ўриндан 140-ўринга </a:t>
            </a:r>
            <a:r>
              <a:rPr lang="ru-RU" dirty="0" err="1">
                <a:solidFill>
                  <a:schemeClr val="tx2"/>
                </a:solidFill>
              </a:rPr>
              <a:t>кўтарилди</a:t>
            </a:r>
            <a:r>
              <a:rPr lang="ru-RU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42B9A910-30B8-4D30-918E-EF08D06530E6}"/>
              </a:ext>
            </a:extLst>
          </p:cNvPr>
          <p:cNvSpPr/>
          <p:nvPr/>
        </p:nvSpPr>
        <p:spPr>
          <a:xfrm>
            <a:off x="544751" y="4148960"/>
            <a:ext cx="10933887" cy="3510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004BD2"/>
                </a:solidFill>
              </a:rPr>
              <a:t>2021 </a:t>
            </a:r>
            <a:r>
              <a:rPr lang="ru-RU" sz="1400" b="1" dirty="0" err="1">
                <a:solidFill>
                  <a:srgbClr val="004BD2"/>
                </a:solidFill>
              </a:rPr>
              <a:t>йил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ҳолатига</a:t>
            </a:r>
            <a:r>
              <a:rPr lang="ru-RU" sz="1400" b="1" dirty="0">
                <a:solidFill>
                  <a:srgbClr val="004BD2"/>
                </a:solidFill>
              </a:rPr>
              <a:t>: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9C05C49-6545-442B-86D3-97767373569E}"/>
              </a:ext>
            </a:extLst>
          </p:cNvPr>
          <p:cNvGrpSpPr/>
          <p:nvPr/>
        </p:nvGrpSpPr>
        <p:grpSpPr>
          <a:xfrm>
            <a:off x="792020" y="4527317"/>
            <a:ext cx="2400062" cy="1554036"/>
            <a:chOff x="1105676" y="4525822"/>
            <a:chExt cx="2078939" cy="1554036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DCA539BB-528B-444C-A448-0B179E09F63B}"/>
                </a:ext>
              </a:extLst>
            </p:cNvPr>
            <p:cNvSpPr/>
            <p:nvPr/>
          </p:nvSpPr>
          <p:spPr>
            <a:xfrm>
              <a:off x="1105676" y="4525822"/>
              <a:ext cx="861633" cy="981502"/>
            </a:xfrm>
            <a:prstGeom prst="rect">
              <a:avLst/>
            </a:prstGeom>
          </p:spPr>
          <p:txBody>
            <a:bodyPr wrap="none" lIns="91440" tIns="0" bIns="0" anchor="t">
              <a:noAutofit/>
            </a:bodyPr>
            <a:lstStyle/>
            <a:p>
              <a:r>
                <a:rPr lang="ru-RU" sz="4800" spc="-244" dirty="0">
                  <a:solidFill>
                    <a:srgbClr val="49A9F6">
                      <a:alpha val="36000"/>
                    </a:srgbClr>
                  </a:solidFill>
                  <a:latin typeface="Arial" panose="020B0604020202020204" pitchFamily="34" charset="0"/>
                </a:rPr>
                <a:t>01</a:t>
              </a:r>
              <a:endParaRPr lang="en-US" sz="4800" spc="-244" dirty="0">
                <a:solidFill>
                  <a:srgbClr val="49A9F6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D33EEC4-91F9-4353-A3DC-FB1EF0B5D6E1}"/>
                </a:ext>
              </a:extLst>
            </p:cNvPr>
            <p:cNvSpPr/>
            <p:nvPr/>
          </p:nvSpPr>
          <p:spPr>
            <a:xfrm>
              <a:off x="1105676" y="5018029"/>
              <a:ext cx="2078939" cy="1061829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600" b="1" dirty="0" err="1">
                  <a:solidFill>
                    <a:srgbClr val="004BD2"/>
                  </a:solidFill>
                </a:rPr>
                <a:t>Ўрин</a:t>
              </a:r>
              <a:endParaRPr lang="ru-RU" sz="1600" b="1" dirty="0">
                <a:solidFill>
                  <a:srgbClr val="004BD2"/>
                </a:solidFill>
              </a:endParaRPr>
            </a:p>
            <a:p>
              <a:pPr>
                <a:spcAft>
                  <a:spcPts val="600"/>
                </a:spcAft>
              </a:pPr>
              <a:r>
                <a:rPr lang="ru-RU" sz="1400" dirty="0">
                  <a:solidFill>
                    <a:schemeClr val="tx2"/>
                  </a:solidFill>
                </a:rPr>
                <a:t>Янги Зеландия, Финляндия </a:t>
              </a:r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Дания (</a:t>
              </a:r>
              <a:r>
                <a:rPr lang="ru-RU" sz="1400" dirty="0" err="1">
                  <a:solidFill>
                    <a:schemeClr val="tx2"/>
                  </a:solidFill>
                </a:rPr>
                <a:t>ҳар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ири</a:t>
              </a:r>
              <a:r>
                <a:rPr lang="ru-RU" sz="1400" dirty="0">
                  <a:solidFill>
                    <a:schemeClr val="tx2"/>
                  </a:solidFill>
                </a:rPr>
                <a:t> 88 </a:t>
              </a:r>
              <a:r>
                <a:rPr lang="ru-RU" sz="1400" dirty="0" err="1">
                  <a:solidFill>
                    <a:schemeClr val="tx2"/>
                  </a:solidFill>
                </a:rPr>
                <a:t>баллдан</a:t>
              </a:r>
              <a:r>
                <a:rPr lang="ru-RU" sz="1400" dirty="0">
                  <a:solidFill>
                    <a:schemeClr val="tx2"/>
                  </a:solidFill>
                </a:rPr>
                <a:t>)</a:t>
              </a:r>
            </a:p>
          </p:txBody>
        </p:sp>
      </p:grp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38788A33-8027-45F5-9633-9018FA861D63}"/>
              </a:ext>
            </a:extLst>
          </p:cNvPr>
          <p:cNvSpPr txBox="1">
            <a:spLocks/>
          </p:cNvSpPr>
          <p:nvPr/>
        </p:nvSpPr>
        <p:spPr>
          <a:xfrm>
            <a:off x="565419" y="6039948"/>
            <a:ext cx="10933886" cy="39105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400" dirty="0" err="1"/>
              <a:t>Таъкидлаш</a:t>
            </a:r>
            <a:r>
              <a:rPr lang="ru-RU" sz="1400" dirty="0"/>
              <a:t> </a:t>
            </a:r>
            <a:r>
              <a:rPr lang="ru-RU" sz="1400" dirty="0" err="1"/>
              <a:t>жоизки</a:t>
            </a:r>
            <a:r>
              <a:rPr lang="ru-RU" sz="1400" dirty="0"/>
              <a:t>, </a:t>
            </a:r>
            <a:r>
              <a:rPr lang="ru-RU" sz="1400" dirty="0" err="1"/>
              <a:t>давлат</a:t>
            </a:r>
            <a:r>
              <a:rPr lang="ru-RU" sz="1400" dirty="0"/>
              <a:t> </a:t>
            </a:r>
            <a:r>
              <a:rPr lang="ru-RU" sz="1400" dirty="0" err="1"/>
              <a:t>секторида</a:t>
            </a:r>
            <a:r>
              <a:rPr lang="ru-RU" sz="1400" dirty="0"/>
              <a:t> </a:t>
            </a:r>
            <a:r>
              <a:rPr lang="ru-RU" sz="1400" dirty="0" err="1"/>
              <a:t>коррупцияни</a:t>
            </a:r>
            <a:r>
              <a:rPr lang="ru-RU" sz="1400" dirty="0"/>
              <a:t> </a:t>
            </a:r>
            <a:r>
              <a:rPr lang="ru-RU" sz="1400" dirty="0" err="1"/>
              <a:t>идрок</a:t>
            </a:r>
            <a:r>
              <a:rPr lang="ru-RU" sz="1400" dirty="0"/>
              <a:t> </a:t>
            </a:r>
            <a:r>
              <a:rPr lang="ru-RU" sz="1400" dirty="0" err="1"/>
              <a:t>этиш</a:t>
            </a:r>
            <a:r>
              <a:rPr lang="ru-RU" sz="1400" dirty="0"/>
              <a:t> </a:t>
            </a:r>
            <a:r>
              <a:rPr lang="ru-RU" sz="1400" dirty="0" err="1"/>
              <a:t>индексини</a:t>
            </a:r>
            <a:r>
              <a:rPr lang="ru-RU" sz="1400" dirty="0"/>
              <a:t> (КИЭИ) </a:t>
            </a:r>
            <a:r>
              <a:rPr lang="ru-RU" sz="1400" dirty="0" err="1"/>
              <a:t>баҳолаш</a:t>
            </a:r>
            <a:r>
              <a:rPr lang="ru-RU" sz="1400" dirty="0"/>
              <a:t> </a:t>
            </a:r>
            <a:r>
              <a:rPr lang="ru-RU" sz="1400" dirty="0" err="1"/>
              <a:t>экспертлар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тадбиркорлар</a:t>
            </a:r>
            <a:r>
              <a:rPr lang="ru-RU" sz="1400" dirty="0"/>
              <a:t> </a:t>
            </a:r>
            <a:r>
              <a:rPr lang="ru-RU" sz="1400" dirty="0" err="1"/>
              <a:t>ўртасида</a:t>
            </a:r>
            <a:r>
              <a:rPr lang="ru-RU" sz="1400" dirty="0"/>
              <a:t> </a:t>
            </a:r>
            <a:r>
              <a:rPr lang="ru-RU" sz="1400" dirty="0" err="1"/>
              <a:t>ўтказилган</a:t>
            </a:r>
            <a:r>
              <a:rPr lang="ru-RU" sz="1400" dirty="0"/>
              <a:t>  </a:t>
            </a:r>
            <a:r>
              <a:rPr lang="ru-RU" sz="1400" dirty="0" err="1"/>
              <a:t>сўровлар</a:t>
            </a:r>
            <a:r>
              <a:rPr lang="ru-RU" sz="1400" dirty="0"/>
              <a:t> </a:t>
            </a:r>
            <a:r>
              <a:rPr lang="ru-RU" sz="1400" dirty="0" err="1"/>
              <a:t>маълумотларига</a:t>
            </a:r>
            <a:r>
              <a:rPr lang="ru-RU" sz="1400" dirty="0"/>
              <a:t> </a:t>
            </a:r>
            <a:r>
              <a:rPr lang="ru-RU" sz="1400" dirty="0" err="1"/>
              <a:t>асосланади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шунинг</a:t>
            </a:r>
            <a:r>
              <a:rPr lang="ru-RU" sz="1400" dirty="0"/>
              <a:t> </a:t>
            </a:r>
            <a:r>
              <a:rPr lang="ru-RU" sz="1400" dirty="0" err="1"/>
              <a:t>учун</a:t>
            </a:r>
            <a:r>
              <a:rPr lang="ru-RU" sz="1400" dirty="0"/>
              <a:t> </a:t>
            </a:r>
            <a:r>
              <a:rPr lang="ru-RU" sz="1400" dirty="0" err="1"/>
              <a:t>бу</a:t>
            </a:r>
            <a:r>
              <a:rPr lang="ru-RU" sz="1400" dirty="0"/>
              <a:t> </a:t>
            </a:r>
            <a:r>
              <a:rPr lang="ru-RU" sz="1400" dirty="0" err="1"/>
              <a:t>баҳолаш</a:t>
            </a:r>
            <a:r>
              <a:rPr lang="ru-RU" sz="1400" dirty="0"/>
              <a:t> </a:t>
            </a:r>
            <a:r>
              <a:rPr lang="ru-RU" sz="1400" dirty="0" err="1"/>
              <a:t>субъективдир</a:t>
            </a:r>
            <a:r>
              <a:rPr lang="ru-RU" sz="1400" dirty="0"/>
              <a:t>.</a:t>
            </a:r>
          </a:p>
          <a:p>
            <a:pPr lvl="1"/>
            <a:endParaRPr lang="ru-RU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E177789-9BD2-4AB4-9028-EDD263B03B57}"/>
              </a:ext>
            </a:extLst>
          </p:cNvPr>
          <p:cNvGrpSpPr/>
          <p:nvPr/>
        </p:nvGrpSpPr>
        <p:grpSpPr>
          <a:xfrm>
            <a:off x="3686643" y="4510367"/>
            <a:ext cx="2263894" cy="1337137"/>
            <a:chOff x="3296945" y="4498099"/>
            <a:chExt cx="1449037" cy="1337137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E1DF1D39-9A08-4622-9432-4CED47D5C46F}"/>
                </a:ext>
              </a:extLst>
            </p:cNvPr>
            <p:cNvSpPr/>
            <p:nvPr/>
          </p:nvSpPr>
          <p:spPr>
            <a:xfrm>
              <a:off x="3328347" y="4498099"/>
              <a:ext cx="861633" cy="981502"/>
            </a:xfrm>
            <a:prstGeom prst="rect">
              <a:avLst/>
            </a:prstGeom>
          </p:spPr>
          <p:txBody>
            <a:bodyPr wrap="none" lIns="91440" tIns="0" bIns="0" anchor="t">
              <a:noAutofit/>
            </a:bodyPr>
            <a:lstStyle/>
            <a:p>
              <a:r>
                <a:rPr lang="ru-RU" sz="4800" spc="-244" dirty="0" err="1">
                  <a:solidFill>
                    <a:srgbClr val="49A9F6">
                      <a:alpha val="36000"/>
                    </a:srgbClr>
                  </a:solidFill>
                  <a:latin typeface="Arial" panose="020B0604020202020204" pitchFamily="34" charset="0"/>
                </a:rPr>
                <a:t>Кейинги</a:t>
              </a:r>
              <a:endParaRPr lang="en-US" sz="4800" spc="-244" dirty="0">
                <a:solidFill>
                  <a:srgbClr val="49A9F6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897FD88-DF26-4757-85E8-46AABD1F0B0B}"/>
                </a:ext>
              </a:extLst>
            </p:cNvPr>
            <p:cNvSpPr/>
            <p:nvPr/>
          </p:nvSpPr>
          <p:spPr>
            <a:xfrm>
              <a:off x="3296945" y="4988850"/>
              <a:ext cx="1449037" cy="846386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>
                <a:spcAft>
                  <a:spcPts val="600"/>
                </a:spcAft>
              </a:pPr>
              <a:endParaRPr lang="ru-RU" sz="1600" b="1" dirty="0"/>
            </a:p>
            <a:p>
              <a:pPr>
                <a:spcAft>
                  <a:spcPts val="600"/>
                </a:spcAft>
              </a:pPr>
              <a:r>
                <a:rPr lang="ru-RU" sz="1400" dirty="0">
                  <a:solidFill>
                    <a:schemeClr val="tx2"/>
                  </a:solidFill>
                </a:rPr>
                <a:t>Норвегия, Сингапур </a:t>
              </a:r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Швеция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F1CEC46B-4FFE-49E9-AC3C-000E3CD9222A}"/>
              </a:ext>
            </a:extLst>
          </p:cNvPr>
          <p:cNvGrpSpPr/>
          <p:nvPr/>
        </p:nvGrpSpPr>
        <p:grpSpPr>
          <a:xfrm>
            <a:off x="6478371" y="4526278"/>
            <a:ext cx="1463151" cy="1128783"/>
            <a:chOff x="5687628" y="4491009"/>
            <a:chExt cx="1463151" cy="1128783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85123094-5797-456A-B03C-1F0772AD60C6}"/>
                </a:ext>
              </a:extLst>
            </p:cNvPr>
            <p:cNvSpPr/>
            <p:nvPr/>
          </p:nvSpPr>
          <p:spPr>
            <a:xfrm>
              <a:off x="5687628" y="4491009"/>
              <a:ext cx="861633" cy="981502"/>
            </a:xfrm>
            <a:prstGeom prst="rect">
              <a:avLst/>
            </a:prstGeom>
          </p:spPr>
          <p:txBody>
            <a:bodyPr wrap="none" lIns="91440" tIns="0" bIns="0" anchor="t">
              <a:noAutofit/>
            </a:bodyPr>
            <a:lstStyle/>
            <a:p>
              <a:r>
                <a:rPr lang="ru-RU" sz="4800" spc="-244" dirty="0">
                  <a:solidFill>
                    <a:srgbClr val="49A9F6">
                      <a:alpha val="36000"/>
                    </a:srgbClr>
                  </a:solidFill>
                  <a:latin typeface="Arial" panose="020B0604020202020204" pitchFamily="34" charset="0"/>
                </a:rPr>
                <a:t>27</a:t>
              </a:r>
              <a:endParaRPr lang="en-US" sz="4800" spc="-244" dirty="0">
                <a:solidFill>
                  <a:srgbClr val="49A9F6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6C780FA-7884-4039-A1CD-52B72007EBDF}"/>
                </a:ext>
              </a:extLst>
            </p:cNvPr>
            <p:cNvSpPr/>
            <p:nvPr/>
          </p:nvSpPr>
          <p:spPr>
            <a:xfrm>
              <a:off x="5701742" y="4988850"/>
              <a:ext cx="1449037" cy="630942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600" b="1" dirty="0" err="1">
                  <a:solidFill>
                    <a:srgbClr val="004BD2"/>
                  </a:solidFill>
                </a:rPr>
                <a:t>Ўрин</a:t>
              </a:r>
              <a:endParaRPr lang="ru-RU" sz="1600" b="1" dirty="0">
                <a:solidFill>
                  <a:srgbClr val="004BD2"/>
                </a:solidFill>
              </a:endParaRPr>
            </a:p>
            <a:p>
              <a:pPr>
                <a:spcAft>
                  <a:spcPts val="600"/>
                </a:spcAft>
              </a:pPr>
              <a:r>
                <a:rPr lang="ru-RU" sz="1400" dirty="0">
                  <a:solidFill>
                    <a:schemeClr val="tx2"/>
                  </a:solidFill>
                </a:rPr>
                <a:t>АҚШ (67 балл)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B819F6AE-6625-44D2-95B5-D479C1A60F31}"/>
              </a:ext>
            </a:extLst>
          </p:cNvPr>
          <p:cNvGrpSpPr/>
          <p:nvPr/>
        </p:nvGrpSpPr>
        <p:grpSpPr>
          <a:xfrm>
            <a:off x="8588378" y="4498100"/>
            <a:ext cx="2811602" cy="1160684"/>
            <a:chOff x="7309328" y="4480131"/>
            <a:chExt cx="1952484" cy="1160684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74395224-981F-4842-98C0-A296C1AF717A}"/>
                </a:ext>
              </a:extLst>
            </p:cNvPr>
            <p:cNvSpPr/>
            <p:nvPr/>
          </p:nvSpPr>
          <p:spPr>
            <a:xfrm>
              <a:off x="7309328" y="4480131"/>
              <a:ext cx="861633" cy="981502"/>
            </a:xfrm>
            <a:prstGeom prst="rect">
              <a:avLst/>
            </a:prstGeom>
          </p:spPr>
          <p:txBody>
            <a:bodyPr wrap="none" lIns="91440" tIns="0" bIns="0" anchor="t">
              <a:noAutofit/>
            </a:bodyPr>
            <a:lstStyle/>
            <a:p>
              <a:r>
                <a:rPr lang="ru-RU" sz="4800" spc="-244" dirty="0" err="1">
                  <a:solidFill>
                    <a:srgbClr val="49A9F6">
                      <a:alpha val="36000"/>
                    </a:srgbClr>
                  </a:solidFill>
                  <a:latin typeface="Arial" panose="020B0604020202020204" pitchFamily="34" charset="0"/>
                </a:rPr>
                <a:t>Охирги</a:t>
              </a:r>
              <a:endParaRPr lang="en-US" sz="4800" spc="-244" dirty="0">
                <a:solidFill>
                  <a:srgbClr val="49A9F6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F74CEF5-4DE9-45A5-9DFA-7032E00FE0B6}"/>
                </a:ext>
              </a:extLst>
            </p:cNvPr>
            <p:cNvSpPr/>
            <p:nvPr/>
          </p:nvSpPr>
          <p:spPr>
            <a:xfrm>
              <a:off x="7309328" y="5009873"/>
              <a:ext cx="1952484" cy="630942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600" b="1" dirty="0" err="1">
                  <a:solidFill>
                    <a:srgbClr val="004BD2"/>
                  </a:solidFill>
                </a:rPr>
                <a:t>Ўрин</a:t>
              </a:r>
              <a:endParaRPr lang="ru-RU" sz="1600" b="1" dirty="0">
                <a:solidFill>
                  <a:srgbClr val="004BD2"/>
                </a:solidFill>
              </a:endParaRPr>
            </a:p>
            <a:p>
              <a:pPr>
                <a:spcAft>
                  <a:spcPts val="600"/>
                </a:spcAft>
              </a:pPr>
              <a:r>
                <a:rPr lang="ru-RU" sz="1400" dirty="0" err="1">
                  <a:solidFill>
                    <a:schemeClr val="tx2"/>
                  </a:solidFill>
                </a:rPr>
                <a:t>Жанубий</a:t>
              </a:r>
              <a:r>
                <a:rPr lang="ru-RU" sz="1400" dirty="0">
                  <a:solidFill>
                    <a:schemeClr val="tx2"/>
                  </a:solidFill>
                </a:rPr>
                <a:t> Судан (11 балл)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D7A00B4-704C-4FB9-BEC3-A8335146A225}"/>
              </a:ext>
            </a:extLst>
          </p:cNvPr>
          <p:cNvGrpSpPr/>
          <p:nvPr/>
        </p:nvGrpSpPr>
        <p:grpSpPr>
          <a:xfrm>
            <a:off x="723416" y="4664345"/>
            <a:ext cx="238043" cy="431999"/>
            <a:chOff x="3841139" y="1940745"/>
            <a:chExt cx="238043" cy="442712"/>
          </a:xfrm>
          <a:solidFill>
            <a:srgbClr val="49A9F6"/>
          </a:solidFill>
        </p:grpSpPr>
        <p:sp>
          <p:nvSpPr>
            <p:cNvPr id="43" name="Arrow: Chevron 42">
              <a:extLst>
                <a:ext uri="{FF2B5EF4-FFF2-40B4-BE49-F238E27FC236}">
                  <a16:creationId xmlns:a16="http://schemas.microsoft.com/office/drawing/2014/main" id="{3C879198-D961-4A3D-8C43-4E1280B4577C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Arrow: Chevron 43">
              <a:extLst>
                <a:ext uri="{FF2B5EF4-FFF2-40B4-BE49-F238E27FC236}">
                  <a16:creationId xmlns:a16="http://schemas.microsoft.com/office/drawing/2014/main" id="{571B7027-1807-4108-8A54-87FD6CBFFE17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1E6A2CE-6C97-43F6-94B0-2D41A9152D47}"/>
              </a:ext>
            </a:extLst>
          </p:cNvPr>
          <p:cNvGrpSpPr/>
          <p:nvPr/>
        </p:nvGrpSpPr>
        <p:grpSpPr>
          <a:xfrm>
            <a:off x="3637736" y="4658671"/>
            <a:ext cx="238043" cy="431999"/>
            <a:chOff x="3841139" y="1940745"/>
            <a:chExt cx="238043" cy="442712"/>
          </a:xfrm>
          <a:solidFill>
            <a:srgbClr val="49A9F6"/>
          </a:solidFill>
        </p:grpSpPr>
        <p:sp>
          <p:nvSpPr>
            <p:cNvPr id="46" name="Arrow: Chevron 45">
              <a:extLst>
                <a:ext uri="{FF2B5EF4-FFF2-40B4-BE49-F238E27FC236}">
                  <a16:creationId xmlns:a16="http://schemas.microsoft.com/office/drawing/2014/main" id="{36FC2BD3-132E-4DA6-BDEA-9A948A17C12E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59" name="Arrow: Chevron 58">
              <a:extLst>
                <a:ext uri="{FF2B5EF4-FFF2-40B4-BE49-F238E27FC236}">
                  <a16:creationId xmlns:a16="http://schemas.microsoft.com/office/drawing/2014/main" id="{297A2EF9-5886-4870-A3D9-16128DBFC565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11553DD-F2A8-4C4A-8698-A5E648F8DE8C}"/>
              </a:ext>
            </a:extLst>
          </p:cNvPr>
          <p:cNvGrpSpPr/>
          <p:nvPr/>
        </p:nvGrpSpPr>
        <p:grpSpPr>
          <a:xfrm>
            <a:off x="8469356" y="4658671"/>
            <a:ext cx="238043" cy="431999"/>
            <a:chOff x="3841139" y="1940745"/>
            <a:chExt cx="238043" cy="442712"/>
          </a:xfrm>
          <a:solidFill>
            <a:srgbClr val="49A9F6"/>
          </a:solidFill>
        </p:grpSpPr>
        <p:sp>
          <p:nvSpPr>
            <p:cNvPr id="61" name="Arrow: Chevron 60">
              <a:extLst>
                <a:ext uri="{FF2B5EF4-FFF2-40B4-BE49-F238E27FC236}">
                  <a16:creationId xmlns:a16="http://schemas.microsoft.com/office/drawing/2014/main" id="{C2FB725C-771C-4E06-9041-663F7F139E27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62" name="Arrow: Chevron 61">
              <a:extLst>
                <a:ext uri="{FF2B5EF4-FFF2-40B4-BE49-F238E27FC236}">
                  <a16:creationId xmlns:a16="http://schemas.microsoft.com/office/drawing/2014/main" id="{86BB4BF7-6FA7-4DCF-A00E-BD082DFFACBB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A454DF7-6BA1-4956-90AF-C7CEAE78FDD5}"/>
              </a:ext>
            </a:extLst>
          </p:cNvPr>
          <p:cNvGrpSpPr/>
          <p:nvPr/>
        </p:nvGrpSpPr>
        <p:grpSpPr>
          <a:xfrm>
            <a:off x="6379763" y="4658671"/>
            <a:ext cx="238043" cy="431999"/>
            <a:chOff x="3841139" y="1940745"/>
            <a:chExt cx="238043" cy="442712"/>
          </a:xfrm>
          <a:solidFill>
            <a:srgbClr val="49A9F6"/>
          </a:solidFill>
        </p:grpSpPr>
        <p:sp>
          <p:nvSpPr>
            <p:cNvPr id="64" name="Arrow: Chevron 63">
              <a:extLst>
                <a:ext uri="{FF2B5EF4-FFF2-40B4-BE49-F238E27FC236}">
                  <a16:creationId xmlns:a16="http://schemas.microsoft.com/office/drawing/2014/main" id="{CBFE7B01-61BD-4B9E-B9CD-9CC0BD2DCF61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65" name="Arrow: Chevron 64">
              <a:extLst>
                <a:ext uri="{FF2B5EF4-FFF2-40B4-BE49-F238E27FC236}">
                  <a16:creationId xmlns:a16="http://schemas.microsoft.com/office/drawing/2014/main" id="{1E213519-C2DF-479F-AABF-4A9983D1AA9F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60776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65D284-F079-4050-9A34-3E86BE6B95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parency International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109EC36-190B-4D60-A8A3-149333BD706D}"/>
              </a:ext>
            </a:extLst>
          </p:cNvPr>
          <p:cNvSpPr txBox="1">
            <a:spLocks/>
          </p:cNvSpPr>
          <p:nvPr/>
        </p:nvSpPr>
        <p:spPr>
          <a:xfrm>
            <a:off x="1899247" y="881676"/>
            <a:ext cx="9017000" cy="2804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3F935BD-85F6-4774-B1FF-47E0B123288B}"/>
              </a:ext>
            </a:extLst>
          </p:cNvPr>
          <p:cNvSpPr txBox="1">
            <a:spLocks/>
          </p:cNvSpPr>
          <p:nvPr/>
        </p:nvSpPr>
        <p:spPr>
          <a:xfrm>
            <a:off x="1493225" y="1032454"/>
            <a:ext cx="10051063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defRPr sz="2000" b="1">
                <a:solidFill>
                  <a:srgbClr val="49A9F6"/>
                </a:solidFill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err="1"/>
              <a:t>Қуйида</a:t>
            </a:r>
            <a:r>
              <a:rPr lang="ru-RU" sz="1600" dirty="0"/>
              <a:t> 2012 </a:t>
            </a:r>
            <a:r>
              <a:rPr lang="ru-RU" sz="1600" dirty="0" err="1"/>
              <a:t>йилдан</a:t>
            </a:r>
            <a:r>
              <a:rPr lang="ru-RU" sz="1600" dirty="0"/>
              <a:t> 2021 </a:t>
            </a:r>
            <a:r>
              <a:rPr lang="ru-RU" sz="1600" dirty="0" err="1"/>
              <a:t>йилгача</a:t>
            </a:r>
            <a:r>
              <a:rPr lang="ru-RU" sz="1600" dirty="0"/>
              <a:t> </a:t>
            </a:r>
            <a:r>
              <a:rPr lang="ru-RU" sz="1600" dirty="0" err="1"/>
              <a:t>бўлган</a:t>
            </a:r>
            <a:r>
              <a:rPr lang="ru-RU" sz="1600" dirty="0"/>
              <a:t> </a:t>
            </a:r>
            <a:r>
              <a:rPr lang="ru-RU" sz="1600" dirty="0" err="1"/>
              <a:t>даврда</a:t>
            </a:r>
            <a:r>
              <a:rPr lang="ru-RU" sz="1600" dirty="0"/>
              <a:t> </a:t>
            </a:r>
            <a:r>
              <a:rPr lang="ru-RU" sz="1600" dirty="0" err="1"/>
              <a:t>Ўзбекистон</a:t>
            </a:r>
            <a:r>
              <a:rPr lang="ru-RU" sz="1600" dirty="0"/>
              <a:t>, </a:t>
            </a:r>
            <a:r>
              <a:rPr lang="ru-RU" sz="1600" dirty="0" err="1"/>
              <a:t>Қозоғистон</a:t>
            </a:r>
            <a:r>
              <a:rPr lang="ru-RU" sz="1600" dirty="0"/>
              <a:t> </a:t>
            </a:r>
            <a:r>
              <a:rPr lang="ru-RU" sz="1600" dirty="0" err="1"/>
              <a:t>ва</a:t>
            </a:r>
            <a:r>
              <a:rPr lang="ru-RU" sz="1600" dirty="0"/>
              <a:t> Россия </a:t>
            </a:r>
            <a:r>
              <a:rPr lang="ru-RU" sz="1600" dirty="0" err="1"/>
              <a:t>бўйича</a:t>
            </a:r>
            <a:r>
              <a:rPr lang="ru-RU" sz="1600" dirty="0"/>
              <a:t> </a:t>
            </a:r>
            <a:r>
              <a:rPr lang="ru-RU" sz="1600" dirty="0" err="1"/>
              <a:t>баллар</a:t>
            </a:r>
            <a:r>
              <a:rPr lang="ru-RU" sz="1600" dirty="0"/>
              <a:t> </a:t>
            </a:r>
            <a:r>
              <a:rPr lang="ru-RU" sz="1600" dirty="0" err="1"/>
              <a:t>ўзгариши</a:t>
            </a:r>
            <a:r>
              <a:rPr lang="ru-RU" sz="1600" dirty="0"/>
              <a:t> </a:t>
            </a:r>
            <a:r>
              <a:rPr lang="ru-RU" sz="1600" dirty="0" err="1"/>
              <a:t>динамикаси</a:t>
            </a:r>
            <a:r>
              <a:rPr lang="ru-RU" sz="1600" dirty="0"/>
              <a:t> </a:t>
            </a:r>
            <a:r>
              <a:rPr lang="ru-RU" sz="1600" dirty="0" err="1"/>
              <a:t>келтирилган</a:t>
            </a:r>
            <a:r>
              <a:rPr lang="ru-RU" sz="1600" dirty="0"/>
              <a:t>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C7A8960-7360-48DF-AC24-A3CD28A204A1}"/>
              </a:ext>
            </a:extLst>
          </p:cNvPr>
          <p:cNvCxnSpPr>
            <a:cxnSpLocks/>
          </p:cNvCxnSpPr>
          <p:nvPr/>
        </p:nvCxnSpPr>
        <p:spPr>
          <a:xfrm flipV="1">
            <a:off x="617755" y="1569848"/>
            <a:ext cx="10963072" cy="47381"/>
          </a:xfrm>
          <a:prstGeom prst="line">
            <a:avLst/>
          </a:prstGeom>
          <a:ln w="38100">
            <a:solidFill>
              <a:srgbClr val="49A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9C956A9-F8E5-4488-8EA2-7EFB5F1AF08E}"/>
              </a:ext>
            </a:extLst>
          </p:cNvPr>
          <p:cNvGrpSpPr/>
          <p:nvPr/>
        </p:nvGrpSpPr>
        <p:grpSpPr>
          <a:xfrm>
            <a:off x="656454" y="966989"/>
            <a:ext cx="730441" cy="599996"/>
            <a:chOff x="1541689" y="4906081"/>
            <a:chExt cx="905179" cy="743529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4EC644D-E48B-4486-B2F4-BA30BC73F15E}"/>
                </a:ext>
              </a:extLst>
            </p:cNvPr>
            <p:cNvSpPr/>
            <p:nvPr/>
          </p:nvSpPr>
          <p:spPr>
            <a:xfrm>
              <a:off x="1842645" y="5162738"/>
              <a:ext cx="303122" cy="476334"/>
            </a:xfrm>
            <a:custGeom>
              <a:avLst/>
              <a:gdLst>
                <a:gd name="connsiteX0" fmla="*/ 96319 w 303121"/>
                <a:gd name="connsiteY0" fmla="*/ 479863 h 476334"/>
                <a:gd name="connsiteX1" fmla="*/ 96319 w 303121"/>
                <a:gd name="connsiteY1" fmla="*/ 182949 h 476334"/>
                <a:gd name="connsiteX2" fmla="*/ 10867 w 303121"/>
                <a:gd name="connsiteY2" fmla="*/ 182371 h 476334"/>
                <a:gd name="connsiteX3" fmla="*/ 146983 w 303121"/>
                <a:gd name="connsiteY3" fmla="*/ 16953 h 476334"/>
                <a:gd name="connsiteX4" fmla="*/ 174986 w 303121"/>
                <a:gd name="connsiteY4" fmla="*/ 17675 h 476334"/>
                <a:gd name="connsiteX5" fmla="*/ 295946 w 303121"/>
                <a:gd name="connsiteY5" fmla="*/ 184248 h 476334"/>
                <a:gd name="connsiteX6" fmla="*/ 221753 w 303121"/>
                <a:gd name="connsiteY6" fmla="*/ 183815 h 476334"/>
                <a:gd name="connsiteX7" fmla="*/ 221753 w 303121"/>
                <a:gd name="connsiteY7" fmla="*/ 479719 h 476334"/>
                <a:gd name="connsiteX8" fmla="*/ 96463 w 303121"/>
                <a:gd name="connsiteY8" fmla="*/ 479719 h 47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121" h="476334">
                  <a:moveTo>
                    <a:pt x="96319" y="479863"/>
                  </a:moveTo>
                  <a:lnTo>
                    <a:pt x="96319" y="182949"/>
                  </a:lnTo>
                  <a:lnTo>
                    <a:pt x="10867" y="182371"/>
                  </a:lnTo>
                  <a:lnTo>
                    <a:pt x="146983" y="16953"/>
                  </a:lnTo>
                  <a:cubicBezTo>
                    <a:pt x="154634" y="8581"/>
                    <a:pt x="167913" y="8870"/>
                    <a:pt x="174986" y="17675"/>
                  </a:cubicBezTo>
                  <a:lnTo>
                    <a:pt x="295946" y="184248"/>
                  </a:lnTo>
                  <a:lnTo>
                    <a:pt x="221753" y="183815"/>
                  </a:lnTo>
                  <a:lnTo>
                    <a:pt x="221753" y="479719"/>
                  </a:lnTo>
                  <a:lnTo>
                    <a:pt x="96463" y="479719"/>
                  </a:lnTo>
                  <a:close/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EEBEA90-3D20-42E3-AFA1-086D2F389F5B}"/>
                </a:ext>
              </a:extLst>
            </p:cNvPr>
            <p:cNvSpPr/>
            <p:nvPr/>
          </p:nvSpPr>
          <p:spPr>
            <a:xfrm>
              <a:off x="2143746" y="5231013"/>
              <a:ext cx="303122" cy="418597"/>
            </a:xfrm>
            <a:custGeom>
              <a:avLst/>
              <a:gdLst>
                <a:gd name="connsiteX0" fmla="*/ 96319 w 303121"/>
                <a:gd name="connsiteY0" fmla="*/ 414909 h 418596"/>
                <a:gd name="connsiteX1" fmla="*/ 96319 w 303121"/>
                <a:gd name="connsiteY1" fmla="*/ 182948 h 418596"/>
                <a:gd name="connsiteX2" fmla="*/ 10867 w 303121"/>
                <a:gd name="connsiteY2" fmla="*/ 182371 h 418596"/>
                <a:gd name="connsiteX3" fmla="*/ 146983 w 303121"/>
                <a:gd name="connsiteY3" fmla="*/ 16953 h 418596"/>
                <a:gd name="connsiteX4" fmla="*/ 174986 w 303121"/>
                <a:gd name="connsiteY4" fmla="*/ 17675 h 418596"/>
                <a:gd name="connsiteX5" fmla="*/ 295946 w 303121"/>
                <a:gd name="connsiteY5" fmla="*/ 184247 h 418596"/>
                <a:gd name="connsiteX6" fmla="*/ 221753 w 303121"/>
                <a:gd name="connsiteY6" fmla="*/ 183814 h 418596"/>
                <a:gd name="connsiteX7" fmla="*/ 221753 w 303121"/>
                <a:gd name="connsiteY7" fmla="*/ 414764 h 418596"/>
                <a:gd name="connsiteX8" fmla="*/ 96463 w 303121"/>
                <a:gd name="connsiteY8" fmla="*/ 414764 h 418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121" h="418596">
                  <a:moveTo>
                    <a:pt x="96319" y="414909"/>
                  </a:moveTo>
                  <a:lnTo>
                    <a:pt x="96319" y="182948"/>
                  </a:lnTo>
                  <a:lnTo>
                    <a:pt x="10867" y="182371"/>
                  </a:lnTo>
                  <a:lnTo>
                    <a:pt x="146983" y="16953"/>
                  </a:lnTo>
                  <a:cubicBezTo>
                    <a:pt x="154633" y="8581"/>
                    <a:pt x="167913" y="8870"/>
                    <a:pt x="174986" y="17675"/>
                  </a:cubicBezTo>
                  <a:lnTo>
                    <a:pt x="295946" y="184247"/>
                  </a:lnTo>
                  <a:lnTo>
                    <a:pt x="221753" y="183814"/>
                  </a:lnTo>
                  <a:lnTo>
                    <a:pt x="221753" y="414764"/>
                  </a:lnTo>
                  <a:lnTo>
                    <a:pt x="96463" y="414764"/>
                  </a:lnTo>
                  <a:close/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FCCD311-4E3A-4794-B823-394AAF544997}"/>
                </a:ext>
              </a:extLst>
            </p:cNvPr>
            <p:cNvSpPr/>
            <p:nvPr/>
          </p:nvSpPr>
          <p:spPr>
            <a:xfrm>
              <a:off x="1541689" y="5331331"/>
              <a:ext cx="303122" cy="317556"/>
            </a:xfrm>
            <a:custGeom>
              <a:avLst/>
              <a:gdLst>
                <a:gd name="connsiteX0" fmla="*/ 96319 w 303121"/>
                <a:gd name="connsiteY0" fmla="*/ 314590 h 317556"/>
                <a:gd name="connsiteX1" fmla="*/ 96319 w 303121"/>
                <a:gd name="connsiteY1" fmla="*/ 182949 h 317556"/>
                <a:gd name="connsiteX2" fmla="*/ 10867 w 303121"/>
                <a:gd name="connsiteY2" fmla="*/ 182371 h 317556"/>
                <a:gd name="connsiteX3" fmla="*/ 146983 w 303121"/>
                <a:gd name="connsiteY3" fmla="*/ 16953 h 317556"/>
                <a:gd name="connsiteX4" fmla="*/ 174986 w 303121"/>
                <a:gd name="connsiteY4" fmla="*/ 17675 h 317556"/>
                <a:gd name="connsiteX5" fmla="*/ 295946 w 303121"/>
                <a:gd name="connsiteY5" fmla="*/ 184248 h 317556"/>
                <a:gd name="connsiteX6" fmla="*/ 221753 w 303121"/>
                <a:gd name="connsiteY6" fmla="*/ 183815 h 317556"/>
                <a:gd name="connsiteX7" fmla="*/ 221753 w 303121"/>
                <a:gd name="connsiteY7" fmla="*/ 314446 h 317556"/>
                <a:gd name="connsiteX8" fmla="*/ 96463 w 303121"/>
                <a:gd name="connsiteY8" fmla="*/ 314446 h 317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3121" h="317556">
                  <a:moveTo>
                    <a:pt x="96319" y="314590"/>
                  </a:moveTo>
                  <a:lnTo>
                    <a:pt x="96319" y="182949"/>
                  </a:lnTo>
                  <a:lnTo>
                    <a:pt x="10867" y="182371"/>
                  </a:lnTo>
                  <a:lnTo>
                    <a:pt x="146983" y="16953"/>
                  </a:lnTo>
                  <a:cubicBezTo>
                    <a:pt x="154634" y="8581"/>
                    <a:pt x="167913" y="8870"/>
                    <a:pt x="174986" y="17675"/>
                  </a:cubicBezTo>
                  <a:lnTo>
                    <a:pt x="295946" y="184248"/>
                  </a:lnTo>
                  <a:lnTo>
                    <a:pt x="221753" y="183815"/>
                  </a:lnTo>
                  <a:lnTo>
                    <a:pt x="221753" y="314446"/>
                  </a:lnTo>
                  <a:lnTo>
                    <a:pt x="96463" y="314446"/>
                  </a:lnTo>
                  <a:close/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90C294F-A561-4D72-B2BE-C2612C4340F1}"/>
                </a:ext>
              </a:extLst>
            </p:cNvPr>
            <p:cNvSpPr/>
            <p:nvPr/>
          </p:nvSpPr>
          <p:spPr>
            <a:xfrm>
              <a:off x="1878771" y="4906081"/>
              <a:ext cx="230950" cy="230950"/>
            </a:xfrm>
            <a:custGeom>
              <a:avLst/>
              <a:gdLst>
                <a:gd name="connsiteX0" fmla="*/ 133618 w 230949"/>
                <a:gd name="connsiteY0" fmla="*/ 24981 h 230949"/>
                <a:gd name="connsiteX1" fmla="*/ 216708 w 230949"/>
                <a:gd name="connsiteY1" fmla="*/ 133618 h 230949"/>
                <a:gd name="connsiteX2" fmla="*/ 108071 w 230949"/>
                <a:gd name="connsiteY2" fmla="*/ 216707 h 230949"/>
                <a:gd name="connsiteX3" fmla="*/ 24981 w 230949"/>
                <a:gd name="connsiteY3" fmla="*/ 108070 h 230949"/>
                <a:gd name="connsiteX4" fmla="*/ 133618 w 230949"/>
                <a:gd name="connsiteY4" fmla="*/ 24981 h 2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949" h="230949">
                  <a:moveTo>
                    <a:pt x="133618" y="24981"/>
                  </a:moveTo>
                  <a:cubicBezTo>
                    <a:pt x="186562" y="32036"/>
                    <a:pt x="223762" y="80674"/>
                    <a:pt x="216708" y="133618"/>
                  </a:cubicBezTo>
                  <a:cubicBezTo>
                    <a:pt x="209653" y="186562"/>
                    <a:pt x="161014" y="223762"/>
                    <a:pt x="108071" y="216707"/>
                  </a:cubicBezTo>
                  <a:cubicBezTo>
                    <a:pt x="55127" y="209652"/>
                    <a:pt x="17927" y="161014"/>
                    <a:pt x="24981" y="108070"/>
                  </a:cubicBezTo>
                  <a:cubicBezTo>
                    <a:pt x="32036" y="55127"/>
                    <a:pt x="80675" y="17926"/>
                    <a:pt x="133618" y="24981"/>
                  </a:cubicBezTo>
                  <a:close/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40998036-601A-4FA6-9F95-23ABF8BDEBFE}"/>
                </a:ext>
              </a:extLst>
            </p:cNvPr>
            <p:cNvSpPr/>
            <p:nvPr/>
          </p:nvSpPr>
          <p:spPr>
            <a:xfrm>
              <a:off x="1571706" y="5066311"/>
              <a:ext cx="245384" cy="245384"/>
            </a:xfrm>
            <a:custGeom>
              <a:avLst/>
              <a:gdLst>
                <a:gd name="connsiteX0" fmla="*/ 138533 w 245384"/>
                <a:gd name="connsiteY0" fmla="*/ 27745 h 245384"/>
                <a:gd name="connsiteX1" fmla="*/ 218731 w 245384"/>
                <a:gd name="connsiteY1" fmla="*/ 138533 h 245384"/>
                <a:gd name="connsiteX2" fmla="*/ 107942 w 245384"/>
                <a:gd name="connsiteY2" fmla="*/ 218731 h 245384"/>
                <a:gd name="connsiteX3" fmla="*/ 27744 w 245384"/>
                <a:gd name="connsiteY3" fmla="*/ 107942 h 245384"/>
                <a:gd name="connsiteX4" fmla="*/ 138533 w 245384"/>
                <a:gd name="connsiteY4" fmla="*/ 27745 h 245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5384" h="245384">
                  <a:moveTo>
                    <a:pt x="138533" y="27745"/>
                  </a:moveTo>
                  <a:cubicBezTo>
                    <a:pt x="191273" y="36192"/>
                    <a:pt x="227178" y="85794"/>
                    <a:pt x="218731" y="138533"/>
                  </a:cubicBezTo>
                  <a:cubicBezTo>
                    <a:pt x="210283" y="191273"/>
                    <a:pt x="160682" y="227178"/>
                    <a:pt x="107942" y="218731"/>
                  </a:cubicBezTo>
                  <a:cubicBezTo>
                    <a:pt x="55203" y="210283"/>
                    <a:pt x="19297" y="160682"/>
                    <a:pt x="27744" y="107942"/>
                  </a:cubicBezTo>
                  <a:cubicBezTo>
                    <a:pt x="36192" y="55203"/>
                    <a:pt x="85794" y="19297"/>
                    <a:pt x="138533" y="27745"/>
                  </a:cubicBezTo>
                  <a:close/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DE01B16-7F33-4787-9833-BA4C99C9E276}"/>
                </a:ext>
              </a:extLst>
            </p:cNvPr>
            <p:cNvSpPr/>
            <p:nvPr/>
          </p:nvSpPr>
          <p:spPr>
            <a:xfrm>
              <a:off x="2198164" y="4985508"/>
              <a:ext cx="202081" cy="202081"/>
            </a:xfrm>
            <a:custGeom>
              <a:avLst/>
              <a:gdLst>
                <a:gd name="connsiteX0" fmla="*/ 204288 w 202081"/>
                <a:gd name="connsiteY0" fmla="*/ 107578 h 202081"/>
                <a:gd name="connsiteX1" fmla="*/ 107578 w 202081"/>
                <a:gd name="connsiteY1" fmla="*/ 204288 h 202081"/>
                <a:gd name="connsiteX2" fmla="*/ 10867 w 202081"/>
                <a:gd name="connsiteY2" fmla="*/ 107578 h 202081"/>
                <a:gd name="connsiteX3" fmla="*/ 107578 w 202081"/>
                <a:gd name="connsiteY3" fmla="*/ 10867 h 202081"/>
                <a:gd name="connsiteX4" fmla="*/ 204288 w 202081"/>
                <a:gd name="connsiteY4" fmla="*/ 107578 h 202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2081" h="202081">
                  <a:moveTo>
                    <a:pt x="204288" y="107578"/>
                  </a:moveTo>
                  <a:cubicBezTo>
                    <a:pt x="204288" y="160989"/>
                    <a:pt x="160989" y="204288"/>
                    <a:pt x="107578" y="204288"/>
                  </a:cubicBezTo>
                  <a:cubicBezTo>
                    <a:pt x="54166" y="204288"/>
                    <a:pt x="10867" y="160989"/>
                    <a:pt x="10867" y="107578"/>
                  </a:cubicBezTo>
                  <a:cubicBezTo>
                    <a:pt x="10867" y="54166"/>
                    <a:pt x="54166" y="10867"/>
                    <a:pt x="107578" y="10867"/>
                  </a:cubicBezTo>
                  <a:cubicBezTo>
                    <a:pt x="160989" y="10867"/>
                    <a:pt x="204288" y="54166"/>
                    <a:pt x="204288" y="107578"/>
                  </a:cubicBezTo>
                  <a:close/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DAD3A9E-98B5-4366-BFBC-9037926CC194}"/>
                </a:ext>
              </a:extLst>
            </p:cNvPr>
            <p:cNvSpPr/>
            <p:nvPr/>
          </p:nvSpPr>
          <p:spPr>
            <a:xfrm>
              <a:off x="2271202" y="5031436"/>
              <a:ext cx="72172" cy="72172"/>
            </a:xfrm>
            <a:custGeom>
              <a:avLst/>
              <a:gdLst>
                <a:gd name="connsiteX0" fmla="*/ 10867 w 72171"/>
                <a:gd name="connsiteY0" fmla="*/ 32636 h 72171"/>
                <a:gd name="connsiteX1" fmla="*/ 32230 w 72171"/>
                <a:gd name="connsiteY1" fmla="*/ 11273 h 72171"/>
                <a:gd name="connsiteX2" fmla="*/ 56191 w 72171"/>
                <a:gd name="connsiteY2" fmla="*/ 53566 h 72171"/>
                <a:gd name="connsiteX3" fmla="*/ 42334 w 72171"/>
                <a:gd name="connsiteY3" fmla="*/ 61650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171" h="72171">
                  <a:moveTo>
                    <a:pt x="10867" y="32636"/>
                  </a:moveTo>
                  <a:cubicBezTo>
                    <a:pt x="10867" y="32636"/>
                    <a:pt x="12022" y="15171"/>
                    <a:pt x="32230" y="11273"/>
                  </a:cubicBezTo>
                  <a:cubicBezTo>
                    <a:pt x="53016" y="7232"/>
                    <a:pt x="74667" y="34224"/>
                    <a:pt x="56191" y="53566"/>
                  </a:cubicBezTo>
                  <a:cubicBezTo>
                    <a:pt x="53016" y="56886"/>
                    <a:pt x="48830" y="59196"/>
                    <a:pt x="42334" y="61650"/>
                  </a:cubicBezTo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F91E05C-066C-4D74-B009-797E9D59C78C}"/>
                </a:ext>
              </a:extLst>
            </p:cNvPr>
            <p:cNvSpPr/>
            <p:nvPr/>
          </p:nvSpPr>
          <p:spPr>
            <a:xfrm>
              <a:off x="2271202" y="5082218"/>
              <a:ext cx="72172" cy="72172"/>
            </a:xfrm>
            <a:custGeom>
              <a:avLst/>
              <a:gdLst>
                <a:gd name="connsiteX0" fmla="*/ 10867 w 72171"/>
                <a:gd name="connsiteY0" fmla="*/ 39880 h 72171"/>
                <a:gd name="connsiteX1" fmla="*/ 32230 w 72171"/>
                <a:gd name="connsiteY1" fmla="*/ 61243 h 72171"/>
                <a:gd name="connsiteX2" fmla="*/ 56191 w 72171"/>
                <a:gd name="connsiteY2" fmla="*/ 18950 h 72171"/>
                <a:gd name="connsiteX3" fmla="*/ 42334 w 72171"/>
                <a:gd name="connsiteY3" fmla="*/ 10867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171" h="72171">
                  <a:moveTo>
                    <a:pt x="10867" y="39880"/>
                  </a:moveTo>
                  <a:cubicBezTo>
                    <a:pt x="10867" y="39880"/>
                    <a:pt x="12022" y="57346"/>
                    <a:pt x="32230" y="61243"/>
                  </a:cubicBezTo>
                  <a:cubicBezTo>
                    <a:pt x="53016" y="65285"/>
                    <a:pt x="74667" y="38292"/>
                    <a:pt x="56191" y="18950"/>
                  </a:cubicBezTo>
                  <a:cubicBezTo>
                    <a:pt x="53016" y="15630"/>
                    <a:pt x="48830" y="13321"/>
                    <a:pt x="42334" y="10867"/>
                  </a:cubicBezTo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2116337-4DBB-4959-B8A3-9FBB2CB81E9E}"/>
                </a:ext>
              </a:extLst>
            </p:cNvPr>
            <p:cNvSpPr/>
            <p:nvPr/>
          </p:nvSpPr>
          <p:spPr>
            <a:xfrm>
              <a:off x="1957543" y="4962990"/>
              <a:ext cx="43303" cy="115475"/>
            </a:xfrm>
            <a:custGeom>
              <a:avLst/>
              <a:gdLst>
                <a:gd name="connsiteX0" fmla="*/ 45943 w 43303"/>
                <a:gd name="connsiteY0" fmla="*/ 116960 h 115474"/>
                <a:gd name="connsiteX1" fmla="*/ 45943 w 43303"/>
                <a:gd name="connsiteY1" fmla="*/ 10867 h 115474"/>
                <a:gd name="connsiteX2" fmla="*/ 10867 w 43303"/>
                <a:gd name="connsiteY2" fmla="*/ 36993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3303" h="115474">
                  <a:moveTo>
                    <a:pt x="45943" y="116960"/>
                  </a:moveTo>
                  <a:lnTo>
                    <a:pt x="45943" y="10867"/>
                  </a:lnTo>
                  <a:lnTo>
                    <a:pt x="10867" y="36993"/>
                  </a:lnTo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C29170AE-AE60-4F2F-BEE6-D40DC1D005A6}"/>
                </a:ext>
              </a:extLst>
            </p:cNvPr>
            <p:cNvSpPr/>
            <p:nvPr/>
          </p:nvSpPr>
          <p:spPr>
            <a:xfrm>
              <a:off x="1654132" y="5128408"/>
              <a:ext cx="72172" cy="115475"/>
            </a:xfrm>
            <a:custGeom>
              <a:avLst/>
              <a:gdLst>
                <a:gd name="connsiteX0" fmla="*/ 11733 w 72171"/>
                <a:gd name="connsiteY0" fmla="*/ 40169 h 115474"/>
                <a:gd name="connsiteX1" fmla="*/ 39159 w 72171"/>
                <a:gd name="connsiteY1" fmla="*/ 10867 h 115474"/>
                <a:gd name="connsiteX2" fmla="*/ 61243 w 72171"/>
                <a:gd name="connsiteY2" fmla="*/ 56335 h 115474"/>
                <a:gd name="connsiteX3" fmla="*/ 10867 w 72171"/>
                <a:gd name="connsiteY3" fmla="*/ 105124 h 115474"/>
                <a:gd name="connsiteX4" fmla="*/ 71059 w 72171"/>
                <a:gd name="connsiteY4" fmla="*/ 105124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171" h="115474">
                  <a:moveTo>
                    <a:pt x="11733" y="40169"/>
                  </a:moveTo>
                  <a:cubicBezTo>
                    <a:pt x="11733" y="40169"/>
                    <a:pt x="13321" y="10867"/>
                    <a:pt x="39159" y="10867"/>
                  </a:cubicBezTo>
                  <a:cubicBezTo>
                    <a:pt x="71059" y="10867"/>
                    <a:pt x="74090" y="41468"/>
                    <a:pt x="61243" y="56335"/>
                  </a:cubicBezTo>
                  <a:cubicBezTo>
                    <a:pt x="47098" y="72646"/>
                    <a:pt x="10867" y="105124"/>
                    <a:pt x="10867" y="105124"/>
                  </a:cubicBezTo>
                  <a:lnTo>
                    <a:pt x="71059" y="105124"/>
                  </a:lnTo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C630F1B6-EEB8-4759-9748-8A430BFF1DC2}"/>
              </a:ext>
            </a:extLst>
          </p:cNvPr>
          <p:cNvGraphicFramePr>
            <a:graphicFrameLocks/>
          </p:cNvGraphicFramePr>
          <p:nvPr/>
        </p:nvGraphicFramePr>
        <p:xfrm>
          <a:off x="1493225" y="1653809"/>
          <a:ext cx="9194635" cy="4683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4428653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267647F4-F491-49FF-8CBB-6DBF244A021E}"/>
              </a:ext>
            </a:extLst>
          </p:cNvPr>
          <p:cNvSpPr txBox="1">
            <a:spLocks/>
          </p:cNvSpPr>
          <p:nvPr/>
        </p:nvSpPr>
        <p:spPr>
          <a:xfrm>
            <a:off x="1631950" y="129973"/>
            <a:ext cx="8591450" cy="35031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200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C856679-C85E-40BA-B1F4-AB407C9A9F00}"/>
              </a:ext>
            </a:extLst>
          </p:cNvPr>
          <p:cNvSpPr txBox="1">
            <a:spLocks/>
          </p:cNvSpPr>
          <p:nvPr/>
        </p:nvSpPr>
        <p:spPr>
          <a:xfrm>
            <a:off x="1631950" y="593726"/>
            <a:ext cx="9017000" cy="2804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5A261F7-1D99-460E-9BCC-BDECA1815A9E}"/>
              </a:ext>
            </a:extLst>
          </p:cNvPr>
          <p:cNvSpPr txBox="1">
            <a:spLocks/>
          </p:cNvSpPr>
          <p:nvPr/>
        </p:nvSpPr>
        <p:spPr>
          <a:xfrm>
            <a:off x="690664" y="3120313"/>
            <a:ext cx="10817157" cy="6464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400" dirty="0" err="1"/>
              <a:t>Фирибгарликни</a:t>
            </a:r>
            <a:r>
              <a:rPr lang="ru-RU" sz="1400" dirty="0"/>
              <a:t> </a:t>
            </a:r>
            <a:r>
              <a:rPr lang="ru-RU" sz="1400" b="1" dirty="0" err="1"/>
              <a:t>аниқлаш</a:t>
            </a:r>
            <a:r>
              <a:rPr lang="ru-RU" sz="1400" dirty="0"/>
              <a:t> </a:t>
            </a:r>
            <a:r>
              <a:rPr lang="ru-RU" sz="1400" dirty="0" err="1"/>
              <a:t>усулларини</a:t>
            </a:r>
            <a:r>
              <a:rPr lang="ru-RU" sz="1400" dirty="0"/>
              <a:t> </a:t>
            </a:r>
            <a:r>
              <a:rPr lang="ru-RU" sz="1400" dirty="0" err="1"/>
              <a:t>ўрганиш</a:t>
            </a:r>
            <a:r>
              <a:rPr lang="ru-RU" sz="1400" dirty="0"/>
              <a:t> </a:t>
            </a:r>
            <a:r>
              <a:rPr lang="ru-RU" sz="1400" dirty="0" err="1"/>
              <a:t>натижалари</a:t>
            </a:r>
            <a:r>
              <a:rPr lang="ru-RU" sz="1400" dirty="0"/>
              <a:t> </a:t>
            </a:r>
            <a:r>
              <a:rPr lang="ru-RU" sz="1400" dirty="0" err="1"/>
              <a:t>ҳуқуқбузарликлар</a:t>
            </a:r>
            <a:r>
              <a:rPr lang="ru-RU" sz="1400" dirty="0"/>
              <a:t> </a:t>
            </a:r>
            <a:r>
              <a:rPr lang="ru-RU" sz="1400" dirty="0" err="1"/>
              <a:t>тўғрисидаги</a:t>
            </a:r>
            <a:r>
              <a:rPr lang="ru-RU" sz="1400" dirty="0"/>
              <a:t> </a:t>
            </a:r>
            <a:r>
              <a:rPr lang="ru-RU" sz="1400" dirty="0" err="1"/>
              <a:t>хабарларни</a:t>
            </a:r>
            <a:r>
              <a:rPr lang="ru-RU" sz="1400" dirty="0"/>
              <a:t> </a:t>
            </a:r>
            <a:r>
              <a:rPr lang="ru-RU" sz="1400" dirty="0" err="1"/>
              <a:t>олиш</a:t>
            </a:r>
            <a:r>
              <a:rPr lang="ru-RU" sz="1400" dirty="0"/>
              <a:t> </a:t>
            </a:r>
            <a:r>
              <a:rPr lang="ru-RU" sz="1400" dirty="0" err="1"/>
              <a:t>учун</a:t>
            </a:r>
            <a:r>
              <a:rPr lang="ru-RU" sz="1400" dirty="0"/>
              <a:t> </a:t>
            </a:r>
            <a:r>
              <a:rPr lang="ru-RU" sz="1400" dirty="0" err="1"/>
              <a:t>турли</a:t>
            </a:r>
            <a:r>
              <a:rPr lang="ru-RU" sz="1400" dirty="0"/>
              <a:t> хил </a:t>
            </a:r>
            <a:r>
              <a:rPr lang="ru-RU" sz="1400" dirty="0" err="1"/>
              <a:t>алоқа</a:t>
            </a:r>
            <a:r>
              <a:rPr lang="ru-RU" sz="1400" dirty="0"/>
              <a:t> </a:t>
            </a:r>
            <a:r>
              <a:rPr lang="ru-RU" sz="1400" dirty="0" err="1"/>
              <a:t>каналларига</a:t>
            </a:r>
            <a:r>
              <a:rPr lang="ru-RU" sz="1400" dirty="0"/>
              <a:t> </a:t>
            </a:r>
            <a:r>
              <a:rPr lang="ru-RU" sz="1400" dirty="0" err="1"/>
              <a:t>эга</a:t>
            </a:r>
            <a:r>
              <a:rPr lang="ru-RU" sz="1400" dirty="0"/>
              <a:t> </a:t>
            </a:r>
            <a:r>
              <a:rPr lang="ru-RU" sz="1400" dirty="0" err="1"/>
              <a:t>бўлиш</a:t>
            </a:r>
            <a:r>
              <a:rPr lang="ru-RU" sz="1400" dirty="0"/>
              <a:t> </a:t>
            </a:r>
            <a:r>
              <a:rPr lang="ru-RU" sz="1400" dirty="0" err="1"/>
              <a:t>муҳимлигини</a:t>
            </a:r>
            <a:r>
              <a:rPr lang="ru-RU" sz="1400" dirty="0"/>
              <a:t> </a:t>
            </a:r>
            <a:r>
              <a:rPr lang="ru-RU" sz="1400" dirty="0" err="1"/>
              <a:t>аниқ</a:t>
            </a:r>
            <a:r>
              <a:rPr lang="ru-RU" sz="1400" dirty="0"/>
              <a:t> </a:t>
            </a:r>
            <a:r>
              <a:rPr lang="ru-RU" sz="1400" dirty="0" err="1"/>
              <a:t>кўрсатмоқда</a:t>
            </a:r>
            <a:r>
              <a:rPr lang="ru-RU" sz="1400" dirty="0"/>
              <a:t>. </a:t>
            </a:r>
            <a:r>
              <a:rPr lang="ru-RU" sz="1400" dirty="0" err="1"/>
              <a:t>Алоқа</a:t>
            </a:r>
            <a:r>
              <a:rPr lang="ru-RU" sz="1400" dirty="0"/>
              <a:t> </a:t>
            </a:r>
            <a:r>
              <a:rPr lang="ru-RU" sz="1400" dirty="0" err="1"/>
              <a:t>каналлари</a:t>
            </a:r>
            <a:r>
              <a:rPr lang="ru-RU" sz="1400" dirty="0"/>
              <a:t> </a:t>
            </a:r>
            <a:r>
              <a:rPr lang="ru-RU" sz="1400" dirty="0" err="1"/>
              <a:t>бўлмаган</a:t>
            </a:r>
            <a:r>
              <a:rPr lang="ru-RU" sz="1400" dirty="0"/>
              <a:t> </a:t>
            </a:r>
            <a:r>
              <a:rPr lang="ru-RU" sz="1400" dirty="0" err="1"/>
              <a:t>ташкилотлар</a:t>
            </a:r>
            <a:r>
              <a:rPr lang="ru-RU" sz="1400" dirty="0"/>
              <a:t> </a:t>
            </a:r>
            <a:r>
              <a:rPr lang="ru-RU" sz="1400" dirty="0" err="1"/>
              <a:t>фирибгарликни</a:t>
            </a:r>
            <a:r>
              <a:rPr lang="ru-RU" sz="1400" dirty="0"/>
              <a:t> </a:t>
            </a:r>
            <a:r>
              <a:rPr lang="ru-RU" sz="1400" dirty="0" err="1"/>
              <a:t>аниқлаш</a:t>
            </a:r>
            <a:r>
              <a:rPr lang="ru-RU" sz="1400" dirty="0"/>
              <a:t> </a:t>
            </a:r>
            <a:r>
              <a:rPr lang="ru-RU" sz="1400" dirty="0" err="1"/>
              <a:t>учун</a:t>
            </a:r>
            <a:r>
              <a:rPr lang="ru-RU" sz="1400" dirty="0"/>
              <a:t>    </a:t>
            </a:r>
            <a:r>
              <a:rPr lang="ru-RU" sz="1400" b="1" dirty="0"/>
              <a:t>6 ой </a:t>
            </a:r>
            <a:r>
              <a:rPr lang="ru-RU" sz="1400" dirty="0" err="1"/>
              <a:t>кўпроқ</a:t>
            </a:r>
            <a:r>
              <a:rPr lang="ru-RU" sz="1400" dirty="0"/>
              <a:t> </a:t>
            </a:r>
            <a:r>
              <a:rPr lang="ru-RU" sz="1400" dirty="0" err="1"/>
              <a:t>вақт</a:t>
            </a:r>
            <a:r>
              <a:rPr lang="ru-RU" sz="1400" dirty="0"/>
              <a:t> </a:t>
            </a:r>
            <a:r>
              <a:rPr lang="ru-RU" sz="1400" dirty="0" err="1"/>
              <a:t>сарфладилар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b="1" dirty="0" err="1"/>
              <a:t>молиявий</a:t>
            </a:r>
            <a:r>
              <a:rPr lang="ru-RU" sz="1400" b="1" dirty="0"/>
              <a:t> </a:t>
            </a:r>
            <a:r>
              <a:rPr lang="ru-RU" sz="1400" b="1" dirty="0" err="1"/>
              <a:t>йўқотишларни</a:t>
            </a:r>
            <a:r>
              <a:rPr lang="ru-RU" sz="1400" b="1" dirty="0"/>
              <a:t> </a:t>
            </a:r>
            <a:r>
              <a:rPr lang="ru-RU" sz="1400" b="1" dirty="0" err="1"/>
              <a:t>икки</a:t>
            </a:r>
            <a:r>
              <a:rPr lang="ru-RU" sz="1400" b="1" dirty="0"/>
              <a:t> </a:t>
            </a:r>
            <a:r>
              <a:rPr lang="ru-RU" sz="1400" b="1" dirty="0" err="1"/>
              <a:t>баравар</a:t>
            </a:r>
            <a:r>
              <a:rPr lang="ru-RU" sz="1400" b="1" dirty="0"/>
              <a:t> </a:t>
            </a:r>
            <a:r>
              <a:rPr lang="ru-RU" sz="1400" b="1" dirty="0" err="1"/>
              <a:t>оширдилар</a:t>
            </a:r>
            <a:r>
              <a:rPr lang="ru-RU" sz="1400" dirty="0"/>
              <a:t>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CEACACA-29CB-451B-ACA0-F2CD958F727A}"/>
              </a:ext>
            </a:extLst>
          </p:cNvPr>
          <p:cNvGraphicFramePr/>
          <p:nvPr/>
        </p:nvGraphicFramePr>
        <p:xfrm>
          <a:off x="1229841" y="4259588"/>
          <a:ext cx="2763982" cy="2115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A43514A-ECB0-4F95-83D5-0175E6B01436}"/>
              </a:ext>
            </a:extLst>
          </p:cNvPr>
          <p:cNvSpPr txBox="1"/>
          <p:nvPr/>
        </p:nvSpPr>
        <p:spPr>
          <a:xfrm>
            <a:off x="3681725" y="4311515"/>
            <a:ext cx="2138363" cy="1145307"/>
          </a:xfrm>
          <a:prstGeom prst="rect">
            <a:avLst/>
          </a:prstGeom>
          <a:noFill/>
        </p:spPr>
        <p:txBody>
          <a:bodyPr wrap="square" lIns="54610" tIns="54610" rIns="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фирибгарл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абардо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ган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рдам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ниқлан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</a:p>
          <a:p>
            <a:pPr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Бу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ейин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сул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b="1" dirty="0">
                <a:solidFill>
                  <a:schemeClr val="tx2"/>
                </a:solidFill>
              </a:rPr>
              <a:t>3 </a:t>
            </a:r>
            <a:r>
              <a:rPr lang="ru-RU" sz="1200" b="1" dirty="0" err="1">
                <a:solidFill>
                  <a:schemeClr val="tx2"/>
                </a:solidFill>
              </a:rPr>
              <a:t>баравар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кўп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dirty="0">
                <a:solidFill>
                  <a:schemeClr val="tx2"/>
                </a:solidFill>
              </a:rPr>
              <a:t>(</a:t>
            </a:r>
            <a:r>
              <a:rPr lang="ru-RU" sz="1200" dirty="0" err="1">
                <a:solidFill>
                  <a:schemeClr val="tx2"/>
                </a:solidFill>
              </a:rPr>
              <a:t>ички</a:t>
            </a:r>
            <a:r>
              <a:rPr lang="ru-RU" sz="1200" dirty="0">
                <a:solidFill>
                  <a:schemeClr val="tx2"/>
                </a:solidFill>
              </a:rPr>
              <a:t> аудит 16%)</a:t>
            </a:r>
          </a:p>
          <a:p>
            <a:pPr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Хабардо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ганлар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ярмидан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кўпи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одим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д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0" name="Cylinder 9">
            <a:extLst>
              <a:ext uri="{FF2B5EF4-FFF2-40B4-BE49-F238E27FC236}">
                <a16:creationId xmlns:a16="http://schemas.microsoft.com/office/drawing/2014/main" id="{0FE21D24-5D55-43BE-A316-7986C59E3D86}"/>
              </a:ext>
            </a:extLst>
          </p:cNvPr>
          <p:cNvSpPr/>
          <p:nvPr/>
        </p:nvSpPr>
        <p:spPr>
          <a:xfrm>
            <a:off x="7384362" y="4599062"/>
            <a:ext cx="522569" cy="1209964"/>
          </a:xfrm>
          <a:prstGeom prst="can">
            <a:avLst/>
          </a:prstGeom>
          <a:solidFill>
            <a:srgbClr val="49A9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51" name="Cylinder 50">
            <a:extLst>
              <a:ext uri="{FF2B5EF4-FFF2-40B4-BE49-F238E27FC236}">
                <a16:creationId xmlns:a16="http://schemas.microsoft.com/office/drawing/2014/main" id="{DEED9FF7-B937-41E5-84E2-03D6A8E2507C}"/>
              </a:ext>
            </a:extLst>
          </p:cNvPr>
          <p:cNvSpPr/>
          <p:nvPr/>
        </p:nvSpPr>
        <p:spPr>
          <a:xfrm>
            <a:off x="8629244" y="4883225"/>
            <a:ext cx="522569" cy="925801"/>
          </a:xfrm>
          <a:prstGeom prst="can">
            <a:avLst/>
          </a:prstGeom>
          <a:solidFill>
            <a:srgbClr val="004B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52" name="Cylinder 51">
            <a:extLst>
              <a:ext uri="{FF2B5EF4-FFF2-40B4-BE49-F238E27FC236}">
                <a16:creationId xmlns:a16="http://schemas.microsoft.com/office/drawing/2014/main" id="{79079918-DEFB-4D9F-BE8B-9EF8BFC2207E}"/>
              </a:ext>
            </a:extLst>
          </p:cNvPr>
          <p:cNvSpPr/>
          <p:nvPr/>
        </p:nvSpPr>
        <p:spPr>
          <a:xfrm>
            <a:off x="9917420" y="5220068"/>
            <a:ext cx="522569" cy="588958"/>
          </a:xfrm>
          <a:prstGeom prst="can">
            <a:avLst/>
          </a:prstGeom>
          <a:solidFill>
            <a:schemeClr val="accent3"/>
          </a:solidFill>
          <a:ln>
            <a:solidFill>
              <a:srgbClr val="2DDF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BA97C87-01C0-46BB-B9D3-505B03E1AF34}"/>
              </a:ext>
            </a:extLst>
          </p:cNvPr>
          <p:cNvSpPr txBox="1"/>
          <p:nvPr/>
        </p:nvSpPr>
        <p:spPr>
          <a:xfrm>
            <a:off x="7371084" y="4256164"/>
            <a:ext cx="598609" cy="25723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sz="1400" b="1" dirty="0">
                <a:solidFill>
                  <a:schemeClr val="tx2"/>
                </a:solidFill>
              </a:rPr>
              <a:t>40%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A7E1529-F168-4CA5-992C-2413644C5833}"/>
              </a:ext>
            </a:extLst>
          </p:cNvPr>
          <p:cNvSpPr txBox="1"/>
          <p:nvPr/>
        </p:nvSpPr>
        <p:spPr>
          <a:xfrm>
            <a:off x="8629244" y="4513397"/>
            <a:ext cx="598609" cy="25723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sz="1400" b="1" dirty="0">
                <a:solidFill>
                  <a:schemeClr val="tx2"/>
                </a:solidFill>
              </a:rPr>
              <a:t>33%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36193AB-9491-4E40-94B2-9255CE6AC08F}"/>
              </a:ext>
            </a:extLst>
          </p:cNvPr>
          <p:cNvSpPr txBox="1"/>
          <p:nvPr/>
        </p:nvSpPr>
        <p:spPr>
          <a:xfrm>
            <a:off x="9887832" y="4865850"/>
            <a:ext cx="598609" cy="25723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sz="1400" b="1" dirty="0">
                <a:solidFill>
                  <a:schemeClr val="tx2"/>
                </a:solidFill>
              </a:rPr>
              <a:t>27%</a:t>
            </a:r>
            <a:endParaRPr lang="en-US" sz="1400" b="1" dirty="0">
              <a:solidFill>
                <a:schemeClr val="tx2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2D099E7-051A-40B5-B1E8-E6DEA9B0B465}"/>
              </a:ext>
            </a:extLst>
          </p:cNvPr>
          <p:cNvSpPr txBox="1"/>
          <p:nvPr/>
        </p:nvSpPr>
        <p:spPr>
          <a:xfrm>
            <a:off x="7384362" y="5840705"/>
            <a:ext cx="522569" cy="258618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1200" dirty="0">
                <a:solidFill>
                  <a:schemeClr val="tx2"/>
                </a:solidFill>
              </a:rPr>
              <a:t>Email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2DBEAE3-E0D8-492B-843E-06AF28EC453F}"/>
              </a:ext>
            </a:extLst>
          </p:cNvPr>
          <p:cNvSpPr txBox="1"/>
          <p:nvPr/>
        </p:nvSpPr>
        <p:spPr>
          <a:xfrm>
            <a:off x="8278527" y="5840705"/>
            <a:ext cx="1224000" cy="310588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Қайт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лоқанинг</a:t>
            </a:r>
            <a:r>
              <a:rPr lang="ru-RU" sz="1200" dirty="0">
                <a:solidFill>
                  <a:schemeClr val="tx2"/>
                </a:solidFill>
              </a:rPr>
              <a:t> Онлайн </a:t>
            </a:r>
            <a:r>
              <a:rPr lang="ru-RU" sz="1200" dirty="0" err="1">
                <a:solidFill>
                  <a:schemeClr val="tx2"/>
                </a:solidFill>
              </a:rPr>
              <a:t>шакли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C938FD1-5B1D-43FC-BACA-7E9F1BAFACA8}"/>
              </a:ext>
            </a:extLst>
          </p:cNvPr>
          <p:cNvSpPr txBox="1"/>
          <p:nvPr/>
        </p:nvSpPr>
        <p:spPr>
          <a:xfrm>
            <a:off x="9659847" y="5840705"/>
            <a:ext cx="1054577" cy="310588"/>
          </a:xfrm>
          <a:prstGeom prst="rect">
            <a:avLst/>
          </a:prstGeom>
          <a:noFill/>
        </p:spPr>
        <p:txBody>
          <a:bodyPr wrap="square" lIns="0" tIns="0" rIns="0" bIns="3600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Ишонч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елефо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0237CAB-7CEC-423F-A9FD-2DE2A7E79DE3}"/>
              </a:ext>
            </a:extLst>
          </p:cNvPr>
          <p:cNvSpPr txBox="1"/>
          <p:nvPr/>
        </p:nvSpPr>
        <p:spPr>
          <a:xfrm>
            <a:off x="2973754" y="6177408"/>
            <a:ext cx="1531621" cy="25847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ички</a:t>
            </a:r>
            <a:r>
              <a:rPr lang="ru-RU" sz="1200" dirty="0">
                <a:solidFill>
                  <a:schemeClr val="tx2"/>
                </a:solidFill>
              </a:rPr>
              <a:t> аудит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67C5737-F4B2-449D-9E7F-4A12697C2BBF}"/>
              </a:ext>
            </a:extLst>
          </p:cNvPr>
          <p:cNvSpPr txBox="1"/>
          <p:nvPr/>
        </p:nvSpPr>
        <p:spPr>
          <a:xfrm>
            <a:off x="2111563" y="6368462"/>
            <a:ext cx="1724380" cy="21266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E8019F6-2A2A-43DA-8221-D0FB25874676}"/>
              </a:ext>
            </a:extLst>
          </p:cNvPr>
          <p:cNvSpPr txBox="1"/>
          <p:nvPr/>
        </p:nvSpPr>
        <p:spPr>
          <a:xfrm>
            <a:off x="923184" y="4324671"/>
            <a:ext cx="925839" cy="814567"/>
          </a:xfrm>
          <a:prstGeom prst="rect">
            <a:avLst/>
          </a:prstGeom>
          <a:noFill/>
        </p:spPr>
        <p:txBody>
          <a:bodyPr wrap="square" lIns="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 9 </a:t>
            </a:r>
            <a:r>
              <a:rPr lang="ru-RU" sz="1200" dirty="0" err="1">
                <a:solidFill>
                  <a:schemeClr val="tx2"/>
                </a:solidFill>
              </a:rPr>
              <a:t>усул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22CC29-EC08-482A-AFB1-E3FFE10AC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err="1"/>
              <a:t>Фирибгарлик</a:t>
            </a:r>
            <a:r>
              <a:rPr lang="ru-RU" sz="2000" dirty="0"/>
              <a:t> </a:t>
            </a:r>
            <a:r>
              <a:rPr lang="ru-RU" sz="2000" dirty="0" err="1"/>
              <a:t>бўйича</a:t>
            </a:r>
            <a:r>
              <a:rPr lang="ru-RU" sz="2000" dirty="0"/>
              <a:t> </a:t>
            </a:r>
            <a:r>
              <a:rPr lang="ru-RU" sz="2000" dirty="0" err="1"/>
              <a:t>сертификатланган</a:t>
            </a:r>
            <a:r>
              <a:rPr lang="ru-RU" sz="2000" dirty="0"/>
              <a:t> </a:t>
            </a:r>
            <a:r>
              <a:rPr lang="ru-RU" sz="2000" dirty="0" err="1"/>
              <a:t>экспертлар</a:t>
            </a:r>
            <a:r>
              <a:rPr lang="ru-RU" sz="2000" dirty="0"/>
              <a:t> </a:t>
            </a:r>
            <a:r>
              <a:rPr lang="ru-RU" sz="2000" dirty="0" err="1"/>
              <a:t>Ассоциациясининг</a:t>
            </a:r>
            <a:r>
              <a:rPr lang="ru-RU" sz="2000" dirty="0"/>
              <a:t> </a:t>
            </a:r>
            <a:r>
              <a:rPr lang="ru-RU" sz="2000" dirty="0" err="1"/>
              <a:t>ҳисоботи</a:t>
            </a:r>
            <a:r>
              <a:rPr lang="ru-RU" sz="2000" dirty="0"/>
              <a:t>  (ACFE)</a:t>
            </a:r>
            <a:endParaRPr lang="en-US" sz="2000" dirty="0"/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4B8B2437-55A2-470C-9848-07EADD27337D}"/>
              </a:ext>
            </a:extLst>
          </p:cNvPr>
          <p:cNvSpPr/>
          <p:nvPr/>
        </p:nvSpPr>
        <p:spPr>
          <a:xfrm>
            <a:off x="690664" y="1282700"/>
            <a:ext cx="3970788" cy="432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rgbClr val="004BD2"/>
                </a:solidFill>
              </a:rPr>
              <a:t>Фирибгарлик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бўйича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сертификатланган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экспертлар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Ассоциацияси</a:t>
            </a:r>
            <a:r>
              <a:rPr lang="ru-RU" sz="1400" b="1" dirty="0">
                <a:solidFill>
                  <a:srgbClr val="004BD2"/>
                </a:solidFill>
              </a:rPr>
              <a:t> (ACFE) 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9754F84C-845E-4864-9E64-524CA8507C73}"/>
              </a:ext>
            </a:extLst>
          </p:cNvPr>
          <p:cNvGrpSpPr/>
          <p:nvPr/>
        </p:nvGrpSpPr>
        <p:grpSpPr>
          <a:xfrm>
            <a:off x="4722421" y="1282699"/>
            <a:ext cx="238043" cy="431999"/>
            <a:chOff x="3841139" y="1940745"/>
            <a:chExt cx="238043" cy="442712"/>
          </a:xfrm>
          <a:solidFill>
            <a:srgbClr val="49A9F6"/>
          </a:solidFill>
        </p:grpSpPr>
        <p:sp>
          <p:nvSpPr>
            <p:cNvPr id="67" name="Arrow: Chevron 66">
              <a:extLst>
                <a:ext uri="{FF2B5EF4-FFF2-40B4-BE49-F238E27FC236}">
                  <a16:creationId xmlns:a16="http://schemas.microsoft.com/office/drawing/2014/main" id="{623FF8B7-41A6-4EEA-AA14-9E07B16EF17B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68" name="Arrow: Chevron 67">
              <a:extLst>
                <a:ext uri="{FF2B5EF4-FFF2-40B4-BE49-F238E27FC236}">
                  <a16:creationId xmlns:a16="http://schemas.microsoft.com/office/drawing/2014/main" id="{663065A3-F25B-41A6-8885-180DC66227D7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8E11E2D7-7A7F-45EF-AED2-33E7A25684A4}"/>
              </a:ext>
            </a:extLst>
          </p:cNvPr>
          <p:cNvSpPr txBox="1">
            <a:spLocks/>
          </p:cNvSpPr>
          <p:nvPr/>
        </p:nvSpPr>
        <p:spPr>
          <a:xfrm>
            <a:off x="5003666" y="1282700"/>
            <a:ext cx="6590523" cy="43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400" dirty="0" err="1"/>
              <a:t>фирибгарликнинг</a:t>
            </a:r>
            <a:r>
              <a:rPr lang="ru-RU" sz="1400" dirty="0"/>
              <a:t> </a:t>
            </a:r>
            <a:r>
              <a:rPr lang="ru-RU" sz="1400" dirty="0" err="1"/>
              <a:t>ҳар</a:t>
            </a:r>
            <a:r>
              <a:rPr lang="ru-RU" sz="1400" dirty="0"/>
              <a:t> хил </a:t>
            </a:r>
            <a:r>
              <a:rPr lang="ru-RU" sz="1400" dirty="0" err="1"/>
              <a:t>турлари</a:t>
            </a:r>
            <a:r>
              <a:rPr lang="ru-RU" sz="1400" dirty="0"/>
              <a:t>, </a:t>
            </a:r>
            <a:r>
              <a:rPr lang="ru-RU" sz="1400" dirty="0" err="1"/>
              <a:t>фирибгар</a:t>
            </a:r>
            <a:r>
              <a:rPr lang="ru-RU" sz="1400" dirty="0"/>
              <a:t> </a:t>
            </a:r>
            <a:r>
              <a:rPr lang="ru-RU" sz="1400" dirty="0" err="1"/>
              <a:t>профиллари</a:t>
            </a:r>
            <a:r>
              <a:rPr lang="ru-RU" sz="1400" dirty="0"/>
              <a:t>, </a:t>
            </a:r>
            <a:r>
              <a:rPr lang="ru-RU" sz="1400" dirty="0" err="1"/>
              <a:t>фирибгарликни</a:t>
            </a:r>
            <a:r>
              <a:rPr lang="ru-RU" sz="1400" dirty="0"/>
              <a:t> </a:t>
            </a:r>
            <a:r>
              <a:rPr lang="ru-RU" sz="1400" dirty="0" err="1"/>
              <a:t>аниқлаш</a:t>
            </a:r>
            <a:r>
              <a:rPr lang="ru-RU" sz="1400" dirty="0"/>
              <a:t> </a:t>
            </a:r>
            <a:r>
              <a:rPr lang="ru-RU" sz="1400" dirty="0" err="1"/>
              <a:t>усуллари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фирибгарлик</a:t>
            </a:r>
            <a:r>
              <a:rPr lang="ru-RU" sz="1400" dirty="0"/>
              <a:t> </a:t>
            </a:r>
            <a:r>
              <a:rPr lang="ru-RU" sz="1400" dirty="0" err="1"/>
              <a:t>ҳаракатларини</a:t>
            </a:r>
            <a:r>
              <a:rPr lang="ru-RU" sz="1400" dirty="0"/>
              <a:t> </a:t>
            </a:r>
            <a:r>
              <a:rPr lang="ru-RU" sz="1400" dirty="0" err="1"/>
              <a:t>амалга</a:t>
            </a:r>
            <a:r>
              <a:rPr lang="ru-RU" sz="1400" dirty="0"/>
              <a:t> </a:t>
            </a:r>
            <a:r>
              <a:rPr lang="ru-RU" sz="1400" dirty="0" err="1"/>
              <a:t>ошириш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аниқлаш</a:t>
            </a:r>
            <a:r>
              <a:rPr lang="ru-RU" sz="1400" dirty="0"/>
              <a:t> </a:t>
            </a:r>
            <a:r>
              <a:rPr lang="ru-RU" sz="1400" dirty="0" err="1"/>
              <a:t>билан</a:t>
            </a:r>
            <a:r>
              <a:rPr lang="ru-RU" sz="1400" dirty="0"/>
              <a:t> </a:t>
            </a:r>
            <a:r>
              <a:rPr lang="ru-RU" sz="1400" dirty="0" err="1"/>
              <a:t>боғлиқ</a:t>
            </a:r>
            <a:r>
              <a:rPr lang="ru-RU" sz="1400" dirty="0"/>
              <a:t> </a:t>
            </a:r>
            <a:r>
              <a:rPr lang="ru-RU" sz="1400" dirty="0" err="1"/>
              <a:t>бошқа</a:t>
            </a:r>
            <a:r>
              <a:rPr lang="ru-RU" sz="1400" dirty="0"/>
              <a:t> </a:t>
            </a:r>
            <a:r>
              <a:rPr lang="ru-RU" sz="1400" dirty="0" err="1"/>
              <a:t>мезонлар</a:t>
            </a:r>
            <a:r>
              <a:rPr lang="ru-RU" sz="1400" dirty="0"/>
              <a:t> </a:t>
            </a:r>
            <a:r>
              <a:rPr lang="ru-RU" sz="1400" dirty="0" err="1"/>
              <a:t>бўйича</a:t>
            </a:r>
            <a:r>
              <a:rPr lang="ru-RU" sz="1400" dirty="0"/>
              <a:t>  </a:t>
            </a:r>
            <a:r>
              <a:rPr lang="ru-RU" sz="1400" dirty="0" err="1"/>
              <a:t>тадқиқотлар</a:t>
            </a:r>
            <a:r>
              <a:rPr lang="ru-RU" sz="1400" dirty="0"/>
              <a:t> </a:t>
            </a:r>
            <a:r>
              <a:rPr lang="ru-RU" sz="1400" dirty="0" err="1"/>
              <a:t>ўтказди</a:t>
            </a:r>
            <a:r>
              <a:rPr lang="ru-RU" sz="1400" dirty="0"/>
              <a:t>. 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776B144D-EADB-4757-A4D7-8D44443B9641}"/>
              </a:ext>
            </a:extLst>
          </p:cNvPr>
          <p:cNvSpPr/>
          <p:nvPr/>
        </p:nvSpPr>
        <p:spPr>
          <a:xfrm>
            <a:off x="1498600" y="2547687"/>
            <a:ext cx="3162852" cy="43200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59FC62A5-0BF4-401D-8910-A27A75D9BA24}"/>
              </a:ext>
            </a:extLst>
          </p:cNvPr>
          <p:cNvSpPr/>
          <p:nvPr/>
        </p:nvSpPr>
        <p:spPr>
          <a:xfrm>
            <a:off x="690664" y="1947519"/>
            <a:ext cx="3970788" cy="432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004BD2"/>
                </a:solidFill>
              </a:rPr>
              <a:t>Ушбу </a:t>
            </a:r>
            <a:r>
              <a:rPr lang="ru-RU" sz="1400" b="1" dirty="0" err="1">
                <a:solidFill>
                  <a:srgbClr val="004BD2"/>
                </a:solidFill>
              </a:rPr>
              <a:t>тадқиқот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қуйидагиларни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кўриб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чиқади</a:t>
            </a:r>
            <a:r>
              <a:rPr lang="ru-RU" sz="1400" b="1" dirty="0">
                <a:solidFill>
                  <a:srgbClr val="004BD2"/>
                </a:solidFill>
              </a:rPr>
              <a:t>  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ABA36607-CE31-4390-A80C-44E470BF76A8}"/>
              </a:ext>
            </a:extLst>
          </p:cNvPr>
          <p:cNvGrpSpPr/>
          <p:nvPr/>
        </p:nvGrpSpPr>
        <p:grpSpPr>
          <a:xfrm>
            <a:off x="4722421" y="1947519"/>
            <a:ext cx="238043" cy="431999"/>
            <a:chOff x="3841139" y="1940745"/>
            <a:chExt cx="238043" cy="442712"/>
          </a:xfrm>
          <a:solidFill>
            <a:srgbClr val="49A9F6"/>
          </a:solidFill>
        </p:grpSpPr>
        <p:sp>
          <p:nvSpPr>
            <p:cNvPr id="81" name="Arrow: Chevron 80">
              <a:extLst>
                <a:ext uri="{FF2B5EF4-FFF2-40B4-BE49-F238E27FC236}">
                  <a16:creationId xmlns:a16="http://schemas.microsoft.com/office/drawing/2014/main" id="{16DF0081-1D37-43CF-A1FD-26DCFA0F4091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82" name="Arrow: Chevron 81">
              <a:extLst>
                <a:ext uri="{FF2B5EF4-FFF2-40B4-BE49-F238E27FC236}">
                  <a16:creationId xmlns:a16="http://schemas.microsoft.com/office/drawing/2014/main" id="{00BACC42-65B4-4520-943A-7AF6A6E965A3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solidFill>
                <a:srgbClr val="49A9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83" name="Text Placeholder 6">
            <a:extLst>
              <a:ext uri="{FF2B5EF4-FFF2-40B4-BE49-F238E27FC236}">
                <a16:creationId xmlns:a16="http://schemas.microsoft.com/office/drawing/2014/main" id="{6E31DB42-0641-4FFB-8654-01732C4BB63A}"/>
              </a:ext>
            </a:extLst>
          </p:cNvPr>
          <p:cNvSpPr txBox="1">
            <a:spLocks/>
          </p:cNvSpPr>
          <p:nvPr/>
        </p:nvSpPr>
        <p:spPr>
          <a:xfrm>
            <a:off x="5029067" y="1947519"/>
            <a:ext cx="6599072" cy="43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400" dirty="0"/>
              <a:t>, </a:t>
            </a:r>
            <a:r>
              <a:rPr lang="ru-RU" sz="1800" b="1" dirty="0">
                <a:solidFill>
                  <a:schemeClr val="accent3"/>
                </a:solidFill>
              </a:rPr>
              <a:t>133 </a:t>
            </a:r>
            <a:r>
              <a:rPr lang="ru-RU" sz="1400" dirty="0"/>
              <a:t>та </a:t>
            </a:r>
            <a:r>
              <a:rPr lang="ru-RU" sz="1400" dirty="0" err="1"/>
              <a:t>мамлакат</a:t>
            </a:r>
            <a:r>
              <a:rPr lang="ru-RU" sz="1400" dirty="0"/>
              <a:t> </a:t>
            </a:r>
            <a:r>
              <a:rPr lang="ru-RU" sz="1400" dirty="0" err="1"/>
              <a:t>ҳудудида</a:t>
            </a:r>
            <a:r>
              <a:rPr lang="ru-RU" sz="1400" dirty="0"/>
              <a:t> </a:t>
            </a:r>
            <a:r>
              <a:rPr lang="ru-RU" sz="1800" b="1" dirty="0">
                <a:solidFill>
                  <a:schemeClr val="accent3"/>
                </a:solidFill>
              </a:rPr>
              <a:t>2,110</a:t>
            </a:r>
            <a:r>
              <a:rPr lang="ru-RU" sz="1400" dirty="0"/>
              <a:t> та кейс (</a:t>
            </a:r>
            <a:r>
              <a:rPr lang="ru-RU" sz="1400" dirty="0" err="1"/>
              <a:t>холат</a:t>
            </a:r>
            <a:r>
              <a:rPr lang="ru-RU" sz="1400" dirty="0"/>
              <a:t>), </a:t>
            </a:r>
            <a:r>
              <a:rPr lang="ru-RU" sz="1400" dirty="0" err="1"/>
              <a:t>умумий</a:t>
            </a:r>
            <a:r>
              <a:rPr lang="ru-RU" sz="1400" dirty="0"/>
              <a:t> </a:t>
            </a:r>
            <a:r>
              <a:rPr lang="ru-RU" sz="1400" dirty="0" err="1"/>
              <a:t>зарар</a:t>
            </a:r>
            <a:r>
              <a:rPr lang="ru-RU" sz="1400" dirty="0"/>
              <a:t> </a:t>
            </a:r>
            <a:r>
              <a:rPr lang="ru-RU" sz="1400" dirty="0" err="1"/>
              <a:t>суммаси</a:t>
            </a:r>
            <a:r>
              <a:rPr lang="ru-RU" sz="1400" dirty="0"/>
              <a:t>  </a:t>
            </a:r>
            <a:r>
              <a:rPr lang="ru-RU" sz="1800" b="1" dirty="0">
                <a:solidFill>
                  <a:schemeClr val="accent3"/>
                </a:solidFill>
              </a:rPr>
              <a:t>3.6</a:t>
            </a:r>
            <a:r>
              <a:rPr lang="ru-RU" sz="1400" dirty="0"/>
              <a:t> миллиард АҚШ </a:t>
            </a:r>
            <a:r>
              <a:rPr lang="ru-RU" sz="1400" dirty="0" err="1"/>
              <a:t>долларидан</a:t>
            </a:r>
            <a:r>
              <a:rPr lang="ru-RU" sz="1400" dirty="0"/>
              <a:t> </a:t>
            </a:r>
            <a:r>
              <a:rPr lang="ru-RU" sz="1400" dirty="0" err="1"/>
              <a:t>ортиқ</a:t>
            </a:r>
            <a:r>
              <a:rPr lang="ru-RU" sz="1400" dirty="0"/>
              <a:t>. </a:t>
            </a:r>
          </a:p>
        </p:txBody>
      </p:sp>
      <p:sp>
        <p:nvSpPr>
          <p:cNvPr id="84" name="Text Placeholder 3">
            <a:extLst>
              <a:ext uri="{FF2B5EF4-FFF2-40B4-BE49-F238E27FC236}">
                <a16:creationId xmlns:a16="http://schemas.microsoft.com/office/drawing/2014/main" id="{4FE0C04C-5B93-4843-8798-A83A4CCF4CB8}"/>
              </a:ext>
            </a:extLst>
          </p:cNvPr>
          <p:cNvSpPr txBox="1">
            <a:spLocks/>
          </p:cNvSpPr>
          <p:nvPr/>
        </p:nvSpPr>
        <p:spPr>
          <a:xfrm>
            <a:off x="1464136" y="2677168"/>
            <a:ext cx="9224504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defRPr sz="1600" b="1">
                <a:solidFill>
                  <a:srgbClr val="49A9F6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>
                <a:solidFill>
                  <a:schemeClr val="tx2"/>
                </a:solidFill>
              </a:defRPr>
            </a:lvl2pPr>
            <a:lvl3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>
                <a:solidFill>
                  <a:schemeClr val="tx2"/>
                </a:solidFill>
              </a:defRPr>
            </a:lvl3pPr>
            <a:lvl4pPr marL="360000" indent="-144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4pPr>
            <a:lvl5pPr marL="57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baseline="0">
                <a:solidFill>
                  <a:schemeClr val="tx2"/>
                </a:solidFill>
              </a:defRPr>
            </a:lvl5pPr>
            <a:lvl6pPr marL="1098000" indent="-230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6pPr>
            <a:lvl7pPr marL="1371600" indent="-28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>
                <a:solidFill>
                  <a:schemeClr val="tx2"/>
                </a:solidFill>
              </a:defRPr>
            </a:lvl7pPr>
            <a:lvl8pPr marL="16452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 err="1"/>
              <a:t>Фирибгарликни</a:t>
            </a:r>
            <a:r>
              <a:rPr lang="ru-RU" dirty="0"/>
              <a:t> </a:t>
            </a:r>
            <a:r>
              <a:rPr lang="ru-RU" dirty="0" err="1"/>
              <a:t>аниқлаш</a:t>
            </a:r>
            <a:r>
              <a:rPr lang="ru-RU" dirty="0"/>
              <a:t> 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EC4DC868-B8F5-4C1F-82B3-07F3E87B4535}"/>
              </a:ext>
            </a:extLst>
          </p:cNvPr>
          <p:cNvCxnSpPr>
            <a:cxnSpLocks/>
          </p:cNvCxnSpPr>
          <p:nvPr/>
        </p:nvCxnSpPr>
        <p:spPr>
          <a:xfrm>
            <a:off x="1498600" y="3023384"/>
            <a:ext cx="9190038" cy="0"/>
          </a:xfrm>
          <a:prstGeom prst="line">
            <a:avLst/>
          </a:prstGeom>
          <a:ln w="38100">
            <a:solidFill>
              <a:srgbClr val="CAC5F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1859CE79-45C0-4255-B612-A7828AF469E8}"/>
              </a:ext>
            </a:extLst>
          </p:cNvPr>
          <p:cNvCxnSpPr>
            <a:cxnSpLocks/>
          </p:cNvCxnSpPr>
          <p:nvPr/>
        </p:nvCxnSpPr>
        <p:spPr>
          <a:xfrm>
            <a:off x="690664" y="3023384"/>
            <a:ext cx="10817157" cy="0"/>
          </a:xfrm>
          <a:prstGeom prst="line">
            <a:avLst/>
          </a:prstGeom>
          <a:ln w="38100">
            <a:solidFill>
              <a:srgbClr val="49A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82138C4A-314E-4DAE-8D8D-51622948E9FB}"/>
              </a:ext>
            </a:extLst>
          </p:cNvPr>
          <p:cNvGrpSpPr/>
          <p:nvPr/>
        </p:nvGrpSpPr>
        <p:grpSpPr>
          <a:xfrm>
            <a:off x="822873" y="2479608"/>
            <a:ext cx="543519" cy="546780"/>
            <a:chOff x="2745823" y="1279606"/>
            <a:chExt cx="640087" cy="643927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1AFE2DED-16B8-4B2A-B3B0-4D0A63A95282}"/>
                </a:ext>
              </a:extLst>
            </p:cNvPr>
            <p:cNvSpPr/>
            <p:nvPr/>
          </p:nvSpPr>
          <p:spPr>
            <a:xfrm>
              <a:off x="2745823" y="1614158"/>
              <a:ext cx="640087" cy="309375"/>
            </a:xfrm>
            <a:custGeom>
              <a:avLst/>
              <a:gdLst>
                <a:gd name="connsiteX0" fmla="*/ 552822 w 640086"/>
                <a:gd name="connsiteY0" fmla="*/ 299027 h 309375"/>
                <a:gd name="connsiteX1" fmla="*/ 633473 w 640086"/>
                <a:gd name="connsiteY1" fmla="*/ 10668 h 309375"/>
                <a:gd name="connsiteX2" fmla="*/ 10668 w 640086"/>
                <a:gd name="connsiteY2" fmla="*/ 10668 h 309375"/>
                <a:gd name="connsiteX3" fmla="*/ 91319 w 640086"/>
                <a:gd name="connsiteY3" fmla="*/ 299027 h 309375"/>
                <a:gd name="connsiteX4" fmla="*/ 552822 w 640086"/>
                <a:gd name="connsiteY4" fmla="*/ 299027 h 309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0086" h="309375">
                  <a:moveTo>
                    <a:pt x="552822" y="299027"/>
                  </a:moveTo>
                  <a:lnTo>
                    <a:pt x="633473" y="10668"/>
                  </a:lnTo>
                  <a:lnTo>
                    <a:pt x="10668" y="10668"/>
                  </a:lnTo>
                  <a:lnTo>
                    <a:pt x="91319" y="299027"/>
                  </a:lnTo>
                  <a:lnTo>
                    <a:pt x="552822" y="299027"/>
                  </a:lnTo>
                  <a:close/>
                </a:path>
              </a:pathLst>
            </a:custGeom>
            <a:noFill/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A26B39DF-D3B3-4017-9BD4-FF2B4FAB8356}"/>
                </a:ext>
              </a:extLst>
            </p:cNvPr>
            <p:cNvSpPr/>
            <p:nvPr/>
          </p:nvSpPr>
          <p:spPr>
            <a:xfrm>
              <a:off x="3229302" y="1449656"/>
              <a:ext cx="64009" cy="181358"/>
            </a:xfrm>
            <a:custGeom>
              <a:avLst/>
              <a:gdLst>
                <a:gd name="connsiteX0" fmla="*/ 10668 w 64008"/>
                <a:gd name="connsiteY0" fmla="*/ 10668 h 181357"/>
                <a:gd name="connsiteX1" fmla="*/ 57715 w 64008"/>
                <a:gd name="connsiteY1" fmla="*/ 175064 h 181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08" h="181357">
                  <a:moveTo>
                    <a:pt x="10668" y="10668"/>
                  </a:moveTo>
                  <a:cubicBezTo>
                    <a:pt x="10668" y="10668"/>
                    <a:pt x="57715" y="140499"/>
                    <a:pt x="57715" y="175064"/>
                  </a:cubicBezTo>
                </a:path>
              </a:pathLst>
            </a:custGeom>
            <a:noFill/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B61FA7F8-D089-4460-8916-E79C46AA776E}"/>
                </a:ext>
              </a:extLst>
            </p:cNvPr>
            <p:cNvSpPr/>
            <p:nvPr/>
          </p:nvSpPr>
          <p:spPr>
            <a:xfrm>
              <a:off x="2826474" y="1279606"/>
              <a:ext cx="448061" cy="352048"/>
            </a:xfrm>
            <a:custGeom>
              <a:avLst/>
              <a:gdLst>
                <a:gd name="connsiteX0" fmla="*/ 195227 w 448060"/>
                <a:gd name="connsiteY0" fmla="*/ 125990 h 352047"/>
                <a:gd name="connsiteX1" fmla="*/ 437500 w 448060"/>
                <a:gd name="connsiteY1" fmla="*/ 172183 h 352047"/>
                <a:gd name="connsiteX2" fmla="*/ 241420 w 448060"/>
                <a:gd name="connsiteY2" fmla="*/ 10668 h 352047"/>
                <a:gd name="connsiteX3" fmla="*/ 56861 w 448060"/>
                <a:gd name="connsiteY3" fmla="*/ 183705 h 352047"/>
                <a:gd name="connsiteX4" fmla="*/ 56861 w 448060"/>
                <a:gd name="connsiteY4" fmla="*/ 183705 h 352047"/>
                <a:gd name="connsiteX5" fmla="*/ 10668 w 448060"/>
                <a:gd name="connsiteY5" fmla="*/ 345220 h 352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8060" h="352047">
                  <a:moveTo>
                    <a:pt x="195227" y="125990"/>
                  </a:moveTo>
                  <a:cubicBezTo>
                    <a:pt x="195227" y="125990"/>
                    <a:pt x="264463" y="241313"/>
                    <a:pt x="437500" y="172183"/>
                  </a:cubicBezTo>
                  <a:cubicBezTo>
                    <a:pt x="402935" y="33711"/>
                    <a:pt x="295080" y="10668"/>
                    <a:pt x="241420" y="10668"/>
                  </a:cubicBezTo>
                  <a:cubicBezTo>
                    <a:pt x="206855" y="10668"/>
                    <a:pt x="79904" y="10668"/>
                    <a:pt x="56861" y="183705"/>
                  </a:cubicBezTo>
                  <a:lnTo>
                    <a:pt x="56861" y="183705"/>
                  </a:lnTo>
                  <a:cubicBezTo>
                    <a:pt x="56861" y="183705"/>
                    <a:pt x="10668" y="275984"/>
                    <a:pt x="10668" y="345220"/>
                  </a:cubicBezTo>
                </a:path>
              </a:pathLst>
            </a:custGeom>
            <a:noFill/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E69F70E8-BEA8-41D6-A2A3-A7A2AC9AEA13}"/>
                </a:ext>
              </a:extLst>
            </p:cNvPr>
            <p:cNvSpPr/>
            <p:nvPr/>
          </p:nvSpPr>
          <p:spPr>
            <a:xfrm>
              <a:off x="3161026" y="1464165"/>
              <a:ext cx="32004" cy="170690"/>
            </a:xfrm>
            <a:custGeom>
              <a:avLst/>
              <a:gdLst>
                <a:gd name="connsiteX0" fmla="*/ 10668 w 32004"/>
                <a:gd name="connsiteY0" fmla="*/ 10668 h 170689"/>
                <a:gd name="connsiteX1" fmla="*/ 10668 w 32004"/>
                <a:gd name="connsiteY1" fmla="*/ 160662 h 17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04" h="170689">
                  <a:moveTo>
                    <a:pt x="10668" y="10668"/>
                  </a:moveTo>
                  <a:cubicBezTo>
                    <a:pt x="10668" y="10668"/>
                    <a:pt x="35525" y="72650"/>
                    <a:pt x="10668" y="160662"/>
                  </a:cubicBezTo>
                </a:path>
              </a:pathLst>
            </a:custGeom>
            <a:noFill/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059A8CCA-3B57-4BBC-ACEC-169C68E25B31}"/>
                </a:ext>
              </a:extLst>
            </p:cNvPr>
            <p:cNvSpPr/>
            <p:nvPr/>
          </p:nvSpPr>
          <p:spPr>
            <a:xfrm>
              <a:off x="2941844" y="1464165"/>
              <a:ext cx="32004" cy="170690"/>
            </a:xfrm>
            <a:custGeom>
              <a:avLst/>
              <a:gdLst>
                <a:gd name="connsiteX0" fmla="*/ 21716 w 32004"/>
                <a:gd name="connsiteY0" fmla="*/ 10668 h 170689"/>
                <a:gd name="connsiteX1" fmla="*/ 21716 w 32004"/>
                <a:gd name="connsiteY1" fmla="*/ 160662 h 170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2004" h="170689">
                  <a:moveTo>
                    <a:pt x="21716" y="10668"/>
                  </a:moveTo>
                  <a:cubicBezTo>
                    <a:pt x="21716" y="10668"/>
                    <a:pt x="-3141" y="72650"/>
                    <a:pt x="21716" y="160662"/>
                  </a:cubicBezTo>
                </a:path>
              </a:pathLst>
            </a:custGeom>
            <a:noFill/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06FCFCD-CFD9-4360-84F5-8A4B40F35A72}"/>
                </a:ext>
              </a:extLst>
            </p:cNvPr>
            <p:cNvSpPr/>
            <p:nvPr/>
          </p:nvSpPr>
          <p:spPr>
            <a:xfrm>
              <a:off x="2987989" y="1533401"/>
              <a:ext cx="42672" cy="10668"/>
            </a:xfrm>
            <a:custGeom>
              <a:avLst/>
              <a:gdLst>
                <a:gd name="connsiteX0" fmla="*/ 10668 w 42672"/>
                <a:gd name="connsiteY0" fmla="*/ 10668 h 10668"/>
                <a:gd name="connsiteX1" fmla="*/ 33711 w 42672"/>
                <a:gd name="connsiteY1" fmla="*/ 10668 h 1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72" h="10668">
                  <a:moveTo>
                    <a:pt x="10668" y="10668"/>
                  </a:moveTo>
                  <a:lnTo>
                    <a:pt x="33711" y="10668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1AB6F938-31D4-4091-B3AB-4B1A6DC1212B}"/>
                </a:ext>
              </a:extLst>
            </p:cNvPr>
            <p:cNvSpPr/>
            <p:nvPr/>
          </p:nvSpPr>
          <p:spPr>
            <a:xfrm>
              <a:off x="3103312" y="1533401"/>
              <a:ext cx="42672" cy="10668"/>
            </a:xfrm>
            <a:custGeom>
              <a:avLst/>
              <a:gdLst>
                <a:gd name="connsiteX0" fmla="*/ 33818 w 42672"/>
                <a:gd name="connsiteY0" fmla="*/ 10668 h 10668"/>
                <a:gd name="connsiteX1" fmla="*/ 10668 w 42672"/>
                <a:gd name="connsiteY1" fmla="*/ 10668 h 1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672" h="10668">
                  <a:moveTo>
                    <a:pt x="33818" y="10668"/>
                  </a:moveTo>
                  <a:lnTo>
                    <a:pt x="10668" y="10668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F71EC0A-15AD-45A6-9E7F-505BF075C206}"/>
                </a:ext>
              </a:extLst>
            </p:cNvPr>
            <p:cNvSpPr/>
            <p:nvPr/>
          </p:nvSpPr>
          <p:spPr>
            <a:xfrm>
              <a:off x="3034182" y="1775567"/>
              <a:ext cx="64009" cy="10668"/>
            </a:xfrm>
            <a:custGeom>
              <a:avLst/>
              <a:gdLst>
                <a:gd name="connsiteX0" fmla="*/ 10668 w 64008"/>
                <a:gd name="connsiteY0" fmla="*/ 10668 h 10668"/>
                <a:gd name="connsiteX1" fmla="*/ 56754 w 64008"/>
                <a:gd name="connsiteY1" fmla="*/ 10668 h 1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008" h="10668">
                  <a:moveTo>
                    <a:pt x="10668" y="10668"/>
                  </a:moveTo>
                  <a:lnTo>
                    <a:pt x="56754" y="10668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6CC88DCA-628F-4FCF-BAD5-D81585E449BE}"/>
              </a:ext>
            </a:extLst>
          </p:cNvPr>
          <p:cNvSpPr/>
          <p:nvPr/>
        </p:nvSpPr>
        <p:spPr>
          <a:xfrm>
            <a:off x="690664" y="3827144"/>
            <a:ext cx="4884856" cy="351091"/>
          </a:xfrm>
          <a:prstGeom prst="roundRect">
            <a:avLst>
              <a:gd name="adj" fmla="val 50000"/>
            </a:avLst>
          </a:prstGeom>
          <a:solidFill>
            <a:srgbClr val="49A9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err="1"/>
              <a:t>Фирибгарликни</a:t>
            </a:r>
            <a:r>
              <a:rPr lang="ru-RU" b="1" dirty="0"/>
              <a:t> </a:t>
            </a:r>
            <a:r>
              <a:rPr lang="ru-RU" b="1" dirty="0" err="1"/>
              <a:t>аниқлаш</a:t>
            </a:r>
            <a:endParaRPr lang="ru-RU" b="1" dirty="0"/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209727CA-29EE-4581-A18D-FC73752E728F}"/>
              </a:ext>
            </a:extLst>
          </p:cNvPr>
          <p:cNvSpPr/>
          <p:nvPr/>
        </p:nvSpPr>
        <p:spPr>
          <a:xfrm>
            <a:off x="6579331" y="3798444"/>
            <a:ext cx="4884855" cy="351091"/>
          </a:xfrm>
          <a:prstGeom prst="roundRect">
            <a:avLst>
              <a:gd name="adj" fmla="val 50000"/>
            </a:avLst>
          </a:prstGeom>
          <a:solidFill>
            <a:srgbClr val="49A9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err="1"/>
              <a:t>Фирибгарликни</a:t>
            </a:r>
            <a:r>
              <a:rPr lang="ru-RU" b="1" dirty="0"/>
              <a:t> </a:t>
            </a:r>
            <a:r>
              <a:rPr lang="ru-RU" b="1" dirty="0" err="1"/>
              <a:t>аниқлаш</a:t>
            </a:r>
            <a:r>
              <a:rPr lang="ru-RU" b="1" dirty="0"/>
              <a:t> </a:t>
            </a:r>
            <a:r>
              <a:rPr lang="ru-RU" b="1" dirty="0" err="1"/>
              <a:t>усуллари</a:t>
            </a:r>
            <a:endParaRPr lang="ru-RU" b="1" dirty="0"/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90D32369-0B8C-4F57-811D-8520B7216C72}"/>
              </a:ext>
            </a:extLst>
          </p:cNvPr>
          <p:cNvGrpSpPr/>
          <p:nvPr/>
        </p:nvGrpSpPr>
        <p:grpSpPr>
          <a:xfrm>
            <a:off x="10700317" y="4728604"/>
            <a:ext cx="927822" cy="950880"/>
            <a:chOff x="3353079" y="1563927"/>
            <a:chExt cx="1078342" cy="1105140"/>
          </a:xfrm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6F5D65C3-E3D3-4355-A330-B8D9E9BE47E7}"/>
                </a:ext>
              </a:extLst>
            </p:cNvPr>
            <p:cNvSpPr/>
            <p:nvPr/>
          </p:nvSpPr>
          <p:spPr>
            <a:xfrm>
              <a:off x="3363361" y="2254521"/>
              <a:ext cx="442286" cy="403714"/>
            </a:xfrm>
            <a:custGeom>
              <a:avLst/>
              <a:gdLst>
                <a:gd name="connsiteX0" fmla="*/ 25981 w 442285"/>
                <a:gd name="connsiteY0" fmla="*/ 279605 h 403714"/>
                <a:gd name="connsiteX1" fmla="*/ 23478 w 442285"/>
                <a:gd name="connsiteY1" fmla="*/ 386816 h 403714"/>
                <a:gd name="connsiteX2" fmla="*/ 120342 w 442285"/>
                <a:gd name="connsiteY2" fmla="*/ 385445 h 403714"/>
                <a:gd name="connsiteX3" fmla="*/ 438688 w 442285"/>
                <a:gd name="connsiteY3" fmla="*/ 79273 h 403714"/>
                <a:gd name="connsiteX4" fmla="*/ 423273 w 442285"/>
                <a:gd name="connsiteY4" fmla="*/ 15399 h 403714"/>
                <a:gd name="connsiteX5" fmla="*/ 351438 w 442285"/>
                <a:gd name="connsiteY5" fmla="*/ 10119 h 403714"/>
                <a:gd name="connsiteX6" fmla="*/ 350735 w 442285"/>
                <a:gd name="connsiteY6" fmla="*/ 9296 h 403714"/>
                <a:gd name="connsiteX7" fmla="*/ 25981 w 442285"/>
                <a:gd name="connsiteY7" fmla="*/ 279605 h 403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2285" h="403714">
                  <a:moveTo>
                    <a:pt x="25981" y="279605"/>
                  </a:moveTo>
                  <a:cubicBezTo>
                    <a:pt x="-7304" y="307342"/>
                    <a:pt x="-8446" y="357810"/>
                    <a:pt x="23478" y="386816"/>
                  </a:cubicBezTo>
                  <a:cubicBezTo>
                    <a:pt x="51054" y="411948"/>
                    <a:pt x="93469" y="411365"/>
                    <a:pt x="120342" y="385445"/>
                  </a:cubicBezTo>
                  <a:lnTo>
                    <a:pt x="438688" y="79273"/>
                  </a:lnTo>
                  <a:cubicBezTo>
                    <a:pt x="446855" y="57639"/>
                    <a:pt x="441630" y="32062"/>
                    <a:pt x="423273" y="15399"/>
                  </a:cubicBezTo>
                  <a:cubicBezTo>
                    <a:pt x="403209" y="-2773"/>
                    <a:pt x="373525" y="-4658"/>
                    <a:pt x="351438" y="10119"/>
                  </a:cubicBezTo>
                  <a:lnTo>
                    <a:pt x="350735" y="9296"/>
                  </a:lnTo>
                  <a:lnTo>
                    <a:pt x="25981" y="279605"/>
                  </a:lnTo>
                </a:path>
              </a:pathLst>
            </a:custGeom>
            <a:solidFill>
              <a:schemeClr val="tx1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06FFE648-8560-4BD0-A216-7B7689BB144E}"/>
                </a:ext>
              </a:extLst>
            </p:cNvPr>
            <p:cNvSpPr/>
            <p:nvPr/>
          </p:nvSpPr>
          <p:spPr>
            <a:xfrm>
              <a:off x="3713839" y="2216544"/>
              <a:ext cx="128571" cy="115714"/>
            </a:xfrm>
            <a:custGeom>
              <a:avLst/>
              <a:gdLst>
                <a:gd name="connsiteX0" fmla="*/ 257 w 128571"/>
                <a:gd name="connsiteY0" fmla="*/ 47274 h 115714"/>
                <a:gd name="connsiteX1" fmla="*/ 960 w 128571"/>
                <a:gd name="connsiteY1" fmla="*/ 48097 h 115714"/>
                <a:gd name="connsiteX2" fmla="*/ 72795 w 128571"/>
                <a:gd name="connsiteY2" fmla="*/ 53376 h 115714"/>
                <a:gd name="connsiteX3" fmla="*/ 88210 w 128571"/>
                <a:gd name="connsiteY3" fmla="*/ 117251 h 115714"/>
                <a:gd name="connsiteX4" fmla="*/ 113544 w 128571"/>
                <a:gd name="connsiteY4" fmla="*/ 92942 h 115714"/>
                <a:gd name="connsiteX5" fmla="*/ 119208 w 128571"/>
                <a:gd name="connsiteY5" fmla="*/ 86599 h 115714"/>
                <a:gd name="connsiteX6" fmla="*/ 127594 w 128571"/>
                <a:gd name="connsiteY6" fmla="*/ 37914 h 115714"/>
                <a:gd name="connsiteX7" fmla="*/ 112402 w 128571"/>
                <a:gd name="connsiteY7" fmla="*/ 14256 h 115714"/>
                <a:gd name="connsiteX8" fmla="*/ 56681 w 128571"/>
                <a:gd name="connsiteY8" fmla="*/ 3937 h 115714"/>
                <a:gd name="connsiteX9" fmla="*/ 41709 w 128571"/>
                <a:gd name="connsiteY9" fmla="*/ 12714 h 115714"/>
                <a:gd name="connsiteX10" fmla="*/ 257 w 128571"/>
                <a:gd name="connsiteY10" fmla="*/ 47274 h 115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8571" h="115714">
                  <a:moveTo>
                    <a:pt x="257" y="47274"/>
                  </a:moveTo>
                  <a:lnTo>
                    <a:pt x="960" y="48097"/>
                  </a:lnTo>
                  <a:cubicBezTo>
                    <a:pt x="23047" y="33319"/>
                    <a:pt x="52731" y="35205"/>
                    <a:pt x="72795" y="53376"/>
                  </a:cubicBezTo>
                  <a:cubicBezTo>
                    <a:pt x="91152" y="70039"/>
                    <a:pt x="96377" y="95616"/>
                    <a:pt x="88210" y="117251"/>
                  </a:cubicBezTo>
                  <a:lnTo>
                    <a:pt x="113544" y="92942"/>
                  </a:lnTo>
                  <a:cubicBezTo>
                    <a:pt x="115608" y="90919"/>
                    <a:pt x="117538" y="88794"/>
                    <a:pt x="119208" y="86599"/>
                  </a:cubicBezTo>
                  <a:cubicBezTo>
                    <a:pt x="129963" y="72474"/>
                    <a:pt x="132734" y="54199"/>
                    <a:pt x="127594" y="37914"/>
                  </a:cubicBezTo>
                  <a:cubicBezTo>
                    <a:pt x="124827" y="29137"/>
                    <a:pt x="119781" y="20976"/>
                    <a:pt x="112402" y="14256"/>
                  </a:cubicBezTo>
                  <a:cubicBezTo>
                    <a:pt x="96946" y="199"/>
                    <a:pt x="75302" y="-3332"/>
                    <a:pt x="56681" y="3937"/>
                  </a:cubicBezTo>
                  <a:cubicBezTo>
                    <a:pt x="51370" y="5994"/>
                    <a:pt x="46317" y="8874"/>
                    <a:pt x="41709" y="12714"/>
                  </a:cubicBezTo>
                  <a:lnTo>
                    <a:pt x="257" y="47274"/>
                  </a:lnTo>
                </a:path>
              </a:pathLst>
            </a:custGeom>
            <a:solidFill>
              <a:srgbClr val="DAE1E6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EB07C758-5FF4-4E2D-BDAC-1CFD75CBF723}"/>
                </a:ext>
              </a:extLst>
            </p:cNvPr>
            <p:cNvSpPr/>
            <p:nvPr/>
          </p:nvSpPr>
          <p:spPr>
            <a:xfrm>
              <a:off x="3753490" y="1574325"/>
              <a:ext cx="578571" cy="678857"/>
            </a:xfrm>
            <a:custGeom>
              <a:avLst/>
              <a:gdLst>
                <a:gd name="connsiteX0" fmla="*/ 257 w 578571"/>
                <a:gd name="connsiteY0" fmla="*/ 543161 h 678857"/>
                <a:gd name="connsiteX1" fmla="*/ 785 w 578571"/>
                <a:gd name="connsiteY1" fmla="*/ 562567 h 678857"/>
                <a:gd name="connsiteX2" fmla="*/ 17030 w 578571"/>
                <a:gd name="connsiteY2" fmla="*/ 646156 h 678857"/>
                <a:gd name="connsiteX3" fmla="*/ 72751 w 578571"/>
                <a:gd name="connsiteY3" fmla="*/ 656475 h 678857"/>
                <a:gd name="connsiteX4" fmla="*/ 87943 w 578571"/>
                <a:gd name="connsiteY4" fmla="*/ 680133 h 678857"/>
                <a:gd name="connsiteX5" fmla="*/ 97690 w 578571"/>
                <a:gd name="connsiteY5" fmla="*/ 677287 h 678857"/>
                <a:gd name="connsiteX6" fmla="*/ 87110 w 578571"/>
                <a:gd name="connsiteY6" fmla="*/ 593321 h 678857"/>
                <a:gd name="connsiteX7" fmla="*/ 377657 w 578571"/>
                <a:gd name="connsiteY7" fmla="*/ 90075 h 678857"/>
                <a:gd name="connsiteX8" fmla="*/ 579994 w 578571"/>
                <a:gd name="connsiteY8" fmla="*/ 67995 h 678857"/>
                <a:gd name="connsiteX9" fmla="*/ 496217 w 578571"/>
                <a:gd name="connsiteY9" fmla="*/ 19584 h 678857"/>
                <a:gd name="connsiteX10" fmla="*/ 290805 w 578571"/>
                <a:gd name="connsiteY10" fmla="*/ 39984 h 678857"/>
                <a:gd name="connsiteX11" fmla="*/ 176904 w 578571"/>
                <a:gd name="connsiteY11" fmla="*/ 132418 h 678857"/>
                <a:gd name="connsiteX12" fmla="*/ 257 w 578571"/>
                <a:gd name="connsiteY12" fmla="*/ 543161 h 678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8571" h="678857">
                  <a:moveTo>
                    <a:pt x="257" y="543161"/>
                  </a:moveTo>
                  <a:cubicBezTo>
                    <a:pt x="257" y="549744"/>
                    <a:pt x="429" y="556258"/>
                    <a:pt x="785" y="562567"/>
                  </a:cubicBezTo>
                  <a:cubicBezTo>
                    <a:pt x="2558" y="594041"/>
                    <a:pt x="7985" y="622052"/>
                    <a:pt x="17030" y="646156"/>
                  </a:cubicBezTo>
                  <a:cubicBezTo>
                    <a:pt x="35647" y="638887"/>
                    <a:pt x="57295" y="642418"/>
                    <a:pt x="72751" y="656475"/>
                  </a:cubicBezTo>
                  <a:cubicBezTo>
                    <a:pt x="80129" y="663195"/>
                    <a:pt x="85176" y="671356"/>
                    <a:pt x="87943" y="680133"/>
                  </a:cubicBezTo>
                  <a:lnTo>
                    <a:pt x="97690" y="677287"/>
                  </a:lnTo>
                  <a:cubicBezTo>
                    <a:pt x="90799" y="652601"/>
                    <a:pt x="87110" y="624487"/>
                    <a:pt x="87110" y="593321"/>
                  </a:cubicBezTo>
                  <a:cubicBezTo>
                    <a:pt x="87110" y="408075"/>
                    <a:pt x="217214" y="182715"/>
                    <a:pt x="377657" y="90075"/>
                  </a:cubicBezTo>
                  <a:cubicBezTo>
                    <a:pt x="456302" y="44715"/>
                    <a:pt x="527654" y="39573"/>
                    <a:pt x="579994" y="67995"/>
                  </a:cubicBezTo>
                  <a:lnTo>
                    <a:pt x="496217" y="19584"/>
                  </a:lnTo>
                  <a:cubicBezTo>
                    <a:pt x="443654" y="-10759"/>
                    <a:pt x="371030" y="-6405"/>
                    <a:pt x="290805" y="39984"/>
                  </a:cubicBezTo>
                  <a:cubicBezTo>
                    <a:pt x="250365" y="63230"/>
                    <a:pt x="211893" y="95013"/>
                    <a:pt x="176904" y="132418"/>
                  </a:cubicBezTo>
                  <a:cubicBezTo>
                    <a:pt x="72998" y="243538"/>
                    <a:pt x="257" y="404544"/>
                    <a:pt x="257" y="543161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944CA83-A644-432B-AEEB-177B385C8602}"/>
                </a:ext>
              </a:extLst>
            </p:cNvPr>
            <p:cNvSpPr/>
            <p:nvPr/>
          </p:nvSpPr>
          <p:spPr>
            <a:xfrm>
              <a:off x="3832790" y="2251355"/>
              <a:ext cx="87429" cy="100286"/>
            </a:xfrm>
            <a:custGeom>
              <a:avLst/>
              <a:gdLst>
                <a:gd name="connsiteX0" fmla="*/ 257 w 87428"/>
                <a:gd name="connsiteY0" fmla="*/ 51789 h 100285"/>
                <a:gd name="connsiteX1" fmla="*/ 5177 w 87428"/>
                <a:gd name="connsiteY1" fmla="*/ 53743 h 100285"/>
                <a:gd name="connsiteX2" fmla="*/ 6010 w 87428"/>
                <a:gd name="connsiteY2" fmla="*/ 54257 h 100285"/>
                <a:gd name="connsiteX3" fmla="*/ 89043 w 87428"/>
                <a:gd name="connsiteY3" fmla="*/ 102120 h 100285"/>
                <a:gd name="connsiteX4" fmla="*/ 18391 w 87428"/>
                <a:gd name="connsiteY4" fmla="*/ 257 h 100285"/>
                <a:gd name="connsiteX5" fmla="*/ 8643 w 87428"/>
                <a:gd name="connsiteY5" fmla="*/ 3103 h 100285"/>
                <a:gd name="connsiteX6" fmla="*/ 257 w 87428"/>
                <a:gd name="connsiteY6" fmla="*/ 51789 h 10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428" h="100285">
                  <a:moveTo>
                    <a:pt x="257" y="51789"/>
                  </a:moveTo>
                  <a:lnTo>
                    <a:pt x="5177" y="53743"/>
                  </a:lnTo>
                  <a:cubicBezTo>
                    <a:pt x="5438" y="53914"/>
                    <a:pt x="5746" y="54120"/>
                    <a:pt x="6010" y="54257"/>
                  </a:cubicBezTo>
                  <a:lnTo>
                    <a:pt x="89043" y="102120"/>
                  </a:lnTo>
                  <a:cubicBezTo>
                    <a:pt x="56112" y="81651"/>
                    <a:pt x="31478" y="47057"/>
                    <a:pt x="18391" y="257"/>
                  </a:cubicBezTo>
                  <a:lnTo>
                    <a:pt x="8643" y="3103"/>
                  </a:lnTo>
                  <a:cubicBezTo>
                    <a:pt x="13783" y="19389"/>
                    <a:pt x="11016" y="37663"/>
                    <a:pt x="257" y="51789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D287D004-1EE6-477A-89EE-9F92CF1B8F2C}"/>
                </a:ext>
              </a:extLst>
            </p:cNvPr>
            <p:cNvSpPr/>
            <p:nvPr/>
          </p:nvSpPr>
          <p:spPr>
            <a:xfrm>
              <a:off x="3840343" y="1624488"/>
              <a:ext cx="581143" cy="750857"/>
            </a:xfrm>
            <a:custGeom>
              <a:avLst/>
              <a:gdLst>
                <a:gd name="connsiteX0" fmla="*/ 91193 w 581142"/>
                <a:gd name="connsiteY0" fmla="*/ 620884 h 750857"/>
                <a:gd name="connsiteX1" fmla="*/ 61557 w 581142"/>
                <a:gd name="connsiteY1" fmla="*/ 507775 h 750857"/>
                <a:gd name="connsiteX2" fmla="*/ 290805 w 581142"/>
                <a:gd name="connsiteY2" fmla="*/ 110678 h 750857"/>
                <a:gd name="connsiteX3" fmla="*/ 403697 w 581142"/>
                <a:gd name="connsiteY3" fmla="*/ 79924 h 750857"/>
                <a:gd name="connsiteX4" fmla="*/ 520059 w 581142"/>
                <a:gd name="connsiteY4" fmla="*/ 243021 h 750857"/>
                <a:gd name="connsiteX5" fmla="*/ 290805 w 581142"/>
                <a:gd name="connsiteY5" fmla="*/ 640118 h 750857"/>
                <a:gd name="connsiteX6" fmla="*/ 91193 w 581142"/>
                <a:gd name="connsiteY6" fmla="*/ 620884 h 750857"/>
                <a:gd name="connsiteX7" fmla="*/ 82193 w 581142"/>
                <a:gd name="connsiteY7" fmla="*/ 729364 h 750857"/>
                <a:gd name="connsiteX8" fmla="*/ 290805 w 581142"/>
                <a:gd name="connsiteY8" fmla="*/ 710884 h 750857"/>
                <a:gd name="connsiteX9" fmla="*/ 568930 w 581142"/>
                <a:gd name="connsiteY9" fmla="*/ 312141 h 750857"/>
                <a:gd name="connsiteX10" fmla="*/ 581355 w 581142"/>
                <a:gd name="connsiteY10" fmla="*/ 207638 h 750857"/>
                <a:gd name="connsiteX11" fmla="*/ 496217 w 581142"/>
                <a:gd name="connsiteY11" fmla="*/ 19581 h 750857"/>
                <a:gd name="connsiteX12" fmla="*/ 493142 w 581142"/>
                <a:gd name="connsiteY12" fmla="*/ 17832 h 750857"/>
                <a:gd name="connsiteX13" fmla="*/ 290805 w 581142"/>
                <a:gd name="connsiteY13" fmla="*/ 39913 h 750857"/>
                <a:gd name="connsiteX14" fmla="*/ 257 w 581142"/>
                <a:gd name="connsiteY14" fmla="*/ 543158 h 750857"/>
                <a:gd name="connsiteX15" fmla="*/ 10838 w 581142"/>
                <a:gd name="connsiteY15" fmla="*/ 627124 h 750857"/>
                <a:gd name="connsiteX16" fmla="*/ 81490 w 581142"/>
                <a:gd name="connsiteY16" fmla="*/ 728987 h 750857"/>
                <a:gd name="connsiteX17" fmla="*/ 82193 w 581142"/>
                <a:gd name="connsiteY17" fmla="*/ 729364 h 75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81142" h="750857">
                  <a:moveTo>
                    <a:pt x="91193" y="620884"/>
                  </a:moveTo>
                  <a:cubicBezTo>
                    <a:pt x="72312" y="593353"/>
                    <a:pt x="61557" y="555158"/>
                    <a:pt x="61557" y="507775"/>
                  </a:cubicBezTo>
                  <a:cubicBezTo>
                    <a:pt x="61557" y="361547"/>
                    <a:pt x="164215" y="183810"/>
                    <a:pt x="290805" y="110678"/>
                  </a:cubicBezTo>
                  <a:cubicBezTo>
                    <a:pt x="331862" y="87021"/>
                    <a:pt x="370371" y="77215"/>
                    <a:pt x="403697" y="79924"/>
                  </a:cubicBezTo>
                  <a:cubicBezTo>
                    <a:pt x="473163" y="85238"/>
                    <a:pt x="520059" y="144278"/>
                    <a:pt x="520059" y="243021"/>
                  </a:cubicBezTo>
                  <a:cubicBezTo>
                    <a:pt x="520059" y="389250"/>
                    <a:pt x="417398" y="567055"/>
                    <a:pt x="290805" y="640118"/>
                  </a:cubicBezTo>
                  <a:cubicBezTo>
                    <a:pt x="205183" y="689593"/>
                    <a:pt x="130536" y="678484"/>
                    <a:pt x="91193" y="620884"/>
                  </a:cubicBezTo>
                  <a:close/>
                  <a:moveTo>
                    <a:pt x="82193" y="729364"/>
                  </a:moveTo>
                  <a:cubicBezTo>
                    <a:pt x="134973" y="761798"/>
                    <a:pt x="208917" y="758198"/>
                    <a:pt x="290805" y="710884"/>
                  </a:cubicBezTo>
                  <a:cubicBezTo>
                    <a:pt x="421965" y="635181"/>
                    <a:pt x="532838" y="470850"/>
                    <a:pt x="568930" y="312141"/>
                  </a:cubicBezTo>
                  <a:cubicBezTo>
                    <a:pt x="577012" y="276655"/>
                    <a:pt x="581355" y="241513"/>
                    <a:pt x="581355" y="207638"/>
                  </a:cubicBezTo>
                  <a:cubicBezTo>
                    <a:pt x="581355" y="114998"/>
                    <a:pt x="548818" y="49890"/>
                    <a:pt x="496217" y="19581"/>
                  </a:cubicBezTo>
                  <a:lnTo>
                    <a:pt x="493142" y="17832"/>
                  </a:lnTo>
                  <a:cubicBezTo>
                    <a:pt x="440801" y="-10590"/>
                    <a:pt x="369449" y="-5447"/>
                    <a:pt x="290805" y="39913"/>
                  </a:cubicBezTo>
                  <a:cubicBezTo>
                    <a:pt x="130361" y="132553"/>
                    <a:pt x="257" y="357913"/>
                    <a:pt x="257" y="543158"/>
                  </a:cubicBezTo>
                  <a:cubicBezTo>
                    <a:pt x="257" y="574324"/>
                    <a:pt x="3946" y="602438"/>
                    <a:pt x="10838" y="627124"/>
                  </a:cubicBezTo>
                  <a:cubicBezTo>
                    <a:pt x="23925" y="673924"/>
                    <a:pt x="48559" y="708518"/>
                    <a:pt x="81490" y="728987"/>
                  </a:cubicBezTo>
                  <a:lnTo>
                    <a:pt x="82193" y="729364"/>
                  </a:lnTo>
                </a:path>
              </a:pathLst>
            </a:custGeom>
            <a:solidFill>
              <a:schemeClr val="bg2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4DB0AE05-E498-4377-9FB1-42550F70ED68}"/>
                </a:ext>
              </a:extLst>
            </p:cNvPr>
            <p:cNvSpPr/>
            <p:nvPr/>
          </p:nvSpPr>
          <p:spPr>
            <a:xfrm>
              <a:off x="3901642" y="1703717"/>
              <a:ext cx="457714" cy="591429"/>
            </a:xfrm>
            <a:custGeom>
              <a:avLst/>
              <a:gdLst>
                <a:gd name="connsiteX0" fmla="*/ 257 w 457714"/>
                <a:gd name="connsiteY0" fmla="*/ 428546 h 591428"/>
                <a:gd name="connsiteX1" fmla="*/ 29894 w 457714"/>
                <a:gd name="connsiteY1" fmla="*/ 541655 h 591428"/>
                <a:gd name="connsiteX2" fmla="*/ 229505 w 457714"/>
                <a:gd name="connsiteY2" fmla="*/ 560889 h 591428"/>
                <a:gd name="connsiteX3" fmla="*/ 458760 w 457714"/>
                <a:gd name="connsiteY3" fmla="*/ 163792 h 591428"/>
                <a:gd name="connsiteX4" fmla="*/ 342398 w 457714"/>
                <a:gd name="connsiteY4" fmla="*/ 695 h 591428"/>
                <a:gd name="connsiteX5" fmla="*/ 229505 w 457714"/>
                <a:gd name="connsiteY5" fmla="*/ 31450 h 591428"/>
                <a:gd name="connsiteX6" fmla="*/ 257 w 457714"/>
                <a:gd name="connsiteY6" fmla="*/ 428546 h 591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7714" h="591428">
                  <a:moveTo>
                    <a:pt x="257" y="428546"/>
                  </a:moveTo>
                  <a:cubicBezTo>
                    <a:pt x="257" y="475929"/>
                    <a:pt x="11013" y="514124"/>
                    <a:pt x="29894" y="541655"/>
                  </a:cubicBezTo>
                  <a:cubicBezTo>
                    <a:pt x="69237" y="599255"/>
                    <a:pt x="143883" y="610364"/>
                    <a:pt x="229505" y="560889"/>
                  </a:cubicBezTo>
                  <a:cubicBezTo>
                    <a:pt x="356098" y="487827"/>
                    <a:pt x="458760" y="310021"/>
                    <a:pt x="458760" y="163792"/>
                  </a:cubicBezTo>
                  <a:cubicBezTo>
                    <a:pt x="458760" y="65050"/>
                    <a:pt x="411864" y="6009"/>
                    <a:pt x="342398" y="695"/>
                  </a:cubicBezTo>
                  <a:cubicBezTo>
                    <a:pt x="309072" y="-2014"/>
                    <a:pt x="270562" y="7792"/>
                    <a:pt x="229505" y="31450"/>
                  </a:cubicBezTo>
                  <a:cubicBezTo>
                    <a:pt x="102915" y="104581"/>
                    <a:pt x="257" y="282318"/>
                    <a:pt x="257" y="428546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22F2EB02-99F1-41E1-B374-4A7C1FDB8CDA}"/>
                </a:ext>
              </a:extLst>
            </p:cNvPr>
            <p:cNvSpPr/>
            <p:nvPr/>
          </p:nvSpPr>
          <p:spPr>
            <a:xfrm>
              <a:off x="3911992" y="1633536"/>
              <a:ext cx="519429" cy="750857"/>
            </a:xfrm>
            <a:custGeom>
              <a:avLst/>
              <a:gdLst>
                <a:gd name="connsiteX0" fmla="*/ 89357 w 519428"/>
                <a:gd name="connsiteY0" fmla="*/ 752030 h 750857"/>
                <a:gd name="connsiteX1" fmla="*/ 5165 w 519428"/>
                <a:gd name="connsiteY1" fmla="*/ 729093 h 750857"/>
                <a:gd name="connsiteX2" fmla="*/ 1780 w 519428"/>
                <a:gd name="connsiteY2" fmla="*/ 714933 h 750857"/>
                <a:gd name="connsiteX3" fmla="*/ 15927 w 519428"/>
                <a:gd name="connsiteY3" fmla="*/ 711573 h 750857"/>
                <a:gd name="connsiteX4" fmla="*/ 214016 w 519428"/>
                <a:gd name="connsiteY4" fmla="*/ 692956 h 750857"/>
                <a:gd name="connsiteX5" fmla="*/ 487249 w 519428"/>
                <a:gd name="connsiteY5" fmla="*/ 300830 h 750857"/>
                <a:gd name="connsiteX6" fmla="*/ 499421 w 519428"/>
                <a:gd name="connsiteY6" fmla="*/ 198590 h 750857"/>
                <a:gd name="connsiteX7" fmla="*/ 419429 w 519428"/>
                <a:gd name="connsiteY7" fmla="*/ 19447 h 750857"/>
                <a:gd name="connsiteX8" fmla="*/ 415650 w 519428"/>
                <a:gd name="connsiteY8" fmla="*/ 5390 h 750857"/>
                <a:gd name="connsiteX9" fmla="*/ 429704 w 519428"/>
                <a:gd name="connsiteY9" fmla="*/ 1619 h 750857"/>
                <a:gd name="connsiteX10" fmla="*/ 519992 w 519428"/>
                <a:gd name="connsiteY10" fmla="*/ 198590 h 750857"/>
                <a:gd name="connsiteX11" fmla="*/ 507310 w 519428"/>
                <a:gd name="connsiteY11" fmla="*/ 305390 h 750857"/>
                <a:gd name="connsiteX12" fmla="*/ 224302 w 519428"/>
                <a:gd name="connsiteY12" fmla="*/ 710750 h 750857"/>
                <a:gd name="connsiteX13" fmla="*/ 89357 w 519428"/>
                <a:gd name="connsiteY13" fmla="*/ 752030 h 750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9428" h="750857">
                  <a:moveTo>
                    <a:pt x="89357" y="752030"/>
                  </a:moveTo>
                  <a:cubicBezTo>
                    <a:pt x="58530" y="752030"/>
                    <a:pt x="30104" y="744419"/>
                    <a:pt x="5165" y="729093"/>
                  </a:cubicBezTo>
                  <a:cubicBezTo>
                    <a:pt x="323" y="726110"/>
                    <a:pt x="-1196" y="719802"/>
                    <a:pt x="1780" y="714933"/>
                  </a:cubicBezTo>
                  <a:cubicBezTo>
                    <a:pt x="4750" y="710099"/>
                    <a:pt x="11082" y="708590"/>
                    <a:pt x="15927" y="711573"/>
                  </a:cubicBezTo>
                  <a:cubicBezTo>
                    <a:pt x="67760" y="743390"/>
                    <a:pt x="138107" y="736773"/>
                    <a:pt x="214016" y="692956"/>
                  </a:cubicBezTo>
                  <a:cubicBezTo>
                    <a:pt x="338758" y="620956"/>
                    <a:pt x="451115" y="459676"/>
                    <a:pt x="487249" y="300830"/>
                  </a:cubicBezTo>
                  <a:cubicBezTo>
                    <a:pt x="495327" y="265345"/>
                    <a:pt x="499421" y="230956"/>
                    <a:pt x="499421" y="198590"/>
                  </a:cubicBezTo>
                  <a:cubicBezTo>
                    <a:pt x="499421" y="112773"/>
                    <a:pt x="471008" y="49139"/>
                    <a:pt x="419429" y="19447"/>
                  </a:cubicBezTo>
                  <a:cubicBezTo>
                    <a:pt x="414505" y="16602"/>
                    <a:pt x="412815" y="10327"/>
                    <a:pt x="415650" y="5390"/>
                  </a:cubicBezTo>
                  <a:cubicBezTo>
                    <a:pt x="418482" y="487"/>
                    <a:pt x="424784" y="-1193"/>
                    <a:pt x="429704" y="1619"/>
                  </a:cubicBezTo>
                  <a:cubicBezTo>
                    <a:pt x="487931" y="35150"/>
                    <a:pt x="519992" y="105127"/>
                    <a:pt x="519992" y="198590"/>
                  </a:cubicBezTo>
                  <a:cubicBezTo>
                    <a:pt x="519992" y="232499"/>
                    <a:pt x="515727" y="268430"/>
                    <a:pt x="507310" y="305390"/>
                  </a:cubicBezTo>
                  <a:cubicBezTo>
                    <a:pt x="469410" y="472019"/>
                    <a:pt x="355674" y="634910"/>
                    <a:pt x="224302" y="710750"/>
                  </a:cubicBezTo>
                  <a:cubicBezTo>
                    <a:pt x="176795" y="738179"/>
                    <a:pt x="130904" y="752030"/>
                    <a:pt x="89357" y="752030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77850AC6-D510-4F93-BBBE-6ED22D8CA43A}"/>
                </a:ext>
              </a:extLst>
            </p:cNvPr>
            <p:cNvSpPr/>
            <p:nvPr/>
          </p:nvSpPr>
          <p:spPr>
            <a:xfrm>
              <a:off x="3830057" y="1614141"/>
              <a:ext cx="511714" cy="748286"/>
            </a:xfrm>
            <a:custGeom>
              <a:avLst/>
              <a:gdLst>
                <a:gd name="connsiteX0" fmla="*/ 91766 w 511714"/>
                <a:gd name="connsiteY0" fmla="*/ 749619 h 748285"/>
                <a:gd name="connsiteX1" fmla="*/ 86349 w 511714"/>
                <a:gd name="connsiteY1" fmla="*/ 748076 h 748285"/>
                <a:gd name="connsiteX2" fmla="*/ 11218 w 511714"/>
                <a:gd name="connsiteY2" fmla="*/ 640213 h 748285"/>
                <a:gd name="connsiteX3" fmla="*/ 257 w 511714"/>
                <a:gd name="connsiteY3" fmla="*/ 553505 h 748285"/>
                <a:gd name="connsiteX4" fmla="*/ 295951 w 511714"/>
                <a:gd name="connsiteY4" fmla="*/ 41345 h 748285"/>
                <a:gd name="connsiteX5" fmla="*/ 508334 w 511714"/>
                <a:gd name="connsiteY5" fmla="*/ 19128 h 748285"/>
                <a:gd name="connsiteX6" fmla="*/ 512465 w 511714"/>
                <a:gd name="connsiteY6" fmla="*/ 33082 h 748285"/>
                <a:gd name="connsiteX7" fmla="*/ 498521 w 511714"/>
                <a:gd name="connsiteY7" fmla="*/ 37196 h 748285"/>
                <a:gd name="connsiteX8" fmla="*/ 306233 w 511714"/>
                <a:gd name="connsiteY8" fmla="*/ 59173 h 748285"/>
                <a:gd name="connsiteX9" fmla="*/ 20829 w 511714"/>
                <a:gd name="connsiteY9" fmla="*/ 553505 h 748285"/>
                <a:gd name="connsiteX10" fmla="*/ 31032 w 511714"/>
                <a:gd name="connsiteY10" fmla="*/ 634693 h 748285"/>
                <a:gd name="connsiteX11" fmla="*/ 97203 w 511714"/>
                <a:gd name="connsiteY11" fmla="*/ 730590 h 748285"/>
                <a:gd name="connsiteX12" fmla="*/ 100512 w 511714"/>
                <a:gd name="connsiteY12" fmla="*/ 744750 h 748285"/>
                <a:gd name="connsiteX13" fmla="*/ 91766 w 511714"/>
                <a:gd name="connsiteY13" fmla="*/ 749619 h 748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11714" h="748285">
                  <a:moveTo>
                    <a:pt x="91766" y="749619"/>
                  </a:moveTo>
                  <a:cubicBezTo>
                    <a:pt x="89914" y="749619"/>
                    <a:pt x="88039" y="749105"/>
                    <a:pt x="86349" y="748076"/>
                  </a:cubicBezTo>
                  <a:cubicBezTo>
                    <a:pt x="50729" y="725928"/>
                    <a:pt x="24751" y="688659"/>
                    <a:pt x="11218" y="640213"/>
                  </a:cubicBezTo>
                  <a:cubicBezTo>
                    <a:pt x="3946" y="614190"/>
                    <a:pt x="257" y="585013"/>
                    <a:pt x="257" y="553505"/>
                  </a:cubicBezTo>
                  <a:cubicBezTo>
                    <a:pt x="257" y="365242"/>
                    <a:pt x="132902" y="135493"/>
                    <a:pt x="295951" y="41345"/>
                  </a:cubicBezTo>
                  <a:cubicBezTo>
                    <a:pt x="375144" y="-4324"/>
                    <a:pt x="450569" y="-12210"/>
                    <a:pt x="508334" y="19128"/>
                  </a:cubicBezTo>
                  <a:cubicBezTo>
                    <a:pt x="513326" y="21836"/>
                    <a:pt x="515174" y="28076"/>
                    <a:pt x="512465" y="33082"/>
                  </a:cubicBezTo>
                  <a:cubicBezTo>
                    <a:pt x="509753" y="38088"/>
                    <a:pt x="503506" y="39905"/>
                    <a:pt x="498521" y="37196"/>
                  </a:cubicBezTo>
                  <a:cubicBezTo>
                    <a:pt x="447285" y="9390"/>
                    <a:pt x="379001" y="17207"/>
                    <a:pt x="306233" y="59173"/>
                  </a:cubicBezTo>
                  <a:cubicBezTo>
                    <a:pt x="148865" y="150030"/>
                    <a:pt x="20829" y="371790"/>
                    <a:pt x="20829" y="553505"/>
                  </a:cubicBezTo>
                  <a:cubicBezTo>
                    <a:pt x="20829" y="583162"/>
                    <a:pt x="24261" y="610453"/>
                    <a:pt x="31032" y="634693"/>
                  </a:cubicBezTo>
                  <a:cubicBezTo>
                    <a:pt x="43155" y="678065"/>
                    <a:pt x="66034" y="711219"/>
                    <a:pt x="97203" y="730590"/>
                  </a:cubicBezTo>
                  <a:cubicBezTo>
                    <a:pt x="102027" y="733608"/>
                    <a:pt x="103512" y="739916"/>
                    <a:pt x="100512" y="744750"/>
                  </a:cubicBezTo>
                  <a:cubicBezTo>
                    <a:pt x="98568" y="747905"/>
                    <a:pt x="95205" y="749619"/>
                    <a:pt x="91766" y="749619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83EB785-5037-4775-8939-F24760E8B105}"/>
                </a:ext>
              </a:extLst>
            </p:cNvPr>
            <p:cNvSpPr/>
            <p:nvPr/>
          </p:nvSpPr>
          <p:spPr>
            <a:xfrm>
              <a:off x="3891357" y="1693447"/>
              <a:ext cx="478286" cy="612000"/>
            </a:xfrm>
            <a:custGeom>
              <a:avLst/>
              <a:gdLst>
                <a:gd name="connsiteX0" fmla="*/ 341949 w 478285"/>
                <a:gd name="connsiteY0" fmla="*/ 20804 h 612000"/>
                <a:gd name="connsiteX1" fmla="*/ 244930 w 478285"/>
                <a:gd name="connsiteY1" fmla="*/ 50633 h 612000"/>
                <a:gd name="connsiteX2" fmla="*/ 20829 w 478285"/>
                <a:gd name="connsiteY2" fmla="*/ 438816 h 612000"/>
                <a:gd name="connsiteX3" fmla="*/ 48665 w 478285"/>
                <a:gd name="connsiteY3" fmla="*/ 546096 h 612000"/>
                <a:gd name="connsiteX4" fmla="*/ 234648 w 478285"/>
                <a:gd name="connsiteY4" fmla="*/ 562244 h 612000"/>
                <a:gd name="connsiteX5" fmla="*/ 458760 w 478285"/>
                <a:gd name="connsiteY5" fmla="*/ 174062 h 612000"/>
                <a:gd name="connsiteX6" fmla="*/ 351878 w 478285"/>
                <a:gd name="connsiteY6" fmla="*/ 21216 h 612000"/>
                <a:gd name="connsiteX7" fmla="*/ 351878 w 478285"/>
                <a:gd name="connsiteY7" fmla="*/ 21216 h 612000"/>
                <a:gd name="connsiteX8" fmla="*/ 341949 w 478285"/>
                <a:gd name="connsiteY8" fmla="*/ 20804 h 612000"/>
                <a:gd name="connsiteX9" fmla="*/ 137081 w 478285"/>
                <a:gd name="connsiteY9" fmla="*/ 612781 h 612000"/>
                <a:gd name="connsiteX10" fmla="*/ 31687 w 478285"/>
                <a:gd name="connsiteY10" fmla="*/ 557719 h 612000"/>
                <a:gd name="connsiteX11" fmla="*/ 257 w 478285"/>
                <a:gd name="connsiteY11" fmla="*/ 438816 h 612000"/>
                <a:gd name="connsiteX12" fmla="*/ 234651 w 478285"/>
                <a:gd name="connsiteY12" fmla="*/ 32839 h 612000"/>
                <a:gd name="connsiteX13" fmla="*/ 353506 w 478285"/>
                <a:gd name="connsiteY13" fmla="*/ 713 h 612000"/>
                <a:gd name="connsiteX14" fmla="*/ 479331 w 478285"/>
                <a:gd name="connsiteY14" fmla="*/ 174062 h 612000"/>
                <a:gd name="connsiteX15" fmla="*/ 244937 w 478285"/>
                <a:gd name="connsiteY15" fmla="*/ 580073 h 612000"/>
                <a:gd name="connsiteX16" fmla="*/ 137081 w 478285"/>
                <a:gd name="connsiteY16" fmla="*/ 612781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8285" h="612000">
                  <a:moveTo>
                    <a:pt x="341949" y="20804"/>
                  </a:moveTo>
                  <a:cubicBezTo>
                    <a:pt x="312278" y="20804"/>
                    <a:pt x="278973" y="31021"/>
                    <a:pt x="244930" y="50633"/>
                  </a:cubicBezTo>
                  <a:cubicBezTo>
                    <a:pt x="121365" y="122016"/>
                    <a:pt x="20829" y="296153"/>
                    <a:pt x="20829" y="438816"/>
                  </a:cubicBezTo>
                  <a:cubicBezTo>
                    <a:pt x="20829" y="482427"/>
                    <a:pt x="30453" y="519558"/>
                    <a:pt x="48665" y="546096"/>
                  </a:cubicBezTo>
                  <a:cubicBezTo>
                    <a:pt x="86571" y="601604"/>
                    <a:pt x="156093" y="607639"/>
                    <a:pt x="234648" y="562244"/>
                  </a:cubicBezTo>
                  <a:cubicBezTo>
                    <a:pt x="358227" y="490930"/>
                    <a:pt x="458760" y="316793"/>
                    <a:pt x="458760" y="174062"/>
                  </a:cubicBezTo>
                  <a:cubicBezTo>
                    <a:pt x="458760" y="83479"/>
                    <a:pt x="418793" y="26324"/>
                    <a:pt x="351878" y="21216"/>
                  </a:cubicBezTo>
                  <a:lnTo>
                    <a:pt x="351878" y="21216"/>
                  </a:lnTo>
                  <a:cubicBezTo>
                    <a:pt x="348624" y="20941"/>
                    <a:pt x="345298" y="20804"/>
                    <a:pt x="341949" y="20804"/>
                  </a:cubicBezTo>
                  <a:close/>
                  <a:moveTo>
                    <a:pt x="137081" y="612781"/>
                  </a:moveTo>
                  <a:cubicBezTo>
                    <a:pt x="93686" y="612781"/>
                    <a:pt x="56619" y="594233"/>
                    <a:pt x="31687" y="557719"/>
                  </a:cubicBezTo>
                  <a:cubicBezTo>
                    <a:pt x="11129" y="527753"/>
                    <a:pt x="257" y="486610"/>
                    <a:pt x="257" y="438816"/>
                  </a:cubicBezTo>
                  <a:cubicBezTo>
                    <a:pt x="257" y="289604"/>
                    <a:pt x="105405" y="107479"/>
                    <a:pt x="234651" y="32839"/>
                  </a:cubicBezTo>
                  <a:cubicBezTo>
                    <a:pt x="276165" y="8907"/>
                    <a:pt x="317249" y="-2202"/>
                    <a:pt x="353506" y="713"/>
                  </a:cubicBezTo>
                  <a:cubicBezTo>
                    <a:pt x="431115" y="6644"/>
                    <a:pt x="479331" y="73090"/>
                    <a:pt x="479331" y="174062"/>
                  </a:cubicBezTo>
                  <a:cubicBezTo>
                    <a:pt x="479331" y="323341"/>
                    <a:pt x="374181" y="505467"/>
                    <a:pt x="244937" y="580073"/>
                  </a:cubicBezTo>
                  <a:cubicBezTo>
                    <a:pt x="207027" y="601981"/>
                    <a:pt x="170208" y="612781"/>
                    <a:pt x="137081" y="612781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142BD352-330C-481E-BAA7-9C58B73DC59A}"/>
                </a:ext>
              </a:extLst>
            </p:cNvPr>
            <p:cNvSpPr/>
            <p:nvPr/>
          </p:nvSpPr>
          <p:spPr>
            <a:xfrm>
              <a:off x="3743205" y="1563927"/>
              <a:ext cx="601714" cy="666000"/>
            </a:xfrm>
            <a:custGeom>
              <a:avLst/>
              <a:gdLst>
                <a:gd name="connsiteX0" fmla="*/ 27315 w 601714"/>
                <a:gd name="connsiteY0" fmla="*/ 666839 h 666000"/>
                <a:gd name="connsiteX1" fmla="*/ 17688 w 601714"/>
                <a:gd name="connsiteY1" fmla="*/ 660153 h 666000"/>
                <a:gd name="connsiteX2" fmla="*/ 799 w 601714"/>
                <a:gd name="connsiteY2" fmla="*/ 573547 h 666000"/>
                <a:gd name="connsiteX3" fmla="*/ 257 w 601714"/>
                <a:gd name="connsiteY3" fmla="*/ 553558 h 666000"/>
                <a:gd name="connsiteX4" fmla="*/ 179678 w 601714"/>
                <a:gd name="connsiteY4" fmla="*/ 135787 h 666000"/>
                <a:gd name="connsiteX5" fmla="*/ 295961 w 601714"/>
                <a:gd name="connsiteY5" fmla="*/ 41467 h 666000"/>
                <a:gd name="connsiteX6" fmla="*/ 511642 w 601714"/>
                <a:gd name="connsiteY6" fmla="*/ 21101 h 666000"/>
                <a:gd name="connsiteX7" fmla="*/ 598491 w 601714"/>
                <a:gd name="connsiteY7" fmla="*/ 71227 h 666000"/>
                <a:gd name="connsiteX8" fmla="*/ 602259 w 601714"/>
                <a:gd name="connsiteY8" fmla="*/ 85284 h 666000"/>
                <a:gd name="connsiteX9" fmla="*/ 588216 w 601714"/>
                <a:gd name="connsiteY9" fmla="*/ 89056 h 666000"/>
                <a:gd name="connsiteX10" fmla="*/ 501357 w 601714"/>
                <a:gd name="connsiteY10" fmla="*/ 38896 h 666000"/>
                <a:gd name="connsiteX11" fmla="*/ 306237 w 601714"/>
                <a:gd name="connsiteY11" fmla="*/ 59261 h 666000"/>
                <a:gd name="connsiteX12" fmla="*/ 194702 w 601714"/>
                <a:gd name="connsiteY12" fmla="*/ 149844 h 666000"/>
                <a:gd name="connsiteX13" fmla="*/ 20829 w 601714"/>
                <a:gd name="connsiteY13" fmla="*/ 553558 h 666000"/>
                <a:gd name="connsiteX14" fmla="*/ 21336 w 601714"/>
                <a:gd name="connsiteY14" fmla="*/ 572416 h 666000"/>
                <a:gd name="connsiteX15" fmla="*/ 36946 w 601714"/>
                <a:gd name="connsiteY15" fmla="*/ 652918 h 666000"/>
                <a:gd name="connsiteX16" fmla="*/ 30929 w 601714"/>
                <a:gd name="connsiteY16" fmla="*/ 666153 h 666000"/>
                <a:gd name="connsiteX17" fmla="*/ 27315 w 601714"/>
                <a:gd name="connsiteY17" fmla="*/ 666839 h 66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01714" h="666000">
                  <a:moveTo>
                    <a:pt x="27315" y="666839"/>
                  </a:moveTo>
                  <a:cubicBezTo>
                    <a:pt x="23153" y="666839"/>
                    <a:pt x="19238" y="664267"/>
                    <a:pt x="17688" y="660153"/>
                  </a:cubicBezTo>
                  <a:cubicBezTo>
                    <a:pt x="8311" y="635158"/>
                    <a:pt x="2630" y="606050"/>
                    <a:pt x="799" y="573547"/>
                  </a:cubicBezTo>
                  <a:cubicBezTo>
                    <a:pt x="439" y="567135"/>
                    <a:pt x="257" y="560416"/>
                    <a:pt x="257" y="553558"/>
                  </a:cubicBezTo>
                  <a:cubicBezTo>
                    <a:pt x="257" y="416381"/>
                    <a:pt x="70683" y="252393"/>
                    <a:pt x="179678" y="135787"/>
                  </a:cubicBezTo>
                  <a:cubicBezTo>
                    <a:pt x="216555" y="96393"/>
                    <a:pt x="255679" y="64644"/>
                    <a:pt x="295961" y="41467"/>
                  </a:cubicBezTo>
                  <a:cubicBezTo>
                    <a:pt x="376827" y="-5265"/>
                    <a:pt x="453432" y="-12533"/>
                    <a:pt x="511642" y="21101"/>
                  </a:cubicBezTo>
                  <a:lnTo>
                    <a:pt x="598491" y="71227"/>
                  </a:lnTo>
                  <a:cubicBezTo>
                    <a:pt x="603408" y="74073"/>
                    <a:pt x="605102" y="80347"/>
                    <a:pt x="602259" y="85284"/>
                  </a:cubicBezTo>
                  <a:cubicBezTo>
                    <a:pt x="599421" y="90187"/>
                    <a:pt x="593139" y="91901"/>
                    <a:pt x="588216" y="89056"/>
                  </a:cubicBezTo>
                  <a:lnTo>
                    <a:pt x="501357" y="38896"/>
                  </a:lnTo>
                  <a:cubicBezTo>
                    <a:pt x="449774" y="9135"/>
                    <a:pt x="380475" y="16370"/>
                    <a:pt x="306237" y="59261"/>
                  </a:cubicBezTo>
                  <a:cubicBezTo>
                    <a:pt x="267706" y="81444"/>
                    <a:pt x="230184" y="111924"/>
                    <a:pt x="194702" y="149844"/>
                  </a:cubicBezTo>
                  <a:cubicBezTo>
                    <a:pt x="89078" y="262850"/>
                    <a:pt x="20829" y="421318"/>
                    <a:pt x="20829" y="553558"/>
                  </a:cubicBezTo>
                  <a:cubicBezTo>
                    <a:pt x="20829" y="560039"/>
                    <a:pt x="21000" y="566381"/>
                    <a:pt x="21336" y="572416"/>
                  </a:cubicBezTo>
                  <a:cubicBezTo>
                    <a:pt x="23050" y="602793"/>
                    <a:pt x="28303" y="629878"/>
                    <a:pt x="36946" y="652918"/>
                  </a:cubicBezTo>
                  <a:cubicBezTo>
                    <a:pt x="38942" y="658233"/>
                    <a:pt x="36250" y="664164"/>
                    <a:pt x="30929" y="666153"/>
                  </a:cubicBezTo>
                  <a:cubicBezTo>
                    <a:pt x="29739" y="666633"/>
                    <a:pt x="28519" y="666839"/>
                    <a:pt x="27315" y="666839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9C1DAE17-DEDB-42D7-86AF-18E4030F12FB}"/>
                </a:ext>
              </a:extLst>
            </p:cNvPr>
            <p:cNvSpPr/>
            <p:nvPr/>
          </p:nvSpPr>
          <p:spPr>
            <a:xfrm>
              <a:off x="3827509" y="2294544"/>
              <a:ext cx="108000" cy="69429"/>
            </a:xfrm>
            <a:custGeom>
              <a:avLst/>
              <a:gdLst>
                <a:gd name="connsiteX0" fmla="*/ 98222 w 108000"/>
                <a:gd name="connsiteY0" fmla="*/ 71444 h 69428"/>
                <a:gd name="connsiteX1" fmla="*/ 93096 w 108000"/>
                <a:gd name="connsiteY1" fmla="*/ 70073 h 69428"/>
                <a:gd name="connsiteX2" fmla="*/ 6154 w 108000"/>
                <a:gd name="connsiteY2" fmla="*/ 19982 h 69428"/>
                <a:gd name="connsiteX3" fmla="*/ 4821 w 108000"/>
                <a:gd name="connsiteY3" fmla="*/ 19125 h 69428"/>
                <a:gd name="connsiteX4" fmla="*/ 1992 w 108000"/>
                <a:gd name="connsiteY4" fmla="*/ 4827 h 69428"/>
                <a:gd name="connsiteX5" fmla="*/ 16183 w 108000"/>
                <a:gd name="connsiteY5" fmla="*/ 1982 h 69428"/>
                <a:gd name="connsiteX6" fmla="*/ 16358 w 108000"/>
                <a:gd name="connsiteY6" fmla="*/ 2119 h 69428"/>
                <a:gd name="connsiteX7" fmla="*/ 103368 w 108000"/>
                <a:gd name="connsiteY7" fmla="*/ 52244 h 69428"/>
                <a:gd name="connsiteX8" fmla="*/ 107143 w 108000"/>
                <a:gd name="connsiteY8" fmla="*/ 66302 h 69428"/>
                <a:gd name="connsiteX9" fmla="*/ 98222 w 108000"/>
                <a:gd name="connsiteY9" fmla="*/ 71444 h 6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8000" h="69428">
                  <a:moveTo>
                    <a:pt x="98222" y="71444"/>
                  </a:moveTo>
                  <a:cubicBezTo>
                    <a:pt x="96480" y="71444"/>
                    <a:pt x="94711" y="70999"/>
                    <a:pt x="93096" y="70073"/>
                  </a:cubicBezTo>
                  <a:lnTo>
                    <a:pt x="6154" y="19982"/>
                  </a:lnTo>
                  <a:cubicBezTo>
                    <a:pt x="6079" y="19947"/>
                    <a:pt x="5414" y="19536"/>
                    <a:pt x="4821" y="19125"/>
                  </a:cubicBezTo>
                  <a:cubicBezTo>
                    <a:pt x="127" y="15970"/>
                    <a:pt x="-1176" y="9525"/>
                    <a:pt x="1992" y="4827"/>
                  </a:cubicBezTo>
                  <a:cubicBezTo>
                    <a:pt x="5164" y="130"/>
                    <a:pt x="11482" y="-1173"/>
                    <a:pt x="16183" y="1982"/>
                  </a:cubicBezTo>
                  <a:lnTo>
                    <a:pt x="16358" y="2119"/>
                  </a:lnTo>
                  <a:lnTo>
                    <a:pt x="103368" y="52244"/>
                  </a:lnTo>
                  <a:cubicBezTo>
                    <a:pt x="108288" y="55090"/>
                    <a:pt x="109982" y="61365"/>
                    <a:pt x="107143" y="66302"/>
                  </a:cubicBezTo>
                  <a:cubicBezTo>
                    <a:pt x="105240" y="69593"/>
                    <a:pt x="101781" y="71444"/>
                    <a:pt x="98222" y="71444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03E7A43D-8818-4F58-A759-E2D05C62CFD6}"/>
                </a:ext>
              </a:extLst>
            </p:cNvPr>
            <p:cNvSpPr/>
            <p:nvPr/>
          </p:nvSpPr>
          <p:spPr>
            <a:xfrm>
              <a:off x="3353079" y="2206210"/>
              <a:ext cx="498857" cy="462857"/>
            </a:xfrm>
            <a:custGeom>
              <a:avLst/>
              <a:gdLst>
                <a:gd name="connsiteX0" fmla="*/ 437062 w 498857"/>
                <a:gd name="connsiteY0" fmla="*/ 20853 h 462857"/>
                <a:gd name="connsiteX1" fmla="*/ 421168 w 498857"/>
                <a:gd name="connsiteY1" fmla="*/ 23835 h 462857"/>
                <a:gd name="connsiteX2" fmla="*/ 409030 w 498857"/>
                <a:gd name="connsiteY2" fmla="*/ 30967 h 462857"/>
                <a:gd name="connsiteX3" fmla="*/ 42842 w 498857"/>
                <a:gd name="connsiteY3" fmla="*/ 335801 h 462857"/>
                <a:gd name="connsiteX4" fmla="*/ 20841 w 498857"/>
                <a:gd name="connsiteY4" fmla="*/ 381367 h 462857"/>
                <a:gd name="connsiteX5" fmla="*/ 40682 w 498857"/>
                <a:gd name="connsiteY5" fmla="*/ 427516 h 462857"/>
                <a:gd name="connsiteX6" fmla="*/ 123485 w 498857"/>
                <a:gd name="connsiteY6" fmla="*/ 426350 h 462857"/>
                <a:gd name="connsiteX7" fmla="*/ 441842 w 498857"/>
                <a:gd name="connsiteY7" fmla="*/ 120178 h 462857"/>
                <a:gd name="connsiteX8" fmla="*/ 441842 w 498857"/>
                <a:gd name="connsiteY8" fmla="*/ 120178 h 462857"/>
                <a:gd name="connsiteX9" fmla="*/ 467179 w 498857"/>
                <a:gd name="connsiteY9" fmla="*/ 95835 h 462857"/>
                <a:gd name="connsiteX10" fmla="*/ 471784 w 498857"/>
                <a:gd name="connsiteY10" fmla="*/ 90693 h 462857"/>
                <a:gd name="connsiteX11" fmla="*/ 478545 w 498857"/>
                <a:gd name="connsiteY11" fmla="*/ 51333 h 462857"/>
                <a:gd name="connsiteX12" fmla="*/ 466240 w 498857"/>
                <a:gd name="connsiteY12" fmla="*/ 32167 h 462857"/>
                <a:gd name="connsiteX13" fmla="*/ 437062 w 498857"/>
                <a:gd name="connsiteY13" fmla="*/ 20853 h 462857"/>
                <a:gd name="connsiteX14" fmla="*/ 81458 w 498857"/>
                <a:gd name="connsiteY14" fmla="*/ 463824 h 462857"/>
                <a:gd name="connsiteX15" fmla="*/ 26834 w 498857"/>
                <a:gd name="connsiteY15" fmla="*/ 442738 h 462857"/>
                <a:gd name="connsiteX16" fmla="*/ 276 w 498857"/>
                <a:gd name="connsiteY16" fmla="*/ 380921 h 462857"/>
                <a:gd name="connsiteX17" fmla="*/ 29676 w 498857"/>
                <a:gd name="connsiteY17" fmla="*/ 319995 h 462857"/>
                <a:gd name="connsiteX18" fmla="*/ 395889 w 498857"/>
                <a:gd name="connsiteY18" fmla="*/ 15127 h 462857"/>
                <a:gd name="connsiteX19" fmla="*/ 413714 w 498857"/>
                <a:gd name="connsiteY19" fmla="*/ 4670 h 462857"/>
                <a:gd name="connsiteX20" fmla="*/ 480081 w 498857"/>
                <a:gd name="connsiteY20" fmla="*/ 16978 h 462857"/>
                <a:gd name="connsiteX21" fmla="*/ 498163 w 498857"/>
                <a:gd name="connsiteY21" fmla="*/ 45161 h 462857"/>
                <a:gd name="connsiteX22" fmla="*/ 488155 w 498857"/>
                <a:gd name="connsiteY22" fmla="*/ 103173 h 462857"/>
                <a:gd name="connsiteX23" fmla="*/ 481500 w 498857"/>
                <a:gd name="connsiteY23" fmla="*/ 110613 h 462857"/>
                <a:gd name="connsiteX24" fmla="*/ 137755 w 498857"/>
                <a:gd name="connsiteY24" fmla="*/ 441195 h 462857"/>
                <a:gd name="connsiteX25" fmla="*/ 81458 w 498857"/>
                <a:gd name="connsiteY25" fmla="*/ 463824 h 46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98857" h="462857">
                  <a:moveTo>
                    <a:pt x="437062" y="20853"/>
                  </a:moveTo>
                  <a:cubicBezTo>
                    <a:pt x="431734" y="20853"/>
                    <a:pt x="426355" y="21813"/>
                    <a:pt x="421168" y="23835"/>
                  </a:cubicBezTo>
                  <a:cubicBezTo>
                    <a:pt x="416731" y="25584"/>
                    <a:pt x="412648" y="27950"/>
                    <a:pt x="409030" y="30967"/>
                  </a:cubicBezTo>
                  <a:lnTo>
                    <a:pt x="42842" y="335801"/>
                  </a:lnTo>
                  <a:cubicBezTo>
                    <a:pt x="29241" y="347150"/>
                    <a:pt x="21218" y="363744"/>
                    <a:pt x="20841" y="381367"/>
                  </a:cubicBezTo>
                  <a:cubicBezTo>
                    <a:pt x="20464" y="398887"/>
                    <a:pt x="27698" y="415721"/>
                    <a:pt x="40682" y="427516"/>
                  </a:cubicBezTo>
                  <a:cubicBezTo>
                    <a:pt x="64209" y="448944"/>
                    <a:pt x="100586" y="448430"/>
                    <a:pt x="123485" y="426350"/>
                  </a:cubicBezTo>
                  <a:lnTo>
                    <a:pt x="441842" y="120178"/>
                  </a:lnTo>
                  <a:lnTo>
                    <a:pt x="441842" y="120178"/>
                  </a:lnTo>
                  <a:lnTo>
                    <a:pt x="467179" y="95835"/>
                  </a:lnTo>
                  <a:cubicBezTo>
                    <a:pt x="468996" y="94053"/>
                    <a:pt x="470529" y="92373"/>
                    <a:pt x="471784" y="90693"/>
                  </a:cubicBezTo>
                  <a:cubicBezTo>
                    <a:pt x="480273" y="79550"/>
                    <a:pt x="482800" y="64841"/>
                    <a:pt x="478545" y="51333"/>
                  </a:cubicBezTo>
                  <a:cubicBezTo>
                    <a:pt x="476213" y="43927"/>
                    <a:pt x="472075" y="37481"/>
                    <a:pt x="466240" y="32167"/>
                  </a:cubicBezTo>
                  <a:cubicBezTo>
                    <a:pt x="458059" y="24761"/>
                    <a:pt x="447670" y="20853"/>
                    <a:pt x="437062" y="20853"/>
                  </a:cubicBezTo>
                  <a:close/>
                  <a:moveTo>
                    <a:pt x="81458" y="463824"/>
                  </a:moveTo>
                  <a:cubicBezTo>
                    <a:pt x="61884" y="463824"/>
                    <a:pt x="42290" y="456830"/>
                    <a:pt x="26834" y="442738"/>
                  </a:cubicBezTo>
                  <a:cubicBezTo>
                    <a:pt x="9451" y="426933"/>
                    <a:pt x="-231" y="404407"/>
                    <a:pt x="276" y="380921"/>
                  </a:cubicBezTo>
                  <a:cubicBezTo>
                    <a:pt x="780" y="357367"/>
                    <a:pt x="11494" y="335150"/>
                    <a:pt x="29676" y="319995"/>
                  </a:cubicBezTo>
                  <a:lnTo>
                    <a:pt x="395889" y="15127"/>
                  </a:lnTo>
                  <a:cubicBezTo>
                    <a:pt x="401224" y="10704"/>
                    <a:pt x="407217" y="7207"/>
                    <a:pt x="413714" y="4670"/>
                  </a:cubicBezTo>
                  <a:cubicBezTo>
                    <a:pt x="436545" y="-4210"/>
                    <a:pt x="461981" y="521"/>
                    <a:pt x="480081" y="16978"/>
                  </a:cubicBezTo>
                  <a:cubicBezTo>
                    <a:pt x="488529" y="24658"/>
                    <a:pt x="494779" y="34395"/>
                    <a:pt x="498163" y="45161"/>
                  </a:cubicBezTo>
                  <a:cubicBezTo>
                    <a:pt x="504420" y="65013"/>
                    <a:pt x="500683" y="86681"/>
                    <a:pt x="488155" y="103173"/>
                  </a:cubicBezTo>
                  <a:cubicBezTo>
                    <a:pt x="486286" y="105607"/>
                    <a:pt x="484113" y="108041"/>
                    <a:pt x="481500" y="110613"/>
                  </a:cubicBezTo>
                  <a:lnTo>
                    <a:pt x="137755" y="441195"/>
                  </a:lnTo>
                  <a:cubicBezTo>
                    <a:pt x="122124" y="456247"/>
                    <a:pt x="101803" y="463824"/>
                    <a:pt x="81458" y="463824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AF7284A-B5CC-48DA-B4FF-81B25EB6635D}"/>
                </a:ext>
              </a:extLst>
            </p:cNvPr>
            <p:cNvSpPr/>
            <p:nvPr/>
          </p:nvSpPr>
          <p:spPr>
            <a:xfrm>
              <a:off x="3704256" y="2244180"/>
              <a:ext cx="110571" cy="97714"/>
            </a:xfrm>
            <a:custGeom>
              <a:avLst/>
              <a:gdLst>
                <a:gd name="connsiteX0" fmla="*/ 97790 w 110571"/>
                <a:gd name="connsiteY0" fmla="*/ 99900 h 97714"/>
                <a:gd name="connsiteX1" fmla="*/ 94163 w 110571"/>
                <a:gd name="connsiteY1" fmla="*/ 99248 h 97714"/>
                <a:gd name="connsiteX2" fmla="*/ 88170 w 110571"/>
                <a:gd name="connsiteY2" fmla="*/ 85980 h 97714"/>
                <a:gd name="connsiteX3" fmla="*/ 75460 w 110571"/>
                <a:gd name="connsiteY3" fmla="*/ 33351 h 97714"/>
                <a:gd name="connsiteX4" fmla="*/ 16269 w 110571"/>
                <a:gd name="connsiteY4" fmla="*/ 28997 h 97714"/>
                <a:gd name="connsiteX5" fmla="*/ 1999 w 110571"/>
                <a:gd name="connsiteY5" fmla="*/ 26186 h 97714"/>
                <a:gd name="connsiteX6" fmla="*/ 4817 w 110571"/>
                <a:gd name="connsiteY6" fmla="*/ 11923 h 97714"/>
                <a:gd name="connsiteX7" fmla="*/ 89284 w 110571"/>
                <a:gd name="connsiteY7" fmla="*/ 18094 h 97714"/>
                <a:gd name="connsiteX8" fmla="*/ 107414 w 110571"/>
                <a:gd name="connsiteY8" fmla="*/ 93248 h 97714"/>
                <a:gd name="connsiteX9" fmla="*/ 97790 w 110571"/>
                <a:gd name="connsiteY9" fmla="*/ 99900 h 9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571" h="97714">
                  <a:moveTo>
                    <a:pt x="97790" y="99900"/>
                  </a:moveTo>
                  <a:cubicBezTo>
                    <a:pt x="96583" y="99900"/>
                    <a:pt x="95359" y="99694"/>
                    <a:pt x="94163" y="99248"/>
                  </a:cubicBezTo>
                  <a:cubicBezTo>
                    <a:pt x="88845" y="97225"/>
                    <a:pt x="86164" y="91294"/>
                    <a:pt x="88170" y="85980"/>
                  </a:cubicBezTo>
                  <a:cubicBezTo>
                    <a:pt x="95181" y="67397"/>
                    <a:pt x="90192" y="46723"/>
                    <a:pt x="75460" y="33351"/>
                  </a:cubicBezTo>
                  <a:cubicBezTo>
                    <a:pt x="59034" y="18437"/>
                    <a:pt x="34677" y="16688"/>
                    <a:pt x="16269" y="28997"/>
                  </a:cubicBezTo>
                  <a:cubicBezTo>
                    <a:pt x="11544" y="32186"/>
                    <a:pt x="5160" y="30917"/>
                    <a:pt x="1999" y="26186"/>
                  </a:cubicBezTo>
                  <a:cubicBezTo>
                    <a:pt x="-1165" y="21454"/>
                    <a:pt x="103" y="15077"/>
                    <a:pt x="4817" y="11923"/>
                  </a:cubicBezTo>
                  <a:cubicBezTo>
                    <a:pt x="31098" y="-5700"/>
                    <a:pt x="65829" y="-3129"/>
                    <a:pt x="89284" y="18094"/>
                  </a:cubicBezTo>
                  <a:cubicBezTo>
                    <a:pt x="110315" y="37225"/>
                    <a:pt x="117426" y="66711"/>
                    <a:pt x="107414" y="93248"/>
                  </a:cubicBezTo>
                  <a:cubicBezTo>
                    <a:pt x="105861" y="97363"/>
                    <a:pt x="101949" y="99900"/>
                    <a:pt x="97790" y="99900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3EB45C58-CB01-4ED8-9119-6FA585EDB755}"/>
              </a:ext>
            </a:extLst>
          </p:cNvPr>
          <p:cNvSpPr/>
          <p:nvPr/>
        </p:nvSpPr>
        <p:spPr>
          <a:xfrm>
            <a:off x="2684611" y="4973422"/>
            <a:ext cx="777572" cy="366036"/>
          </a:xfrm>
          <a:prstGeom prst="rect">
            <a:avLst/>
          </a:prstGeom>
          <a:solidFill>
            <a:srgbClr val="004B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42%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D6B666D1-577A-4EFA-ABC3-997424539619}"/>
              </a:ext>
            </a:extLst>
          </p:cNvPr>
          <p:cNvSpPr/>
          <p:nvPr/>
        </p:nvSpPr>
        <p:spPr>
          <a:xfrm>
            <a:off x="2187223" y="5659078"/>
            <a:ext cx="777572" cy="366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16%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2B3701CF-77DD-40FB-B082-FE8453EF1697}"/>
              </a:ext>
            </a:extLst>
          </p:cNvPr>
          <p:cNvSpPr/>
          <p:nvPr/>
        </p:nvSpPr>
        <p:spPr>
          <a:xfrm>
            <a:off x="1743315" y="5464311"/>
            <a:ext cx="777572" cy="366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12%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FB88254D-1B77-4950-ACFE-D8E835711436}"/>
              </a:ext>
            </a:extLst>
          </p:cNvPr>
          <p:cNvSpPr txBox="1"/>
          <p:nvPr/>
        </p:nvSpPr>
        <p:spPr>
          <a:xfrm>
            <a:off x="923185" y="5836710"/>
            <a:ext cx="1531621" cy="25847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Раҳбарият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екши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E5C8E2FF-5914-45AA-A8F1-C80BD2CC6798}"/>
              </a:ext>
            </a:extLst>
          </p:cNvPr>
          <p:cNvSpPr/>
          <p:nvPr/>
        </p:nvSpPr>
        <p:spPr>
          <a:xfrm>
            <a:off x="1833178" y="4796394"/>
            <a:ext cx="777572" cy="366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30%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3557EE7-11EA-420A-9F95-9A8B1AAAF655}"/>
              </a:ext>
            </a:extLst>
          </p:cNvPr>
          <p:cNvGrpSpPr/>
          <p:nvPr/>
        </p:nvGrpSpPr>
        <p:grpSpPr>
          <a:xfrm>
            <a:off x="3397297" y="5774324"/>
            <a:ext cx="2373313" cy="250790"/>
            <a:chOff x="2508250" y="5695950"/>
            <a:chExt cx="2373313" cy="25079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04BFFAE-DF6C-4F25-B5E2-4C20B44AB098}"/>
                </a:ext>
              </a:extLst>
            </p:cNvPr>
            <p:cNvCxnSpPr/>
            <p:nvPr/>
          </p:nvCxnSpPr>
          <p:spPr>
            <a:xfrm>
              <a:off x="2508250" y="5695950"/>
              <a:ext cx="234950" cy="250790"/>
            </a:xfrm>
            <a:prstGeom prst="line">
              <a:avLst/>
            </a:prstGeom>
            <a:ln>
              <a:solidFill>
                <a:srgbClr val="004BD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60B52D4A-6EB3-4559-B2DD-81A9E810FF4A}"/>
                </a:ext>
              </a:extLst>
            </p:cNvPr>
            <p:cNvCxnSpPr>
              <a:cxnSpLocks/>
            </p:cNvCxnSpPr>
            <p:nvPr/>
          </p:nvCxnSpPr>
          <p:spPr>
            <a:xfrm>
              <a:off x="2743200" y="5946740"/>
              <a:ext cx="2138363" cy="0"/>
            </a:xfrm>
            <a:prstGeom prst="line">
              <a:avLst/>
            </a:prstGeom>
            <a:ln>
              <a:solidFill>
                <a:srgbClr val="004BD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712B348C-55BF-498B-8D52-AA4848C0ECA2}"/>
              </a:ext>
            </a:extLst>
          </p:cNvPr>
          <p:cNvGrpSpPr/>
          <p:nvPr/>
        </p:nvGrpSpPr>
        <p:grpSpPr>
          <a:xfrm>
            <a:off x="2718092" y="6219339"/>
            <a:ext cx="2373313" cy="250790"/>
            <a:chOff x="2508250" y="5695950"/>
            <a:chExt cx="2373313" cy="250790"/>
          </a:xfrm>
        </p:grpSpPr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0EB61236-A1E7-4D33-8ECA-9E2FE3406071}"/>
                </a:ext>
              </a:extLst>
            </p:cNvPr>
            <p:cNvCxnSpPr/>
            <p:nvPr/>
          </p:nvCxnSpPr>
          <p:spPr>
            <a:xfrm>
              <a:off x="2508250" y="5695950"/>
              <a:ext cx="234950" cy="250790"/>
            </a:xfrm>
            <a:prstGeom prst="line">
              <a:avLst/>
            </a:prstGeom>
            <a:ln>
              <a:solidFill>
                <a:srgbClr val="1BD7D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E1CB3750-AC27-4F53-B294-977A78D87624}"/>
                </a:ext>
              </a:extLst>
            </p:cNvPr>
            <p:cNvCxnSpPr>
              <a:cxnSpLocks/>
            </p:cNvCxnSpPr>
            <p:nvPr/>
          </p:nvCxnSpPr>
          <p:spPr>
            <a:xfrm>
              <a:off x="2743200" y="5946740"/>
              <a:ext cx="2138363" cy="0"/>
            </a:xfrm>
            <a:prstGeom prst="line">
              <a:avLst/>
            </a:prstGeom>
            <a:ln>
              <a:solidFill>
                <a:srgbClr val="1BD7D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53D5AA3C-6F4C-477B-BA13-01203450FF86}"/>
              </a:ext>
            </a:extLst>
          </p:cNvPr>
          <p:cNvGrpSpPr/>
          <p:nvPr/>
        </p:nvGrpSpPr>
        <p:grpSpPr>
          <a:xfrm flipH="1">
            <a:off x="923184" y="6061474"/>
            <a:ext cx="1152518" cy="250790"/>
            <a:chOff x="2508250" y="5695950"/>
            <a:chExt cx="1152518" cy="250790"/>
          </a:xfrm>
        </p:grpSpPr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56CEC59E-80F5-4A19-89AC-55B6CED11309}"/>
                </a:ext>
              </a:extLst>
            </p:cNvPr>
            <p:cNvCxnSpPr/>
            <p:nvPr/>
          </p:nvCxnSpPr>
          <p:spPr>
            <a:xfrm>
              <a:off x="2508250" y="5695950"/>
              <a:ext cx="234950" cy="25079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318C09B6-C290-4B1E-801B-75946365837B}"/>
                </a:ext>
              </a:extLst>
            </p:cNvPr>
            <p:cNvCxnSpPr>
              <a:cxnSpLocks/>
            </p:cNvCxnSpPr>
            <p:nvPr/>
          </p:nvCxnSpPr>
          <p:spPr>
            <a:xfrm>
              <a:off x="2743199" y="5946740"/>
              <a:ext cx="917569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FC5A02E1-0A09-47C0-BB2B-B5E449E9D720}"/>
              </a:ext>
            </a:extLst>
          </p:cNvPr>
          <p:cNvGrpSpPr/>
          <p:nvPr/>
        </p:nvGrpSpPr>
        <p:grpSpPr>
          <a:xfrm flipH="1" flipV="1">
            <a:off x="923184" y="4563718"/>
            <a:ext cx="1152518" cy="250790"/>
            <a:chOff x="2508250" y="5695950"/>
            <a:chExt cx="1152518" cy="250790"/>
          </a:xfrm>
        </p:grpSpPr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C0517636-86E3-4865-A109-E599BE58008F}"/>
                </a:ext>
              </a:extLst>
            </p:cNvPr>
            <p:cNvCxnSpPr/>
            <p:nvPr/>
          </p:nvCxnSpPr>
          <p:spPr>
            <a:xfrm>
              <a:off x="2508250" y="5695950"/>
              <a:ext cx="234950" cy="250790"/>
            </a:xfrm>
            <a:prstGeom prst="line">
              <a:avLst/>
            </a:prstGeom>
            <a:ln>
              <a:solidFill>
                <a:srgbClr val="49A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B8180006-5577-4CE9-97E0-60DFAF8BDD75}"/>
                </a:ext>
              </a:extLst>
            </p:cNvPr>
            <p:cNvCxnSpPr>
              <a:cxnSpLocks/>
            </p:cNvCxnSpPr>
            <p:nvPr/>
          </p:nvCxnSpPr>
          <p:spPr>
            <a:xfrm>
              <a:off x="2743199" y="5946740"/>
              <a:ext cx="917569" cy="0"/>
            </a:xfrm>
            <a:prstGeom prst="line">
              <a:avLst/>
            </a:prstGeom>
            <a:ln>
              <a:solidFill>
                <a:srgbClr val="49A9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2725650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267647F4-F491-49FF-8CBB-6DBF244A021E}"/>
              </a:ext>
            </a:extLst>
          </p:cNvPr>
          <p:cNvSpPr txBox="1">
            <a:spLocks/>
          </p:cNvSpPr>
          <p:nvPr/>
        </p:nvSpPr>
        <p:spPr>
          <a:xfrm>
            <a:off x="1631950" y="129973"/>
            <a:ext cx="8591450" cy="35031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20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9B43C70-EEB6-45BD-B7AA-5494F7BE89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err="1"/>
              <a:t>Фирибгарлик</a:t>
            </a:r>
            <a:r>
              <a:rPr lang="ru-RU" sz="2000" dirty="0"/>
              <a:t> </a:t>
            </a:r>
            <a:r>
              <a:rPr lang="ru-RU" sz="2000" dirty="0" err="1"/>
              <a:t>бўйича</a:t>
            </a:r>
            <a:r>
              <a:rPr lang="ru-RU" sz="2000" dirty="0"/>
              <a:t> </a:t>
            </a:r>
            <a:r>
              <a:rPr lang="ru-RU" sz="2000" dirty="0" err="1"/>
              <a:t>сертификатланган</a:t>
            </a:r>
            <a:r>
              <a:rPr lang="ru-RU" sz="2000" dirty="0"/>
              <a:t> </a:t>
            </a:r>
            <a:r>
              <a:rPr lang="ru-RU" sz="2000" dirty="0" err="1"/>
              <a:t>экспертлар</a:t>
            </a:r>
            <a:r>
              <a:rPr lang="ru-RU" sz="2000" dirty="0"/>
              <a:t> </a:t>
            </a:r>
            <a:r>
              <a:rPr lang="ru-RU" sz="2000" dirty="0" err="1"/>
              <a:t>Ассоциациясининг</a:t>
            </a:r>
            <a:r>
              <a:rPr lang="ru-RU" sz="2000" dirty="0"/>
              <a:t> </a:t>
            </a:r>
            <a:r>
              <a:rPr lang="ru-RU" sz="2000" dirty="0" err="1"/>
              <a:t>ҳисоботи</a:t>
            </a:r>
            <a:r>
              <a:rPr lang="ru-RU" sz="2000" dirty="0"/>
              <a:t> (ACFE)</a:t>
            </a:r>
            <a:endParaRPr lang="en-US" sz="2000" dirty="0"/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35312031-D98C-43EB-81E5-EDF3DACA9508}"/>
              </a:ext>
            </a:extLst>
          </p:cNvPr>
          <p:cNvSpPr txBox="1">
            <a:spLocks/>
          </p:cNvSpPr>
          <p:nvPr/>
        </p:nvSpPr>
        <p:spPr>
          <a:xfrm>
            <a:off x="1432804" y="1301294"/>
            <a:ext cx="8532143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defRPr sz="1600" b="1">
                <a:solidFill>
                  <a:srgbClr val="49A9F6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>
                <a:solidFill>
                  <a:schemeClr val="tx2"/>
                </a:solidFill>
              </a:defRPr>
            </a:lvl2pPr>
            <a:lvl3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>
                <a:solidFill>
                  <a:schemeClr val="tx2"/>
                </a:solidFill>
              </a:defRPr>
            </a:lvl3pPr>
            <a:lvl4pPr marL="360000" indent="-144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4pPr>
            <a:lvl5pPr marL="57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baseline="0">
                <a:solidFill>
                  <a:schemeClr val="tx2"/>
                </a:solidFill>
              </a:defRPr>
            </a:lvl5pPr>
            <a:lvl6pPr marL="1098000" indent="-230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6pPr>
            <a:lvl7pPr marL="1371600" indent="-28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>
                <a:solidFill>
                  <a:schemeClr val="tx2"/>
                </a:solidFill>
              </a:defRPr>
            </a:lvl7pPr>
            <a:lvl8pPr marL="16452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 err="1"/>
              <a:t>Жиноятчилар</a:t>
            </a:r>
            <a:r>
              <a:rPr lang="ru-RU" dirty="0"/>
              <a:t> / </a:t>
            </a:r>
            <a:r>
              <a:rPr lang="ru-RU" dirty="0" err="1"/>
              <a:t>бузувчилар</a:t>
            </a:r>
            <a:r>
              <a:rPr lang="ru-RU" dirty="0"/>
              <a:t> 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9E83B81-A1B5-4042-871D-4678C13ECF2A}"/>
              </a:ext>
            </a:extLst>
          </p:cNvPr>
          <p:cNvCxnSpPr>
            <a:cxnSpLocks/>
          </p:cNvCxnSpPr>
          <p:nvPr/>
        </p:nvCxnSpPr>
        <p:spPr>
          <a:xfrm>
            <a:off x="1498600" y="1657677"/>
            <a:ext cx="9190038" cy="0"/>
          </a:xfrm>
          <a:prstGeom prst="line">
            <a:avLst/>
          </a:prstGeom>
          <a:ln w="38100">
            <a:solidFill>
              <a:srgbClr val="CAC5F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CB12C04-B144-41B5-99AF-867D43928702}"/>
              </a:ext>
            </a:extLst>
          </p:cNvPr>
          <p:cNvCxnSpPr>
            <a:cxnSpLocks/>
          </p:cNvCxnSpPr>
          <p:nvPr/>
        </p:nvCxnSpPr>
        <p:spPr>
          <a:xfrm>
            <a:off x="622570" y="1657677"/>
            <a:ext cx="10904707" cy="0"/>
          </a:xfrm>
          <a:prstGeom prst="line">
            <a:avLst/>
          </a:prstGeom>
          <a:ln w="38100">
            <a:solidFill>
              <a:srgbClr val="49A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CE15DE3-9E02-4A5B-91BD-2E17C29FEB0C}"/>
              </a:ext>
            </a:extLst>
          </p:cNvPr>
          <p:cNvGrpSpPr/>
          <p:nvPr/>
        </p:nvGrpSpPr>
        <p:grpSpPr>
          <a:xfrm>
            <a:off x="764061" y="1225228"/>
            <a:ext cx="544413" cy="384395"/>
            <a:chOff x="433543" y="5563475"/>
            <a:chExt cx="731760" cy="516676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A600221-9438-426F-9CC4-1C6E99E3DAC4}"/>
                </a:ext>
              </a:extLst>
            </p:cNvPr>
            <p:cNvSpPr/>
            <p:nvPr/>
          </p:nvSpPr>
          <p:spPr>
            <a:xfrm>
              <a:off x="556410" y="5563475"/>
              <a:ext cx="238833" cy="305176"/>
            </a:xfrm>
            <a:custGeom>
              <a:avLst/>
              <a:gdLst>
                <a:gd name="connsiteX0" fmla="*/ 68652 w 203247"/>
                <a:gd name="connsiteY0" fmla="*/ 65491 h 259705"/>
                <a:gd name="connsiteX1" fmla="*/ 117771 w 203247"/>
                <a:gd name="connsiteY1" fmla="*/ 65491 h 259705"/>
                <a:gd name="connsiteX2" fmla="*/ 168131 w 203247"/>
                <a:gd name="connsiteY2" fmla="*/ 15131 h 259705"/>
                <a:gd name="connsiteX3" fmla="*/ 168131 w 203247"/>
                <a:gd name="connsiteY3" fmla="*/ 8469 h 259705"/>
                <a:gd name="connsiteX4" fmla="*/ 75766 w 203247"/>
                <a:gd name="connsiteY4" fmla="*/ 8469 h 259705"/>
                <a:gd name="connsiteX5" fmla="*/ 18744 w 203247"/>
                <a:gd name="connsiteY5" fmla="*/ 65491 h 259705"/>
                <a:gd name="connsiteX6" fmla="*/ 18744 w 203247"/>
                <a:gd name="connsiteY6" fmla="*/ 65491 h 259705"/>
                <a:gd name="connsiteX7" fmla="*/ 18744 w 203247"/>
                <a:gd name="connsiteY7" fmla="*/ 121723 h 259705"/>
                <a:gd name="connsiteX8" fmla="*/ 8469 w 203247"/>
                <a:gd name="connsiteY8" fmla="*/ 121723 h 259705"/>
                <a:gd name="connsiteX9" fmla="*/ 8469 w 203247"/>
                <a:gd name="connsiteY9" fmla="*/ 150516 h 259705"/>
                <a:gd name="connsiteX10" fmla="*/ 30148 w 203247"/>
                <a:gd name="connsiteY10" fmla="*/ 176035 h 259705"/>
                <a:gd name="connsiteX11" fmla="*/ 30148 w 203247"/>
                <a:gd name="connsiteY11" fmla="*/ 176035 h 259705"/>
                <a:gd name="connsiteX12" fmla="*/ 100495 w 203247"/>
                <a:gd name="connsiteY12" fmla="*/ 253156 h 259705"/>
                <a:gd name="connsiteX13" fmla="*/ 106818 w 203247"/>
                <a:gd name="connsiteY13" fmla="*/ 253156 h 259705"/>
                <a:gd name="connsiteX14" fmla="*/ 177164 w 203247"/>
                <a:gd name="connsiteY14" fmla="*/ 176035 h 259705"/>
                <a:gd name="connsiteX15" fmla="*/ 177164 w 203247"/>
                <a:gd name="connsiteY15" fmla="*/ 176035 h 259705"/>
                <a:gd name="connsiteX16" fmla="*/ 198618 w 203247"/>
                <a:gd name="connsiteY16" fmla="*/ 150516 h 259705"/>
                <a:gd name="connsiteX17" fmla="*/ 198618 w 203247"/>
                <a:gd name="connsiteY17" fmla="*/ 121723 h 259705"/>
                <a:gd name="connsiteX18" fmla="*/ 188568 w 203247"/>
                <a:gd name="connsiteY18" fmla="*/ 121723 h 259705"/>
                <a:gd name="connsiteX19" fmla="*/ 188568 w 203247"/>
                <a:gd name="connsiteY19" fmla="*/ 53748 h 259705"/>
                <a:gd name="connsiteX20" fmla="*/ 160340 w 203247"/>
                <a:gd name="connsiteY20" fmla="*/ 25519 h 259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3247" h="259705">
                  <a:moveTo>
                    <a:pt x="68652" y="65491"/>
                  </a:moveTo>
                  <a:lnTo>
                    <a:pt x="117771" y="65491"/>
                  </a:lnTo>
                  <a:cubicBezTo>
                    <a:pt x="145548" y="65491"/>
                    <a:pt x="168131" y="42908"/>
                    <a:pt x="168131" y="15131"/>
                  </a:cubicBezTo>
                  <a:lnTo>
                    <a:pt x="168131" y="8469"/>
                  </a:lnTo>
                  <a:lnTo>
                    <a:pt x="75766" y="8469"/>
                  </a:lnTo>
                  <a:cubicBezTo>
                    <a:pt x="44263" y="8469"/>
                    <a:pt x="18744" y="33988"/>
                    <a:pt x="18744" y="65491"/>
                  </a:cubicBezTo>
                  <a:lnTo>
                    <a:pt x="18744" y="65491"/>
                  </a:lnTo>
                  <a:lnTo>
                    <a:pt x="18744" y="121723"/>
                  </a:lnTo>
                  <a:lnTo>
                    <a:pt x="8469" y="121723"/>
                  </a:lnTo>
                  <a:lnTo>
                    <a:pt x="8469" y="150516"/>
                  </a:lnTo>
                  <a:cubicBezTo>
                    <a:pt x="8469" y="164631"/>
                    <a:pt x="16034" y="176035"/>
                    <a:pt x="30148" y="176035"/>
                  </a:cubicBezTo>
                  <a:lnTo>
                    <a:pt x="30148" y="176035"/>
                  </a:lnTo>
                  <a:cubicBezTo>
                    <a:pt x="30148" y="176035"/>
                    <a:pt x="44376" y="253156"/>
                    <a:pt x="100495" y="253156"/>
                  </a:cubicBezTo>
                  <a:lnTo>
                    <a:pt x="106818" y="253156"/>
                  </a:lnTo>
                  <a:cubicBezTo>
                    <a:pt x="162937" y="253156"/>
                    <a:pt x="177164" y="176035"/>
                    <a:pt x="177164" y="176035"/>
                  </a:cubicBezTo>
                  <a:lnTo>
                    <a:pt x="177164" y="176035"/>
                  </a:lnTo>
                  <a:cubicBezTo>
                    <a:pt x="191278" y="176035"/>
                    <a:pt x="198618" y="164631"/>
                    <a:pt x="198618" y="150516"/>
                  </a:cubicBezTo>
                  <a:lnTo>
                    <a:pt x="198618" y="121723"/>
                  </a:lnTo>
                  <a:lnTo>
                    <a:pt x="188568" y="121723"/>
                  </a:lnTo>
                  <a:lnTo>
                    <a:pt x="188568" y="53748"/>
                  </a:lnTo>
                  <a:cubicBezTo>
                    <a:pt x="188568" y="38165"/>
                    <a:pt x="175922" y="25519"/>
                    <a:pt x="160340" y="25519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83B8D4A3-1328-45B4-ABB5-474E6A094156}"/>
                </a:ext>
              </a:extLst>
            </p:cNvPr>
            <p:cNvSpPr/>
            <p:nvPr/>
          </p:nvSpPr>
          <p:spPr>
            <a:xfrm>
              <a:off x="433543" y="5837337"/>
              <a:ext cx="199028" cy="225565"/>
            </a:xfrm>
            <a:custGeom>
              <a:avLst/>
              <a:gdLst>
                <a:gd name="connsiteX0" fmla="*/ 170502 w 169372"/>
                <a:gd name="connsiteY0" fmla="*/ 8469 h 191955"/>
                <a:gd name="connsiteX1" fmla="*/ 170502 w 169372"/>
                <a:gd name="connsiteY1" fmla="*/ 8469 h 191955"/>
                <a:gd name="connsiteX2" fmla="*/ 140128 w 169372"/>
                <a:gd name="connsiteY2" fmla="*/ 49570 h 191955"/>
                <a:gd name="connsiteX3" fmla="*/ 49118 w 169372"/>
                <a:gd name="connsiteY3" fmla="*/ 86719 h 191955"/>
                <a:gd name="connsiteX4" fmla="*/ 8469 w 169372"/>
                <a:gd name="connsiteY4" fmla="*/ 194101 h 191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372" h="191955">
                  <a:moveTo>
                    <a:pt x="170502" y="8469"/>
                  </a:moveTo>
                  <a:lnTo>
                    <a:pt x="170502" y="8469"/>
                  </a:lnTo>
                  <a:cubicBezTo>
                    <a:pt x="170502" y="27325"/>
                    <a:pt x="158194" y="44037"/>
                    <a:pt x="140128" y="49570"/>
                  </a:cubicBezTo>
                  <a:cubicBezTo>
                    <a:pt x="113367" y="57926"/>
                    <a:pt x="74863" y="71363"/>
                    <a:pt x="49118" y="86719"/>
                  </a:cubicBezTo>
                  <a:cubicBezTo>
                    <a:pt x="49118" y="86719"/>
                    <a:pt x="18405" y="126804"/>
                    <a:pt x="8469" y="194101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94D7DAD2-CD4E-44D1-9946-701340315278}"/>
                </a:ext>
              </a:extLst>
            </p:cNvPr>
            <p:cNvSpPr/>
            <p:nvPr/>
          </p:nvSpPr>
          <p:spPr>
            <a:xfrm>
              <a:off x="713509" y="5837337"/>
              <a:ext cx="79611" cy="66343"/>
            </a:xfrm>
            <a:custGeom>
              <a:avLst/>
              <a:gdLst>
                <a:gd name="connsiteX0" fmla="*/ 8469 w 67749"/>
                <a:gd name="connsiteY0" fmla="*/ 8469 h 56457"/>
                <a:gd name="connsiteX1" fmla="*/ 8469 w 67749"/>
                <a:gd name="connsiteY1" fmla="*/ 8469 h 56457"/>
                <a:gd name="connsiteX2" fmla="*/ 38843 w 67749"/>
                <a:gd name="connsiteY2" fmla="*/ 49570 h 56457"/>
                <a:gd name="connsiteX3" fmla="*/ 68088 w 67749"/>
                <a:gd name="connsiteY3" fmla="*/ 59167 h 56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749" h="56457">
                  <a:moveTo>
                    <a:pt x="8469" y="8469"/>
                  </a:moveTo>
                  <a:lnTo>
                    <a:pt x="8469" y="8469"/>
                  </a:lnTo>
                  <a:cubicBezTo>
                    <a:pt x="8469" y="27325"/>
                    <a:pt x="21115" y="43134"/>
                    <a:pt x="38843" y="49570"/>
                  </a:cubicBezTo>
                  <a:cubicBezTo>
                    <a:pt x="48478" y="53108"/>
                    <a:pt x="58227" y="56307"/>
                    <a:pt x="68088" y="59167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789C195-481A-488E-B860-DA45E41EEB77}"/>
                </a:ext>
              </a:extLst>
            </p:cNvPr>
            <p:cNvSpPr/>
            <p:nvPr/>
          </p:nvSpPr>
          <p:spPr>
            <a:xfrm>
              <a:off x="600064" y="5630482"/>
              <a:ext cx="66343" cy="39806"/>
            </a:xfrm>
            <a:custGeom>
              <a:avLst/>
              <a:gdLst>
                <a:gd name="connsiteX0" fmla="*/ 8469 w 56457"/>
                <a:gd name="connsiteY0" fmla="*/ 30148 h 33874"/>
                <a:gd name="connsiteX1" fmla="*/ 8469 w 56457"/>
                <a:gd name="connsiteY1" fmla="*/ 21680 h 33874"/>
                <a:gd name="connsiteX2" fmla="*/ 21680 w 56457"/>
                <a:gd name="connsiteY2" fmla="*/ 8469 h 33874"/>
                <a:gd name="connsiteX3" fmla="*/ 55216 w 56457"/>
                <a:gd name="connsiteY3" fmla="*/ 8469 h 33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457" h="33874">
                  <a:moveTo>
                    <a:pt x="8469" y="30148"/>
                  </a:moveTo>
                  <a:lnTo>
                    <a:pt x="8469" y="21680"/>
                  </a:lnTo>
                  <a:cubicBezTo>
                    <a:pt x="8469" y="14453"/>
                    <a:pt x="14340" y="8469"/>
                    <a:pt x="21680" y="8469"/>
                  </a:cubicBezTo>
                  <a:lnTo>
                    <a:pt x="55216" y="8469"/>
                  </a:ln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95A21485-ECE3-44EC-A18F-C113CC0A8B57}"/>
                </a:ext>
              </a:extLst>
            </p:cNvPr>
            <p:cNvSpPr/>
            <p:nvPr/>
          </p:nvSpPr>
          <p:spPr>
            <a:xfrm>
              <a:off x="956589" y="5563475"/>
              <a:ext cx="145954" cy="344982"/>
            </a:xfrm>
            <a:custGeom>
              <a:avLst/>
              <a:gdLst>
                <a:gd name="connsiteX0" fmla="*/ 8469 w 124206"/>
                <a:gd name="connsiteY0" fmla="*/ 8469 h 293579"/>
                <a:gd name="connsiteX1" fmla="*/ 112577 w 124206"/>
                <a:gd name="connsiteY1" fmla="*/ 104108 h 293579"/>
                <a:gd name="connsiteX2" fmla="*/ 115851 w 124206"/>
                <a:gd name="connsiteY2" fmla="*/ 134143 h 293579"/>
                <a:gd name="connsiteX3" fmla="*/ 125449 w 124206"/>
                <a:gd name="connsiteY3" fmla="*/ 202457 h 293579"/>
                <a:gd name="connsiteX4" fmla="*/ 84235 w 124206"/>
                <a:gd name="connsiteY4" fmla="*/ 286128 h 29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206" h="293579">
                  <a:moveTo>
                    <a:pt x="8469" y="8469"/>
                  </a:moveTo>
                  <a:cubicBezTo>
                    <a:pt x="62668" y="8469"/>
                    <a:pt x="107157" y="50360"/>
                    <a:pt x="112577" y="104108"/>
                  </a:cubicBezTo>
                  <a:cubicBezTo>
                    <a:pt x="113593" y="114157"/>
                    <a:pt x="114383" y="124207"/>
                    <a:pt x="115851" y="134143"/>
                  </a:cubicBezTo>
                  <a:lnTo>
                    <a:pt x="125449" y="202457"/>
                  </a:lnTo>
                  <a:cubicBezTo>
                    <a:pt x="130191" y="236558"/>
                    <a:pt x="111786" y="270884"/>
                    <a:pt x="84235" y="286128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D5742034-F3A7-4805-9C8F-0DBA36B3A937}"/>
                </a:ext>
              </a:extLst>
            </p:cNvPr>
            <p:cNvSpPr/>
            <p:nvPr/>
          </p:nvSpPr>
          <p:spPr>
            <a:xfrm>
              <a:off x="818314" y="5563475"/>
              <a:ext cx="145954" cy="344982"/>
            </a:xfrm>
            <a:custGeom>
              <a:avLst/>
              <a:gdLst>
                <a:gd name="connsiteX0" fmla="*/ 126141 w 124206"/>
                <a:gd name="connsiteY0" fmla="*/ 8469 h 293579"/>
                <a:gd name="connsiteX1" fmla="*/ 22033 w 124206"/>
                <a:gd name="connsiteY1" fmla="*/ 104108 h 293579"/>
                <a:gd name="connsiteX2" fmla="*/ 18758 w 124206"/>
                <a:gd name="connsiteY2" fmla="*/ 134143 h 293579"/>
                <a:gd name="connsiteX3" fmla="*/ 9160 w 124206"/>
                <a:gd name="connsiteY3" fmla="*/ 202457 h 293579"/>
                <a:gd name="connsiteX4" fmla="*/ 52407 w 124206"/>
                <a:gd name="connsiteY4" fmla="*/ 286128 h 293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206" h="293579">
                  <a:moveTo>
                    <a:pt x="126141" y="8469"/>
                  </a:moveTo>
                  <a:cubicBezTo>
                    <a:pt x="71941" y="8469"/>
                    <a:pt x="27453" y="50360"/>
                    <a:pt x="22033" y="104108"/>
                  </a:cubicBezTo>
                  <a:cubicBezTo>
                    <a:pt x="21016" y="114157"/>
                    <a:pt x="20226" y="124207"/>
                    <a:pt x="18758" y="134143"/>
                  </a:cubicBezTo>
                  <a:lnTo>
                    <a:pt x="9160" y="202457"/>
                  </a:lnTo>
                  <a:cubicBezTo>
                    <a:pt x="4418" y="236671"/>
                    <a:pt x="24630" y="270997"/>
                    <a:pt x="52407" y="286128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0530C53-7D00-43F4-A6D8-3425373E20BF}"/>
                </a:ext>
              </a:extLst>
            </p:cNvPr>
            <p:cNvSpPr/>
            <p:nvPr/>
          </p:nvSpPr>
          <p:spPr>
            <a:xfrm>
              <a:off x="886399" y="5619733"/>
              <a:ext cx="159222" cy="252102"/>
            </a:xfrm>
            <a:custGeom>
              <a:avLst/>
              <a:gdLst>
                <a:gd name="connsiteX0" fmla="*/ 39746 w 135498"/>
                <a:gd name="connsiteY0" fmla="*/ 8469 h 214538"/>
                <a:gd name="connsiteX1" fmla="*/ 104447 w 135498"/>
                <a:gd name="connsiteY1" fmla="*/ 43924 h 214538"/>
                <a:gd name="connsiteX2" fmla="*/ 128385 w 135498"/>
                <a:gd name="connsiteY2" fmla="*/ 69782 h 214538"/>
                <a:gd name="connsiteX3" fmla="*/ 127933 w 135498"/>
                <a:gd name="connsiteY3" fmla="*/ 119690 h 214538"/>
                <a:gd name="connsiteX4" fmla="*/ 68427 w 135498"/>
                <a:gd name="connsiteY4" fmla="*/ 210361 h 214538"/>
                <a:gd name="connsiteX5" fmla="*/ 68427 w 135498"/>
                <a:gd name="connsiteY5" fmla="*/ 210361 h 214538"/>
                <a:gd name="connsiteX6" fmla="*/ 8920 w 135498"/>
                <a:gd name="connsiteY6" fmla="*/ 119690 h 214538"/>
                <a:gd name="connsiteX7" fmla="*/ 8469 w 135498"/>
                <a:gd name="connsiteY7" fmla="*/ 60522 h 214538"/>
                <a:gd name="connsiteX8" fmla="*/ 32407 w 135498"/>
                <a:gd name="connsiteY8" fmla="*/ 34665 h 214538"/>
                <a:gd name="connsiteX9" fmla="*/ 60974 w 135498"/>
                <a:gd name="connsiteY9" fmla="*/ 33875 h 214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498" h="214538">
                  <a:moveTo>
                    <a:pt x="39746" y="8469"/>
                  </a:moveTo>
                  <a:cubicBezTo>
                    <a:pt x="46069" y="25067"/>
                    <a:pt x="62329" y="43924"/>
                    <a:pt x="104447" y="43924"/>
                  </a:cubicBezTo>
                  <a:cubicBezTo>
                    <a:pt x="117658" y="43924"/>
                    <a:pt x="128385" y="55441"/>
                    <a:pt x="128385" y="69782"/>
                  </a:cubicBezTo>
                  <a:lnTo>
                    <a:pt x="127933" y="119690"/>
                  </a:lnTo>
                  <a:cubicBezTo>
                    <a:pt x="127933" y="165534"/>
                    <a:pt x="96655" y="210361"/>
                    <a:pt x="68427" y="210361"/>
                  </a:cubicBezTo>
                  <a:lnTo>
                    <a:pt x="68427" y="210361"/>
                  </a:lnTo>
                  <a:cubicBezTo>
                    <a:pt x="40198" y="210361"/>
                    <a:pt x="8920" y="165534"/>
                    <a:pt x="8920" y="119690"/>
                  </a:cubicBezTo>
                  <a:lnTo>
                    <a:pt x="8469" y="60522"/>
                  </a:lnTo>
                  <a:cubicBezTo>
                    <a:pt x="8469" y="46295"/>
                    <a:pt x="19196" y="34665"/>
                    <a:pt x="32407" y="34665"/>
                  </a:cubicBezTo>
                  <a:lnTo>
                    <a:pt x="60974" y="33875"/>
                  </a:ln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3BC4976F-6BE5-4501-94A2-51630384B7C5}"/>
                </a:ext>
              </a:extLst>
            </p:cNvPr>
            <p:cNvSpPr/>
            <p:nvPr/>
          </p:nvSpPr>
          <p:spPr>
            <a:xfrm>
              <a:off x="764859" y="5841318"/>
              <a:ext cx="172491" cy="238833"/>
            </a:xfrm>
            <a:custGeom>
              <a:avLst/>
              <a:gdLst>
                <a:gd name="connsiteX0" fmla="*/ 142047 w 146789"/>
                <a:gd name="connsiteY0" fmla="*/ 8469 h 203247"/>
                <a:gd name="connsiteX1" fmla="*/ 142047 w 146789"/>
                <a:gd name="connsiteY1" fmla="*/ 8469 h 203247"/>
                <a:gd name="connsiteX2" fmla="*/ 117996 w 146789"/>
                <a:gd name="connsiteY2" fmla="*/ 44037 h 203247"/>
                <a:gd name="connsiteX3" fmla="*/ 45844 w 146789"/>
                <a:gd name="connsiteY3" fmla="*/ 77799 h 203247"/>
                <a:gd name="connsiteX4" fmla="*/ 8469 w 146789"/>
                <a:gd name="connsiteY4" fmla="*/ 196585 h 203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789" h="203247">
                  <a:moveTo>
                    <a:pt x="142047" y="8469"/>
                  </a:moveTo>
                  <a:lnTo>
                    <a:pt x="142047" y="8469"/>
                  </a:lnTo>
                  <a:cubicBezTo>
                    <a:pt x="142047" y="25632"/>
                    <a:pt x="132337" y="38843"/>
                    <a:pt x="117996" y="44037"/>
                  </a:cubicBezTo>
                  <a:cubicBezTo>
                    <a:pt x="96768" y="51602"/>
                    <a:pt x="63345" y="60410"/>
                    <a:pt x="45844" y="77799"/>
                  </a:cubicBezTo>
                  <a:cubicBezTo>
                    <a:pt x="34665" y="88864"/>
                    <a:pt x="17502" y="141144"/>
                    <a:pt x="8469" y="196585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8AD3CA3-0B3E-4761-BD4E-87CB913C3ACA}"/>
                </a:ext>
              </a:extLst>
            </p:cNvPr>
            <p:cNvSpPr/>
            <p:nvPr/>
          </p:nvSpPr>
          <p:spPr>
            <a:xfrm>
              <a:off x="992812" y="5839195"/>
              <a:ext cx="172491" cy="238833"/>
            </a:xfrm>
            <a:custGeom>
              <a:avLst/>
              <a:gdLst>
                <a:gd name="connsiteX0" fmla="*/ 8469 w 146789"/>
                <a:gd name="connsiteY0" fmla="*/ 8469 h 203247"/>
                <a:gd name="connsiteX1" fmla="*/ 8469 w 146789"/>
                <a:gd name="connsiteY1" fmla="*/ 8469 h 203247"/>
                <a:gd name="connsiteX2" fmla="*/ 32520 w 146789"/>
                <a:gd name="connsiteY2" fmla="*/ 45844 h 203247"/>
                <a:gd name="connsiteX3" fmla="*/ 104672 w 146789"/>
                <a:gd name="connsiteY3" fmla="*/ 79605 h 203247"/>
                <a:gd name="connsiteX4" fmla="*/ 138547 w 146789"/>
                <a:gd name="connsiteY4" fmla="*/ 198392 h 203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6789" h="203247">
                  <a:moveTo>
                    <a:pt x="8469" y="8469"/>
                  </a:moveTo>
                  <a:lnTo>
                    <a:pt x="8469" y="8469"/>
                  </a:lnTo>
                  <a:cubicBezTo>
                    <a:pt x="8469" y="25632"/>
                    <a:pt x="18292" y="40763"/>
                    <a:pt x="32520" y="45844"/>
                  </a:cubicBezTo>
                  <a:cubicBezTo>
                    <a:pt x="53748" y="53409"/>
                    <a:pt x="87171" y="62216"/>
                    <a:pt x="104672" y="79605"/>
                  </a:cubicBezTo>
                  <a:cubicBezTo>
                    <a:pt x="115851" y="90671"/>
                    <a:pt x="132788" y="137982"/>
                    <a:pt x="138547" y="198392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C369ACF-3A20-4ADE-A45C-FA310639CEA5}"/>
                </a:ext>
              </a:extLst>
            </p:cNvPr>
            <p:cNvSpPr/>
            <p:nvPr/>
          </p:nvSpPr>
          <p:spPr>
            <a:xfrm>
              <a:off x="886133" y="5880461"/>
              <a:ext cx="159222" cy="106148"/>
            </a:xfrm>
            <a:custGeom>
              <a:avLst/>
              <a:gdLst>
                <a:gd name="connsiteX0" fmla="*/ 128610 w 135498"/>
                <a:gd name="connsiteY0" fmla="*/ 8469 h 90332"/>
                <a:gd name="connsiteX1" fmla="*/ 68540 w 135498"/>
                <a:gd name="connsiteY1" fmla="*/ 90106 h 90332"/>
                <a:gd name="connsiteX2" fmla="*/ 8469 w 135498"/>
                <a:gd name="connsiteY2" fmla="*/ 8469 h 9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498" h="90332">
                  <a:moveTo>
                    <a:pt x="128610" y="8469"/>
                  </a:moveTo>
                  <a:cubicBezTo>
                    <a:pt x="128610" y="32181"/>
                    <a:pt x="101737" y="90106"/>
                    <a:pt x="68540" y="90106"/>
                  </a:cubicBezTo>
                  <a:cubicBezTo>
                    <a:pt x="35342" y="90106"/>
                    <a:pt x="8469" y="32181"/>
                    <a:pt x="8469" y="8469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4D910B4-4F76-4F97-A554-DF4A0FE2DDAE}"/>
                </a:ext>
              </a:extLst>
            </p:cNvPr>
            <p:cNvSpPr/>
            <p:nvPr/>
          </p:nvSpPr>
          <p:spPr>
            <a:xfrm>
              <a:off x="602850" y="5878470"/>
              <a:ext cx="145954" cy="79611"/>
            </a:xfrm>
            <a:custGeom>
              <a:avLst/>
              <a:gdLst>
                <a:gd name="connsiteX0" fmla="*/ 119577 w 124206"/>
                <a:gd name="connsiteY0" fmla="*/ 8469 h 67749"/>
                <a:gd name="connsiteX1" fmla="*/ 64023 w 124206"/>
                <a:gd name="connsiteY1" fmla="*/ 64023 h 67749"/>
                <a:gd name="connsiteX2" fmla="*/ 8469 w 124206"/>
                <a:gd name="connsiteY2" fmla="*/ 8469 h 67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4206" h="67749">
                  <a:moveTo>
                    <a:pt x="119577" y="8469"/>
                  </a:moveTo>
                  <a:cubicBezTo>
                    <a:pt x="119577" y="39182"/>
                    <a:pt x="94736" y="64023"/>
                    <a:pt x="64023" y="64023"/>
                  </a:cubicBezTo>
                  <a:cubicBezTo>
                    <a:pt x="33310" y="64023"/>
                    <a:pt x="8469" y="39182"/>
                    <a:pt x="8469" y="8469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1B9B901-8921-41B7-AC15-FD6A94865A79}"/>
                </a:ext>
              </a:extLst>
            </p:cNvPr>
            <p:cNvSpPr/>
            <p:nvPr/>
          </p:nvSpPr>
          <p:spPr>
            <a:xfrm>
              <a:off x="843275" y="6008900"/>
              <a:ext cx="26537" cy="66343"/>
            </a:xfrm>
            <a:custGeom>
              <a:avLst/>
              <a:gdLst>
                <a:gd name="connsiteX0" fmla="*/ 19873 w 22583"/>
                <a:gd name="connsiteY0" fmla="*/ 8469 h 56457"/>
                <a:gd name="connsiteX1" fmla="*/ 8469 w 22583"/>
                <a:gd name="connsiteY1" fmla="*/ 58377 h 56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83" h="56457">
                  <a:moveTo>
                    <a:pt x="19873" y="8469"/>
                  </a:moveTo>
                  <a:cubicBezTo>
                    <a:pt x="19873" y="8469"/>
                    <a:pt x="12985" y="36133"/>
                    <a:pt x="8469" y="58377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6BA7FA7-3ED2-4536-93B9-43A1E398614A}"/>
                </a:ext>
              </a:extLst>
            </p:cNvPr>
            <p:cNvSpPr/>
            <p:nvPr/>
          </p:nvSpPr>
          <p:spPr>
            <a:xfrm>
              <a:off x="1062471" y="6008900"/>
              <a:ext cx="26537" cy="66343"/>
            </a:xfrm>
            <a:custGeom>
              <a:avLst/>
              <a:gdLst>
                <a:gd name="connsiteX0" fmla="*/ 8469 w 22583"/>
                <a:gd name="connsiteY0" fmla="*/ 8469 h 56457"/>
                <a:gd name="connsiteX1" fmla="*/ 19873 w 22583"/>
                <a:gd name="connsiteY1" fmla="*/ 58377 h 56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83" h="56457">
                  <a:moveTo>
                    <a:pt x="8469" y="8469"/>
                  </a:moveTo>
                  <a:cubicBezTo>
                    <a:pt x="8469" y="8469"/>
                    <a:pt x="15356" y="36133"/>
                    <a:pt x="19873" y="58377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D15A121-AEB6-4547-8A04-2A051E186C75}"/>
                </a:ext>
              </a:extLst>
            </p:cNvPr>
            <p:cNvSpPr/>
            <p:nvPr/>
          </p:nvSpPr>
          <p:spPr>
            <a:xfrm>
              <a:off x="516870" y="6006910"/>
              <a:ext cx="26537" cy="66343"/>
            </a:xfrm>
            <a:custGeom>
              <a:avLst/>
              <a:gdLst>
                <a:gd name="connsiteX0" fmla="*/ 19309 w 22583"/>
                <a:gd name="connsiteY0" fmla="*/ 8469 h 56457"/>
                <a:gd name="connsiteX1" fmla="*/ 8469 w 22583"/>
                <a:gd name="connsiteY1" fmla="*/ 56006 h 56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583" h="56457">
                  <a:moveTo>
                    <a:pt x="19309" y="8469"/>
                  </a:moveTo>
                  <a:cubicBezTo>
                    <a:pt x="19309" y="8469"/>
                    <a:pt x="12759" y="34891"/>
                    <a:pt x="8469" y="56006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A508B6BB-AD84-4B4D-A2CE-E20B5FF6E976}"/>
              </a:ext>
            </a:extLst>
          </p:cNvPr>
          <p:cNvSpPr/>
          <p:nvPr/>
        </p:nvSpPr>
        <p:spPr>
          <a:xfrm>
            <a:off x="6167437" y="1750071"/>
            <a:ext cx="5359839" cy="6671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err="1">
                <a:solidFill>
                  <a:schemeClr val="tx2"/>
                </a:solidFill>
              </a:rPr>
              <a:t>Барча</a:t>
            </a:r>
            <a:r>
              <a:rPr lang="ru-RU" sz="1400" dirty="0">
                <a:solidFill>
                  <a:schemeClr val="tx2"/>
                </a:solidFill>
              </a:rPr>
              <a:t> профессионал </a:t>
            </a:r>
            <a:r>
              <a:rPr lang="ru-RU" sz="1400" dirty="0" err="1">
                <a:solidFill>
                  <a:schemeClr val="tx2"/>
                </a:solidFill>
              </a:rPr>
              <a:t>фирибга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олатлар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еяр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ярми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шбу</a:t>
            </a:r>
            <a:r>
              <a:rPr lang="ru-RU" sz="1400" dirty="0">
                <a:solidFill>
                  <a:schemeClr val="tx2"/>
                </a:solidFill>
              </a:rPr>
              <a:t>  </a:t>
            </a:r>
            <a:r>
              <a:rPr lang="ru-RU" sz="1400" b="1" dirty="0" err="1">
                <a:solidFill>
                  <a:srgbClr val="004BD2"/>
                </a:solidFill>
              </a:rPr>
              <a:t>тўртта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бўлимга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ғ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елади</a:t>
            </a:r>
            <a:r>
              <a:rPr lang="ru-RU" sz="1400" dirty="0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49D0ED34-B996-42F9-9EA5-856CCDEB64EA}"/>
              </a:ext>
            </a:extLst>
          </p:cNvPr>
          <p:cNvSpPr/>
          <p:nvPr/>
        </p:nvSpPr>
        <p:spPr>
          <a:xfrm>
            <a:off x="622570" y="1750071"/>
            <a:ext cx="5392633" cy="66711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2"/>
                </a:solidFill>
              </a:rPr>
              <a:t>Профессионал </a:t>
            </a:r>
            <a:r>
              <a:rPr lang="ru-RU" sz="1400" dirty="0" err="1">
                <a:solidFill>
                  <a:schemeClr val="tx2"/>
                </a:solidFill>
              </a:rPr>
              <a:t>фирибгарлик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ти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b="1" dirty="0">
                <a:solidFill>
                  <a:srgbClr val="004BD2"/>
                </a:solidFill>
              </a:rPr>
              <a:t>23 </a:t>
            </a:r>
            <a:r>
              <a:rPr lang="ru-RU" sz="1400" b="1" dirty="0" err="1">
                <a:solidFill>
                  <a:srgbClr val="004BD2"/>
                </a:solidFill>
              </a:rPr>
              <a:t>фоиз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лкдорлар</a:t>
            </a:r>
            <a:r>
              <a:rPr lang="ru-RU" sz="1400" dirty="0">
                <a:solidFill>
                  <a:schemeClr val="tx2"/>
                </a:solidFill>
              </a:rPr>
              <a:t>/</a:t>
            </a:r>
            <a:r>
              <a:rPr lang="ru-RU" sz="1400" dirty="0" err="1">
                <a:solidFill>
                  <a:schemeClr val="tx2"/>
                </a:solidFill>
              </a:rPr>
              <a:t>раҳбар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омон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д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илган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аммо</a:t>
            </a:r>
            <a:r>
              <a:rPr lang="ru-RU" sz="1400" dirty="0">
                <a:solidFill>
                  <a:schemeClr val="tx2"/>
                </a:solidFill>
              </a:rPr>
              <a:t> улар </a:t>
            </a:r>
            <a:r>
              <a:rPr lang="ru-RU" sz="1400" b="1" dirty="0" err="1">
                <a:solidFill>
                  <a:srgbClr val="004BD2"/>
                </a:solidFill>
              </a:rPr>
              <a:t>энг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кўп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зарар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етказган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A109D125-108A-4937-A5B8-9273AD0D0201}"/>
              </a:ext>
            </a:extLst>
          </p:cNvPr>
          <p:cNvSpPr/>
          <p:nvPr/>
        </p:nvSpPr>
        <p:spPr>
          <a:xfrm>
            <a:off x="7086294" y="3157432"/>
            <a:ext cx="1684535" cy="141750"/>
          </a:xfrm>
          <a:prstGeom prst="roundRect">
            <a:avLst>
              <a:gd name="adj" fmla="val 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7BFC9E00-3D1D-484F-AA42-084BB8004427}"/>
              </a:ext>
            </a:extLst>
          </p:cNvPr>
          <p:cNvSpPr/>
          <p:nvPr/>
        </p:nvSpPr>
        <p:spPr>
          <a:xfrm>
            <a:off x="7090948" y="2582169"/>
            <a:ext cx="861633" cy="981502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4000" spc="-244" dirty="0">
                <a:solidFill>
                  <a:srgbClr val="1BD7D3"/>
                </a:solidFill>
                <a:latin typeface="Arial" panose="020B0604020202020204" pitchFamily="34" charset="0"/>
              </a:rPr>
              <a:t>15%</a:t>
            </a:r>
            <a:endParaRPr lang="en-US" sz="4000" spc="-244" dirty="0">
              <a:solidFill>
                <a:srgbClr val="1BD7D3"/>
              </a:solidFill>
              <a:latin typeface="Arial" panose="020B0604020202020204" pitchFamily="34" charset="0"/>
            </a:endParaRP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B82F8F48-588C-4389-BB02-CB3C6F0713D9}"/>
              </a:ext>
            </a:extLst>
          </p:cNvPr>
          <p:cNvSpPr/>
          <p:nvPr/>
        </p:nvSpPr>
        <p:spPr>
          <a:xfrm>
            <a:off x="7086293" y="3139620"/>
            <a:ext cx="1684535" cy="4557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t">
            <a:noAutofit/>
          </a:bodyPr>
          <a:lstStyle/>
          <a:p>
            <a:pPr algn="ctr"/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перацион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ўлим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139D5775-DB00-4974-8A49-5A4841723574}"/>
              </a:ext>
            </a:extLst>
          </p:cNvPr>
          <p:cNvGrpSpPr/>
          <p:nvPr/>
        </p:nvGrpSpPr>
        <p:grpSpPr>
          <a:xfrm>
            <a:off x="8176083" y="2569023"/>
            <a:ext cx="537074" cy="585547"/>
            <a:chOff x="462719" y="4887354"/>
            <a:chExt cx="721286" cy="786385"/>
          </a:xfrm>
        </p:grpSpPr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943B6EB9-6E57-4F2B-B8F4-86E7687B6281}"/>
                </a:ext>
              </a:extLst>
            </p:cNvPr>
            <p:cNvSpPr/>
            <p:nvPr/>
          </p:nvSpPr>
          <p:spPr>
            <a:xfrm>
              <a:off x="527097" y="5024192"/>
              <a:ext cx="606244" cy="649547"/>
            </a:xfrm>
            <a:custGeom>
              <a:avLst/>
              <a:gdLst>
                <a:gd name="connsiteX0" fmla="*/ 595604 w 606243"/>
                <a:gd name="connsiteY0" fmla="*/ 10867 h 649546"/>
                <a:gd name="connsiteX1" fmla="*/ 595604 w 606243"/>
                <a:gd name="connsiteY1" fmla="*/ 648578 h 649546"/>
                <a:gd name="connsiteX2" fmla="*/ 10867 w 606243"/>
                <a:gd name="connsiteY2" fmla="*/ 648578 h 649546"/>
                <a:gd name="connsiteX3" fmla="*/ 10867 w 606243"/>
                <a:gd name="connsiteY3" fmla="*/ 10867 h 649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6243" h="649546">
                  <a:moveTo>
                    <a:pt x="595604" y="10867"/>
                  </a:moveTo>
                  <a:lnTo>
                    <a:pt x="595604" y="648578"/>
                  </a:lnTo>
                  <a:lnTo>
                    <a:pt x="10867" y="648578"/>
                  </a:lnTo>
                  <a:lnTo>
                    <a:pt x="10867" y="10867"/>
                  </a:lnTo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5ABE64E8-1912-48C3-B4C5-79FE3941C6EA}"/>
                </a:ext>
              </a:extLst>
            </p:cNvPr>
            <p:cNvSpPr/>
            <p:nvPr/>
          </p:nvSpPr>
          <p:spPr>
            <a:xfrm>
              <a:off x="597103" y="5520878"/>
              <a:ext cx="461900" cy="14434"/>
            </a:xfrm>
            <a:custGeom>
              <a:avLst/>
              <a:gdLst>
                <a:gd name="connsiteX0" fmla="*/ 10867 w 461899"/>
                <a:gd name="connsiteY0" fmla="*/ 10867 h 14434"/>
                <a:gd name="connsiteX1" fmla="*/ 455590 w 461899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1899" h="14434">
                  <a:moveTo>
                    <a:pt x="10867" y="10867"/>
                  </a:moveTo>
                  <a:lnTo>
                    <a:pt x="455590" y="10867"/>
                  </a:lnTo>
                </a:path>
              </a:pathLst>
            </a:custGeom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EB214E1F-8781-40D6-B7D7-F0660AC2D1DF}"/>
                </a:ext>
              </a:extLst>
            </p:cNvPr>
            <p:cNvSpPr/>
            <p:nvPr/>
          </p:nvSpPr>
          <p:spPr>
            <a:xfrm>
              <a:off x="597103" y="5590596"/>
              <a:ext cx="158778" cy="14434"/>
            </a:xfrm>
            <a:custGeom>
              <a:avLst/>
              <a:gdLst>
                <a:gd name="connsiteX0" fmla="*/ 10867 w 158778"/>
                <a:gd name="connsiteY0" fmla="*/ 10867 h 14434"/>
                <a:gd name="connsiteX1" fmla="*/ 152324 w 158778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8778" h="14434">
                  <a:moveTo>
                    <a:pt x="10867" y="10867"/>
                  </a:moveTo>
                  <a:lnTo>
                    <a:pt x="152324" y="10867"/>
                  </a:lnTo>
                </a:path>
              </a:pathLst>
            </a:custGeom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DC0E1FD-6807-434B-A545-ACC6248C051D}"/>
                </a:ext>
              </a:extLst>
            </p:cNvPr>
            <p:cNvSpPr/>
            <p:nvPr/>
          </p:nvSpPr>
          <p:spPr>
            <a:xfrm>
              <a:off x="748809" y="5209096"/>
              <a:ext cx="144344" cy="144344"/>
            </a:xfrm>
            <a:custGeom>
              <a:avLst/>
              <a:gdLst>
                <a:gd name="connsiteX0" fmla="*/ 147128 w 144343"/>
                <a:gd name="connsiteY0" fmla="*/ 78997 h 144343"/>
                <a:gd name="connsiteX1" fmla="*/ 78997 w 144343"/>
                <a:gd name="connsiteY1" fmla="*/ 147128 h 144343"/>
                <a:gd name="connsiteX2" fmla="*/ 10867 w 144343"/>
                <a:gd name="connsiteY2" fmla="*/ 78997 h 144343"/>
                <a:gd name="connsiteX3" fmla="*/ 78997 w 144343"/>
                <a:gd name="connsiteY3" fmla="*/ 10867 h 144343"/>
                <a:gd name="connsiteX4" fmla="*/ 147128 w 144343"/>
                <a:gd name="connsiteY4" fmla="*/ 78997 h 14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343" h="144343">
                  <a:moveTo>
                    <a:pt x="147128" y="78997"/>
                  </a:moveTo>
                  <a:cubicBezTo>
                    <a:pt x="147128" y="116625"/>
                    <a:pt x="116625" y="147128"/>
                    <a:pt x="78997" y="147128"/>
                  </a:cubicBezTo>
                  <a:cubicBezTo>
                    <a:pt x="41370" y="147128"/>
                    <a:pt x="10867" y="116625"/>
                    <a:pt x="10867" y="78997"/>
                  </a:cubicBezTo>
                  <a:cubicBezTo>
                    <a:pt x="10867" y="41370"/>
                    <a:pt x="41370" y="10867"/>
                    <a:pt x="78997" y="10867"/>
                  </a:cubicBezTo>
                  <a:cubicBezTo>
                    <a:pt x="116625" y="10867"/>
                    <a:pt x="147128" y="41370"/>
                    <a:pt x="147128" y="78997"/>
                  </a:cubicBezTo>
                  <a:close/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EA311A1C-AABA-41C5-B1E9-64F5ABE8D2A4}"/>
                </a:ext>
              </a:extLst>
            </p:cNvPr>
            <p:cNvSpPr/>
            <p:nvPr/>
          </p:nvSpPr>
          <p:spPr>
            <a:xfrm>
              <a:off x="644159" y="5103148"/>
              <a:ext cx="360859" cy="360859"/>
            </a:xfrm>
            <a:custGeom>
              <a:avLst/>
              <a:gdLst>
                <a:gd name="connsiteX0" fmla="*/ 108299 w 360859"/>
                <a:gd name="connsiteY0" fmla="*/ 303596 h 360859"/>
                <a:gd name="connsiteX1" fmla="*/ 154922 w 360859"/>
                <a:gd name="connsiteY1" fmla="*/ 322938 h 360859"/>
                <a:gd name="connsiteX2" fmla="*/ 154922 w 360859"/>
                <a:gd name="connsiteY2" fmla="*/ 358736 h 360859"/>
                <a:gd name="connsiteX3" fmla="*/ 214681 w 360859"/>
                <a:gd name="connsiteY3" fmla="*/ 358736 h 360859"/>
                <a:gd name="connsiteX4" fmla="*/ 214681 w 360859"/>
                <a:gd name="connsiteY4" fmla="*/ 322938 h 360859"/>
                <a:gd name="connsiteX5" fmla="*/ 261304 w 360859"/>
                <a:gd name="connsiteY5" fmla="*/ 303596 h 360859"/>
                <a:gd name="connsiteX6" fmla="*/ 286708 w 360859"/>
                <a:gd name="connsiteY6" fmla="*/ 329001 h 360859"/>
                <a:gd name="connsiteX7" fmla="*/ 329001 w 360859"/>
                <a:gd name="connsiteY7" fmla="*/ 286708 h 360859"/>
                <a:gd name="connsiteX8" fmla="*/ 303596 w 360859"/>
                <a:gd name="connsiteY8" fmla="*/ 261304 h 360859"/>
                <a:gd name="connsiteX9" fmla="*/ 322938 w 360859"/>
                <a:gd name="connsiteY9" fmla="*/ 214680 h 360859"/>
                <a:gd name="connsiteX10" fmla="*/ 358736 w 360859"/>
                <a:gd name="connsiteY10" fmla="*/ 214680 h 360859"/>
                <a:gd name="connsiteX11" fmla="*/ 358736 w 360859"/>
                <a:gd name="connsiteY11" fmla="*/ 154922 h 360859"/>
                <a:gd name="connsiteX12" fmla="*/ 322938 w 360859"/>
                <a:gd name="connsiteY12" fmla="*/ 154922 h 360859"/>
                <a:gd name="connsiteX13" fmla="*/ 303596 w 360859"/>
                <a:gd name="connsiteY13" fmla="*/ 108299 h 360859"/>
                <a:gd name="connsiteX14" fmla="*/ 329001 w 360859"/>
                <a:gd name="connsiteY14" fmla="*/ 82895 h 360859"/>
                <a:gd name="connsiteX15" fmla="*/ 286708 w 360859"/>
                <a:gd name="connsiteY15" fmla="*/ 40602 h 360859"/>
                <a:gd name="connsiteX16" fmla="*/ 261304 w 360859"/>
                <a:gd name="connsiteY16" fmla="*/ 66007 h 360859"/>
                <a:gd name="connsiteX17" fmla="*/ 214681 w 360859"/>
                <a:gd name="connsiteY17" fmla="*/ 46665 h 360859"/>
                <a:gd name="connsiteX18" fmla="*/ 214681 w 360859"/>
                <a:gd name="connsiteY18" fmla="*/ 10867 h 360859"/>
                <a:gd name="connsiteX19" fmla="*/ 154922 w 360859"/>
                <a:gd name="connsiteY19" fmla="*/ 10867 h 360859"/>
                <a:gd name="connsiteX20" fmla="*/ 154922 w 360859"/>
                <a:gd name="connsiteY20" fmla="*/ 46665 h 360859"/>
                <a:gd name="connsiteX21" fmla="*/ 108299 w 360859"/>
                <a:gd name="connsiteY21" fmla="*/ 66007 h 360859"/>
                <a:gd name="connsiteX22" fmla="*/ 82895 w 360859"/>
                <a:gd name="connsiteY22" fmla="*/ 40602 h 360859"/>
                <a:gd name="connsiteX23" fmla="*/ 40602 w 360859"/>
                <a:gd name="connsiteY23" fmla="*/ 82895 h 360859"/>
                <a:gd name="connsiteX24" fmla="*/ 66007 w 360859"/>
                <a:gd name="connsiteY24" fmla="*/ 108299 h 360859"/>
                <a:gd name="connsiteX25" fmla="*/ 46664 w 360859"/>
                <a:gd name="connsiteY25" fmla="*/ 154922 h 360859"/>
                <a:gd name="connsiteX26" fmla="*/ 10867 w 360859"/>
                <a:gd name="connsiteY26" fmla="*/ 154922 h 360859"/>
                <a:gd name="connsiteX27" fmla="*/ 10867 w 360859"/>
                <a:gd name="connsiteY27" fmla="*/ 214680 h 360859"/>
                <a:gd name="connsiteX28" fmla="*/ 46664 w 360859"/>
                <a:gd name="connsiteY28" fmla="*/ 214680 h 360859"/>
                <a:gd name="connsiteX29" fmla="*/ 66007 w 360859"/>
                <a:gd name="connsiteY29" fmla="*/ 261304 h 360859"/>
                <a:gd name="connsiteX30" fmla="*/ 40602 w 360859"/>
                <a:gd name="connsiteY30" fmla="*/ 286708 h 360859"/>
                <a:gd name="connsiteX31" fmla="*/ 82895 w 360859"/>
                <a:gd name="connsiteY31" fmla="*/ 329001 h 360859"/>
                <a:gd name="connsiteX32" fmla="*/ 108299 w 360859"/>
                <a:gd name="connsiteY32" fmla="*/ 303596 h 360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0859" h="360859">
                  <a:moveTo>
                    <a:pt x="108299" y="303596"/>
                  </a:moveTo>
                  <a:cubicBezTo>
                    <a:pt x="122301" y="312690"/>
                    <a:pt x="138034" y="319330"/>
                    <a:pt x="154922" y="322938"/>
                  </a:cubicBezTo>
                  <a:lnTo>
                    <a:pt x="154922" y="358736"/>
                  </a:lnTo>
                  <a:lnTo>
                    <a:pt x="214681" y="358736"/>
                  </a:lnTo>
                  <a:lnTo>
                    <a:pt x="214681" y="322938"/>
                  </a:lnTo>
                  <a:cubicBezTo>
                    <a:pt x="231569" y="319330"/>
                    <a:pt x="247158" y="312690"/>
                    <a:pt x="261304" y="303596"/>
                  </a:cubicBezTo>
                  <a:lnTo>
                    <a:pt x="286708" y="329001"/>
                  </a:lnTo>
                  <a:lnTo>
                    <a:pt x="329001" y="286708"/>
                  </a:lnTo>
                  <a:lnTo>
                    <a:pt x="303596" y="261304"/>
                  </a:lnTo>
                  <a:cubicBezTo>
                    <a:pt x="312690" y="247302"/>
                    <a:pt x="319330" y="231569"/>
                    <a:pt x="322938" y="214680"/>
                  </a:cubicBezTo>
                  <a:lnTo>
                    <a:pt x="358736" y="214680"/>
                  </a:lnTo>
                  <a:lnTo>
                    <a:pt x="358736" y="154922"/>
                  </a:lnTo>
                  <a:lnTo>
                    <a:pt x="322938" y="154922"/>
                  </a:lnTo>
                  <a:cubicBezTo>
                    <a:pt x="319330" y="138034"/>
                    <a:pt x="312690" y="122445"/>
                    <a:pt x="303596" y="108299"/>
                  </a:cubicBezTo>
                  <a:lnTo>
                    <a:pt x="329001" y="82895"/>
                  </a:lnTo>
                  <a:lnTo>
                    <a:pt x="286708" y="40602"/>
                  </a:lnTo>
                  <a:lnTo>
                    <a:pt x="261304" y="66007"/>
                  </a:lnTo>
                  <a:cubicBezTo>
                    <a:pt x="247302" y="56913"/>
                    <a:pt x="231569" y="50273"/>
                    <a:pt x="214681" y="46665"/>
                  </a:cubicBezTo>
                  <a:lnTo>
                    <a:pt x="214681" y="10867"/>
                  </a:lnTo>
                  <a:lnTo>
                    <a:pt x="154922" y="10867"/>
                  </a:lnTo>
                  <a:lnTo>
                    <a:pt x="154922" y="46665"/>
                  </a:lnTo>
                  <a:cubicBezTo>
                    <a:pt x="138034" y="50273"/>
                    <a:pt x="122445" y="56913"/>
                    <a:pt x="108299" y="66007"/>
                  </a:cubicBezTo>
                  <a:lnTo>
                    <a:pt x="82895" y="40602"/>
                  </a:lnTo>
                  <a:lnTo>
                    <a:pt x="40602" y="82895"/>
                  </a:lnTo>
                  <a:lnTo>
                    <a:pt x="66007" y="108299"/>
                  </a:lnTo>
                  <a:cubicBezTo>
                    <a:pt x="56913" y="122301"/>
                    <a:pt x="50273" y="138034"/>
                    <a:pt x="46664" y="154922"/>
                  </a:cubicBezTo>
                  <a:lnTo>
                    <a:pt x="10867" y="154922"/>
                  </a:lnTo>
                  <a:lnTo>
                    <a:pt x="10867" y="214680"/>
                  </a:lnTo>
                  <a:lnTo>
                    <a:pt x="46664" y="214680"/>
                  </a:lnTo>
                  <a:cubicBezTo>
                    <a:pt x="50273" y="231569"/>
                    <a:pt x="56913" y="247158"/>
                    <a:pt x="66007" y="261304"/>
                  </a:cubicBezTo>
                  <a:lnTo>
                    <a:pt x="40602" y="286708"/>
                  </a:lnTo>
                  <a:lnTo>
                    <a:pt x="82895" y="329001"/>
                  </a:lnTo>
                  <a:lnTo>
                    <a:pt x="108299" y="303596"/>
                  </a:lnTo>
                  <a:close/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9D78A666-8324-4C81-94A7-D5734B3E5ECD}"/>
                </a:ext>
              </a:extLst>
            </p:cNvPr>
            <p:cNvSpPr/>
            <p:nvPr/>
          </p:nvSpPr>
          <p:spPr>
            <a:xfrm>
              <a:off x="462719" y="4887354"/>
              <a:ext cx="144344" cy="635112"/>
            </a:xfrm>
            <a:custGeom>
              <a:avLst/>
              <a:gdLst>
                <a:gd name="connsiteX0" fmla="*/ 75245 w 144343"/>
                <a:gd name="connsiteY0" fmla="*/ 147705 h 635112"/>
                <a:gd name="connsiteX1" fmla="*/ 139622 w 144343"/>
                <a:gd name="connsiteY1" fmla="*/ 79286 h 635112"/>
                <a:gd name="connsiteX2" fmla="*/ 75245 w 144343"/>
                <a:gd name="connsiteY2" fmla="*/ 10867 h 635112"/>
                <a:gd name="connsiteX3" fmla="*/ 10867 w 144343"/>
                <a:gd name="connsiteY3" fmla="*/ 79286 h 635112"/>
                <a:gd name="connsiteX4" fmla="*/ 10867 w 144343"/>
                <a:gd name="connsiteY4" fmla="*/ 637175 h 635112"/>
                <a:gd name="connsiteX5" fmla="*/ 69759 w 144343"/>
                <a:gd name="connsiteY5" fmla="*/ 637175 h 635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343" h="635112">
                  <a:moveTo>
                    <a:pt x="75245" y="147705"/>
                  </a:moveTo>
                  <a:cubicBezTo>
                    <a:pt x="110897" y="147705"/>
                    <a:pt x="139622" y="117104"/>
                    <a:pt x="139622" y="79286"/>
                  </a:cubicBezTo>
                  <a:cubicBezTo>
                    <a:pt x="139622" y="41468"/>
                    <a:pt x="110753" y="10867"/>
                    <a:pt x="75245" y="10867"/>
                  </a:cubicBezTo>
                  <a:cubicBezTo>
                    <a:pt x="39736" y="10867"/>
                    <a:pt x="10867" y="41468"/>
                    <a:pt x="10867" y="79286"/>
                  </a:cubicBezTo>
                  <a:lnTo>
                    <a:pt x="10867" y="637175"/>
                  </a:lnTo>
                  <a:lnTo>
                    <a:pt x="69759" y="637175"/>
                  </a:lnTo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5357B534-48A5-4B37-9FAB-9B306978EC42}"/>
                </a:ext>
              </a:extLst>
            </p:cNvPr>
            <p:cNvSpPr/>
            <p:nvPr/>
          </p:nvSpPr>
          <p:spPr>
            <a:xfrm>
              <a:off x="1111833" y="4887354"/>
              <a:ext cx="72172" cy="144344"/>
            </a:xfrm>
            <a:custGeom>
              <a:avLst/>
              <a:gdLst>
                <a:gd name="connsiteX0" fmla="*/ 10867 w 72171"/>
                <a:gd name="connsiteY0" fmla="*/ 10867 h 144343"/>
                <a:gd name="connsiteX1" fmla="*/ 75245 w 72171"/>
                <a:gd name="connsiteY1" fmla="*/ 79286 h 144343"/>
                <a:gd name="connsiteX2" fmla="*/ 10867 w 72171"/>
                <a:gd name="connsiteY2" fmla="*/ 147705 h 144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171" h="144343">
                  <a:moveTo>
                    <a:pt x="10867" y="10867"/>
                  </a:moveTo>
                  <a:cubicBezTo>
                    <a:pt x="46520" y="10867"/>
                    <a:pt x="75245" y="41468"/>
                    <a:pt x="75245" y="79286"/>
                  </a:cubicBezTo>
                  <a:cubicBezTo>
                    <a:pt x="75245" y="117104"/>
                    <a:pt x="46376" y="147705"/>
                    <a:pt x="10867" y="147705"/>
                  </a:cubicBezTo>
                </a:path>
              </a:pathLst>
            </a:custGeom>
            <a:noFill/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F38FDC41-4F11-496E-8F2A-31D73C344124}"/>
                </a:ext>
              </a:extLst>
            </p:cNvPr>
            <p:cNvSpPr/>
            <p:nvPr/>
          </p:nvSpPr>
          <p:spPr>
            <a:xfrm>
              <a:off x="527097" y="4887354"/>
              <a:ext cx="606244" cy="14434"/>
            </a:xfrm>
            <a:custGeom>
              <a:avLst/>
              <a:gdLst>
                <a:gd name="connsiteX0" fmla="*/ 10867 w 606243"/>
                <a:gd name="connsiteY0" fmla="*/ 10867 h 14434"/>
                <a:gd name="connsiteX1" fmla="*/ 595604 w 606243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6243" h="14434">
                  <a:moveTo>
                    <a:pt x="10867" y="10867"/>
                  </a:moveTo>
                  <a:lnTo>
                    <a:pt x="595604" y="10867"/>
                  </a:lnTo>
                </a:path>
              </a:pathLst>
            </a:custGeom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0F64FBF1-E3CF-4713-89F7-5C6202742EE0}"/>
                </a:ext>
              </a:extLst>
            </p:cNvPr>
            <p:cNvSpPr/>
            <p:nvPr/>
          </p:nvSpPr>
          <p:spPr>
            <a:xfrm>
              <a:off x="527097" y="5024192"/>
              <a:ext cx="606244" cy="14434"/>
            </a:xfrm>
            <a:custGeom>
              <a:avLst/>
              <a:gdLst>
                <a:gd name="connsiteX0" fmla="*/ 10867 w 606243"/>
                <a:gd name="connsiteY0" fmla="*/ 10867 h 14434"/>
                <a:gd name="connsiteX1" fmla="*/ 595604 w 606243"/>
                <a:gd name="connsiteY1" fmla="*/ 10867 h 14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06243" h="14434">
                  <a:moveTo>
                    <a:pt x="10867" y="10867"/>
                  </a:moveTo>
                  <a:lnTo>
                    <a:pt x="595604" y="10867"/>
                  </a:lnTo>
                </a:path>
              </a:pathLst>
            </a:custGeom>
            <a:ln w="9561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10" name="Rectangle: Rounded Corners 109">
            <a:extLst>
              <a:ext uri="{FF2B5EF4-FFF2-40B4-BE49-F238E27FC236}">
                <a16:creationId xmlns:a16="http://schemas.microsoft.com/office/drawing/2014/main" id="{0C60EECB-858A-4415-8372-4BB4611863A0}"/>
              </a:ext>
            </a:extLst>
          </p:cNvPr>
          <p:cNvSpPr/>
          <p:nvPr/>
        </p:nvSpPr>
        <p:spPr>
          <a:xfrm>
            <a:off x="9102745" y="3157432"/>
            <a:ext cx="1684535" cy="141750"/>
          </a:xfrm>
          <a:prstGeom prst="roundRect">
            <a:avLst>
              <a:gd name="adj" fmla="val 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0EC64928-1B00-4ED7-9618-103A57260D34}"/>
              </a:ext>
            </a:extLst>
          </p:cNvPr>
          <p:cNvSpPr/>
          <p:nvPr/>
        </p:nvSpPr>
        <p:spPr>
          <a:xfrm>
            <a:off x="9107399" y="2582169"/>
            <a:ext cx="861633" cy="981502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4000" spc="-244" dirty="0">
                <a:solidFill>
                  <a:srgbClr val="1BD7D3"/>
                </a:solidFill>
                <a:latin typeface="Arial" panose="020B0604020202020204" pitchFamily="34" charset="0"/>
              </a:rPr>
              <a:t>12%</a:t>
            </a:r>
            <a:endParaRPr lang="en-US" sz="4000" spc="-244" dirty="0">
              <a:solidFill>
                <a:srgbClr val="1BD7D3"/>
              </a:solidFill>
              <a:latin typeface="Arial" panose="020B0604020202020204" pitchFamily="34" charset="0"/>
            </a:endParaRPr>
          </a:p>
        </p:txBody>
      </p:sp>
      <p:sp>
        <p:nvSpPr>
          <p:cNvPr id="112" name="Rectangle: Rounded Corners 111">
            <a:extLst>
              <a:ext uri="{FF2B5EF4-FFF2-40B4-BE49-F238E27FC236}">
                <a16:creationId xmlns:a16="http://schemas.microsoft.com/office/drawing/2014/main" id="{590FC61B-C24B-41BA-A947-C6B88BD06BB7}"/>
              </a:ext>
            </a:extLst>
          </p:cNvPr>
          <p:cNvSpPr/>
          <p:nvPr/>
        </p:nvSpPr>
        <p:spPr>
          <a:xfrm>
            <a:off x="9102744" y="3139620"/>
            <a:ext cx="1684535" cy="4557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t">
            <a:noAutofit/>
          </a:bodyPr>
          <a:lstStyle/>
          <a:p>
            <a:pPr algn="ctr"/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ухгалтерия</a:t>
            </a:r>
          </a:p>
        </p:txBody>
      </p: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05E68D6-ED79-4424-8E03-0043C3992BE9}"/>
              </a:ext>
            </a:extLst>
          </p:cNvPr>
          <p:cNvGrpSpPr/>
          <p:nvPr/>
        </p:nvGrpSpPr>
        <p:grpSpPr>
          <a:xfrm>
            <a:off x="10177834" y="2560826"/>
            <a:ext cx="406297" cy="585546"/>
            <a:chOff x="5848933" y="2396203"/>
            <a:chExt cx="406297" cy="585546"/>
          </a:xfrm>
        </p:grpSpPr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04301C96-9A34-4D63-9A4F-53B49BA21F41}"/>
                </a:ext>
              </a:extLst>
            </p:cNvPr>
            <p:cNvSpPr/>
            <p:nvPr/>
          </p:nvSpPr>
          <p:spPr>
            <a:xfrm>
              <a:off x="5848933" y="2396203"/>
              <a:ext cx="406297" cy="585546"/>
            </a:xfrm>
            <a:custGeom>
              <a:avLst/>
              <a:gdLst>
                <a:gd name="connsiteX0" fmla="*/ 335042 w 406297"/>
                <a:gd name="connsiteY0" fmla="*/ 9526 h 585546"/>
                <a:gd name="connsiteX1" fmla="*/ 81823 w 406297"/>
                <a:gd name="connsiteY1" fmla="*/ 9526 h 585546"/>
                <a:gd name="connsiteX2" fmla="*/ 9526 w 406297"/>
                <a:gd name="connsiteY2" fmla="*/ 81823 h 585546"/>
                <a:gd name="connsiteX3" fmla="*/ 9526 w 406297"/>
                <a:gd name="connsiteY3" fmla="*/ 513215 h 585546"/>
                <a:gd name="connsiteX4" fmla="*/ 81823 w 406297"/>
                <a:gd name="connsiteY4" fmla="*/ 585512 h 585546"/>
                <a:gd name="connsiteX5" fmla="*/ 335042 w 406297"/>
                <a:gd name="connsiteY5" fmla="*/ 585512 h 585546"/>
                <a:gd name="connsiteX6" fmla="*/ 407339 w 406297"/>
                <a:gd name="connsiteY6" fmla="*/ 513215 h 585546"/>
                <a:gd name="connsiteX7" fmla="*/ 407339 w 406297"/>
                <a:gd name="connsiteY7" fmla="*/ 81823 h 585546"/>
                <a:gd name="connsiteX8" fmla="*/ 335042 w 406297"/>
                <a:gd name="connsiteY8" fmla="*/ 9526 h 585546"/>
                <a:gd name="connsiteX9" fmla="*/ 335042 w 406297"/>
                <a:gd name="connsiteY9" fmla="*/ 9526 h 58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6297" h="585546">
                  <a:moveTo>
                    <a:pt x="335042" y="9526"/>
                  </a:moveTo>
                  <a:lnTo>
                    <a:pt x="81823" y="9526"/>
                  </a:lnTo>
                  <a:cubicBezTo>
                    <a:pt x="42030" y="9526"/>
                    <a:pt x="9526" y="41910"/>
                    <a:pt x="9526" y="81823"/>
                  </a:cubicBezTo>
                  <a:lnTo>
                    <a:pt x="9526" y="513215"/>
                  </a:lnTo>
                  <a:cubicBezTo>
                    <a:pt x="9526" y="553008"/>
                    <a:pt x="41910" y="585512"/>
                    <a:pt x="81823" y="585512"/>
                  </a:cubicBezTo>
                  <a:lnTo>
                    <a:pt x="335042" y="585512"/>
                  </a:lnTo>
                  <a:cubicBezTo>
                    <a:pt x="374954" y="585512"/>
                    <a:pt x="407339" y="553128"/>
                    <a:pt x="407339" y="513215"/>
                  </a:cubicBezTo>
                  <a:lnTo>
                    <a:pt x="407339" y="81823"/>
                  </a:lnTo>
                  <a:cubicBezTo>
                    <a:pt x="407339" y="42030"/>
                    <a:pt x="374954" y="9526"/>
                    <a:pt x="335042" y="9526"/>
                  </a:cubicBezTo>
                  <a:lnTo>
                    <a:pt x="335042" y="9526"/>
                  </a:lnTo>
                  <a:close/>
                </a:path>
              </a:pathLst>
            </a:custGeom>
            <a:noFill/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9C8FA863-E43C-48BE-921D-DAE8FEEE23DF}"/>
                </a:ext>
              </a:extLst>
            </p:cNvPr>
            <p:cNvSpPr/>
            <p:nvPr/>
          </p:nvSpPr>
          <p:spPr>
            <a:xfrm>
              <a:off x="5894940" y="2440657"/>
              <a:ext cx="322648" cy="131449"/>
            </a:xfrm>
            <a:custGeom>
              <a:avLst/>
              <a:gdLst>
                <a:gd name="connsiteX0" fmla="*/ 282940 w 322647"/>
                <a:gd name="connsiteY0" fmla="*/ 9526 h 131449"/>
                <a:gd name="connsiteX1" fmla="*/ 41910 w 322647"/>
                <a:gd name="connsiteY1" fmla="*/ 9526 h 131449"/>
                <a:gd name="connsiteX2" fmla="*/ 9526 w 322647"/>
                <a:gd name="connsiteY2" fmla="*/ 41910 h 131449"/>
                <a:gd name="connsiteX3" fmla="*/ 9526 w 322647"/>
                <a:gd name="connsiteY3" fmla="*/ 133327 h 131449"/>
                <a:gd name="connsiteX4" fmla="*/ 315444 w 322647"/>
                <a:gd name="connsiteY4" fmla="*/ 133327 h 131449"/>
                <a:gd name="connsiteX5" fmla="*/ 315444 w 322647"/>
                <a:gd name="connsiteY5" fmla="*/ 41910 h 131449"/>
                <a:gd name="connsiteX6" fmla="*/ 282940 w 322647"/>
                <a:gd name="connsiteY6" fmla="*/ 9526 h 13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2647" h="131449">
                  <a:moveTo>
                    <a:pt x="282940" y="9526"/>
                  </a:moveTo>
                  <a:lnTo>
                    <a:pt x="41910" y="9526"/>
                  </a:lnTo>
                  <a:cubicBezTo>
                    <a:pt x="23985" y="9526"/>
                    <a:pt x="9526" y="23985"/>
                    <a:pt x="9526" y="41910"/>
                  </a:cubicBezTo>
                  <a:lnTo>
                    <a:pt x="9526" y="133327"/>
                  </a:lnTo>
                  <a:lnTo>
                    <a:pt x="315444" y="133327"/>
                  </a:lnTo>
                  <a:lnTo>
                    <a:pt x="315444" y="41910"/>
                  </a:lnTo>
                  <a:cubicBezTo>
                    <a:pt x="315444" y="23985"/>
                    <a:pt x="300984" y="9526"/>
                    <a:pt x="282940" y="9526"/>
                  </a:cubicBezTo>
                  <a:close/>
                </a:path>
              </a:pathLst>
            </a:custGeom>
            <a:noFill/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244B356C-6A81-44CC-A35D-67A7321E9113}"/>
                </a:ext>
              </a:extLst>
            </p:cNvPr>
            <p:cNvSpPr/>
            <p:nvPr/>
          </p:nvSpPr>
          <p:spPr>
            <a:xfrm>
              <a:off x="5914897" y="2701285"/>
              <a:ext cx="107549" cy="11950"/>
            </a:xfrm>
            <a:custGeom>
              <a:avLst/>
              <a:gdLst>
                <a:gd name="connsiteX0" fmla="*/ 9526 w 107549"/>
                <a:gd name="connsiteY0" fmla="*/ 9526 h 11949"/>
                <a:gd name="connsiteX1" fmla="*/ 104289 w 107549"/>
                <a:gd name="connsiteY1" fmla="*/ 9526 h 11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549" h="11949">
                  <a:moveTo>
                    <a:pt x="9526" y="9526"/>
                  </a:moveTo>
                  <a:lnTo>
                    <a:pt x="104289" y="9526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F317E01D-6116-4E06-AC16-6AE92D84D0C9}"/>
                </a:ext>
              </a:extLst>
            </p:cNvPr>
            <p:cNvSpPr/>
            <p:nvPr/>
          </p:nvSpPr>
          <p:spPr>
            <a:xfrm>
              <a:off x="6086019" y="2701285"/>
              <a:ext cx="107549" cy="11950"/>
            </a:xfrm>
            <a:custGeom>
              <a:avLst/>
              <a:gdLst>
                <a:gd name="connsiteX0" fmla="*/ 9526 w 107549"/>
                <a:gd name="connsiteY0" fmla="*/ 9526 h 11949"/>
                <a:gd name="connsiteX1" fmla="*/ 104289 w 107549"/>
                <a:gd name="connsiteY1" fmla="*/ 9526 h 11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549" h="11949">
                  <a:moveTo>
                    <a:pt x="9526" y="9526"/>
                  </a:moveTo>
                  <a:lnTo>
                    <a:pt x="104289" y="9526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1D97A985-1801-4F42-A15A-460F1A987D9D}"/>
                </a:ext>
              </a:extLst>
            </p:cNvPr>
            <p:cNvSpPr/>
            <p:nvPr/>
          </p:nvSpPr>
          <p:spPr>
            <a:xfrm>
              <a:off x="5962338" y="2653844"/>
              <a:ext cx="11950" cy="107549"/>
            </a:xfrm>
            <a:custGeom>
              <a:avLst/>
              <a:gdLst>
                <a:gd name="connsiteX0" fmla="*/ 9526 w 11949"/>
                <a:gd name="connsiteY0" fmla="*/ 9526 h 107549"/>
                <a:gd name="connsiteX1" fmla="*/ 9526 w 11949"/>
                <a:gd name="connsiteY1" fmla="*/ 104289 h 107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9" h="107549">
                  <a:moveTo>
                    <a:pt x="9526" y="9526"/>
                  </a:moveTo>
                  <a:lnTo>
                    <a:pt x="9526" y="104289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32750CC2-59F5-43B9-95C2-8658A5A314A5}"/>
                </a:ext>
              </a:extLst>
            </p:cNvPr>
            <p:cNvSpPr/>
            <p:nvPr/>
          </p:nvSpPr>
          <p:spPr>
            <a:xfrm>
              <a:off x="5928758" y="2806564"/>
              <a:ext cx="83649" cy="83649"/>
            </a:xfrm>
            <a:custGeom>
              <a:avLst/>
              <a:gdLst>
                <a:gd name="connsiteX0" fmla="*/ 9526 w 83649"/>
                <a:gd name="connsiteY0" fmla="*/ 9526 h 83649"/>
                <a:gd name="connsiteX1" fmla="*/ 76565 w 83649"/>
                <a:gd name="connsiteY1" fmla="*/ 76565 h 83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649" h="83649">
                  <a:moveTo>
                    <a:pt x="9526" y="9526"/>
                  </a:moveTo>
                  <a:lnTo>
                    <a:pt x="76565" y="76565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76A5AAB2-9866-4E3A-8440-C364126BAFBD}"/>
                </a:ext>
              </a:extLst>
            </p:cNvPr>
            <p:cNvSpPr/>
            <p:nvPr/>
          </p:nvSpPr>
          <p:spPr>
            <a:xfrm>
              <a:off x="5928758" y="2806564"/>
              <a:ext cx="83649" cy="83649"/>
            </a:xfrm>
            <a:custGeom>
              <a:avLst/>
              <a:gdLst>
                <a:gd name="connsiteX0" fmla="*/ 76565 w 83649"/>
                <a:gd name="connsiteY0" fmla="*/ 9526 h 83649"/>
                <a:gd name="connsiteX1" fmla="*/ 9526 w 83649"/>
                <a:gd name="connsiteY1" fmla="*/ 76565 h 83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649" h="83649">
                  <a:moveTo>
                    <a:pt x="76565" y="9526"/>
                  </a:moveTo>
                  <a:lnTo>
                    <a:pt x="9526" y="76565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C6C43261-D465-4CB1-894F-FF8B15A11DBA}"/>
                </a:ext>
              </a:extLst>
            </p:cNvPr>
            <p:cNvSpPr/>
            <p:nvPr/>
          </p:nvSpPr>
          <p:spPr>
            <a:xfrm>
              <a:off x="6160826" y="2867508"/>
              <a:ext cx="23900" cy="23900"/>
            </a:xfrm>
            <a:custGeom>
              <a:avLst/>
              <a:gdLst>
                <a:gd name="connsiteX0" fmla="*/ 9526 w 23899"/>
                <a:gd name="connsiteY0" fmla="*/ 9526 h 23899"/>
                <a:gd name="connsiteX1" fmla="*/ 15620 w 23899"/>
                <a:gd name="connsiteY1" fmla="*/ 15620 h 23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99" h="23899">
                  <a:moveTo>
                    <a:pt x="9526" y="9526"/>
                  </a:moveTo>
                  <a:lnTo>
                    <a:pt x="15620" y="15620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3D4F5330-425E-40BD-A835-F99204D955BE}"/>
                </a:ext>
              </a:extLst>
            </p:cNvPr>
            <p:cNvSpPr/>
            <p:nvPr/>
          </p:nvSpPr>
          <p:spPr>
            <a:xfrm>
              <a:off x="6099881" y="2806564"/>
              <a:ext cx="23900" cy="23900"/>
            </a:xfrm>
            <a:custGeom>
              <a:avLst/>
              <a:gdLst>
                <a:gd name="connsiteX0" fmla="*/ 9526 w 23899"/>
                <a:gd name="connsiteY0" fmla="*/ 9526 h 23899"/>
                <a:gd name="connsiteX1" fmla="*/ 17532 w 23899"/>
                <a:gd name="connsiteY1" fmla="*/ 17532 h 23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899" h="23899">
                  <a:moveTo>
                    <a:pt x="9526" y="9526"/>
                  </a:moveTo>
                  <a:lnTo>
                    <a:pt x="17532" y="17532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655F2F5D-C2EA-47AF-8D49-CEB4F3C13832}"/>
                </a:ext>
              </a:extLst>
            </p:cNvPr>
            <p:cNvSpPr/>
            <p:nvPr/>
          </p:nvSpPr>
          <p:spPr>
            <a:xfrm>
              <a:off x="6099881" y="2806564"/>
              <a:ext cx="83649" cy="83649"/>
            </a:xfrm>
            <a:custGeom>
              <a:avLst/>
              <a:gdLst>
                <a:gd name="connsiteX0" fmla="*/ 76565 w 83649"/>
                <a:gd name="connsiteY0" fmla="*/ 9526 h 83649"/>
                <a:gd name="connsiteX1" fmla="*/ 9526 w 83649"/>
                <a:gd name="connsiteY1" fmla="*/ 76565 h 83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649" h="83649">
                  <a:moveTo>
                    <a:pt x="76565" y="9526"/>
                  </a:moveTo>
                  <a:lnTo>
                    <a:pt x="9526" y="76565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34" name="Rectangle: Rounded Corners 133">
            <a:extLst>
              <a:ext uri="{FF2B5EF4-FFF2-40B4-BE49-F238E27FC236}">
                <a16:creationId xmlns:a16="http://schemas.microsoft.com/office/drawing/2014/main" id="{149F689B-A741-40F4-8DF8-77057AE7E2EB}"/>
              </a:ext>
            </a:extLst>
          </p:cNvPr>
          <p:cNvSpPr/>
          <p:nvPr/>
        </p:nvSpPr>
        <p:spPr>
          <a:xfrm>
            <a:off x="7086294" y="4191869"/>
            <a:ext cx="1684535" cy="141750"/>
          </a:xfrm>
          <a:prstGeom prst="roundRect">
            <a:avLst>
              <a:gd name="adj" fmla="val 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7472C6DB-E072-48C4-8694-F206325AE364}"/>
              </a:ext>
            </a:extLst>
          </p:cNvPr>
          <p:cNvSpPr/>
          <p:nvPr/>
        </p:nvSpPr>
        <p:spPr>
          <a:xfrm>
            <a:off x="7090948" y="3616606"/>
            <a:ext cx="861633" cy="981502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4000" spc="-244" dirty="0">
                <a:solidFill>
                  <a:srgbClr val="1BD7D3"/>
                </a:solidFill>
                <a:latin typeface="Arial" panose="020B0604020202020204" pitchFamily="34" charset="0"/>
              </a:rPr>
              <a:t>11%</a:t>
            </a:r>
            <a:endParaRPr lang="en-US" sz="4000" spc="-244" dirty="0">
              <a:solidFill>
                <a:srgbClr val="1BD7D3"/>
              </a:solidFill>
              <a:latin typeface="Arial" panose="020B0604020202020204" pitchFamily="34" charset="0"/>
            </a:endParaRPr>
          </a:p>
        </p:txBody>
      </p: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6E4ED55A-ED2D-4462-927F-AB47C0A3C343}"/>
              </a:ext>
            </a:extLst>
          </p:cNvPr>
          <p:cNvSpPr/>
          <p:nvPr/>
        </p:nvSpPr>
        <p:spPr>
          <a:xfrm>
            <a:off x="7086293" y="4174057"/>
            <a:ext cx="1684535" cy="4557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t">
            <a:noAutofit/>
          </a:bodyPr>
          <a:lstStyle/>
          <a:p>
            <a:pPr algn="ctr"/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аҳбарлар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/ </a:t>
            </a:r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юқори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аҳбарият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</a:p>
        </p:txBody>
      </p: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01576351-3F4E-4043-B049-11F8BC1D0E7A}"/>
              </a:ext>
            </a:extLst>
          </p:cNvPr>
          <p:cNvSpPr/>
          <p:nvPr/>
        </p:nvSpPr>
        <p:spPr>
          <a:xfrm>
            <a:off x="9102745" y="4191869"/>
            <a:ext cx="1684535" cy="141750"/>
          </a:xfrm>
          <a:prstGeom prst="roundRect">
            <a:avLst>
              <a:gd name="adj" fmla="val 0"/>
            </a:avLst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9B56617A-215A-4262-BE52-4943146993A9}"/>
              </a:ext>
            </a:extLst>
          </p:cNvPr>
          <p:cNvSpPr/>
          <p:nvPr/>
        </p:nvSpPr>
        <p:spPr>
          <a:xfrm>
            <a:off x="9107399" y="3616606"/>
            <a:ext cx="861633" cy="981502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4000" spc="-244" dirty="0">
                <a:solidFill>
                  <a:srgbClr val="1BD7D3"/>
                </a:solidFill>
                <a:latin typeface="Arial" panose="020B0604020202020204" pitchFamily="34" charset="0"/>
              </a:rPr>
              <a:t>11%</a:t>
            </a:r>
            <a:endParaRPr lang="en-US" sz="4000" spc="-244" dirty="0">
              <a:solidFill>
                <a:srgbClr val="1BD7D3"/>
              </a:solidFill>
              <a:latin typeface="Arial" panose="020B0604020202020204" pitchFamily="34" charset="0"/>
            </a:endParaRPr>
          </a:p>
        </p:txBody>
      </p:sp>
      <p:sp>
        <p:nvSpPr>
          <p:cNvPr id="161" name="Rectangle: Rounded Corners 160">
            <a:extLst>
              <a:ext uri="{FF2B5EF4-FFF2-40B4-BE49-F238E27FC236}">
                <a16:creationId xmlns:a16="http://schemas.microsoft.com/office/drawing/2014/main" id="{9A4A5DA4-0244-47FC-BD76-55E2D3C5AF8D}"/>
              </a:ext>
            </a:extLst>
          </p:cNvPr>
          <p:cNvSpPr/>
          <p:nvPr/>
        </p:nvSpPr>
        <p:spPr>
          <a:xfrm>
            <a:off x="9089264" y="4174057"/>
            <a:ext cx="1684535" cy="4557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t">
            <a:noAutofit/>
          </a:bodyPr>
          <a:lstStyle/>
          <a:p>
            <a:pPr algn="ctr"/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отувлар</a:t>
            </a:r>
            <a:endParaRPr lang="ru-RU" sz="1200" b="1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BDADD1C4-2824-4C23-9B14-E2642DF68C16}"/>
              </a:ext>
            </a:extLst>
          </p:cNvPr>
          <p:cNvGrpSpPr/>
          <p:nvPr/>
        </p:nvGrpSpPr>
        <p:grpSpPr>
          <a:xfrm>
            <a:off x="8037813" y="3618310"/>
            <a:ext cx="733014" cy="576078"/>
            <a:chOff x="3828532" y="1313006"/>
            <a:chExt cx="733014" cy="576078"/>
          </a:xfrm>
        </p:grpSpPr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31385B64-092F-4A06-BAA8-E7B2318A9384}"/>
                </a:ext>
              </a:extLst>
            </p:cNvPr>
            <p:cNvSpPr/>
            <p:nvPr/>
          </p:nvSpPr>
          <p:spPr>
            <a:xfrm>
              <a:off x="3828532" y="1313006"/>
              <a:ext cx="384052" cy="576078"/>
            </a:xfrm>
            <a:custGeom>
              <a:avLst/>
              <a:gdLst>
                <a:gd name="connsiteX0" fmla="*/ 294011 w 384052"/>
                <a:gd name="connsiteY0" fmla="*/ 103579 h 576078"/>
                <a:gd name="connsiteX1" fmla="*/ 277476 w 384052"/>
                <a:gd name="connsiteY1" fmla="*/ 208019 h 576078"/>
                <a:gd name="connsiteX2" fmla="*/ 254432 w 384052"/>
                <a:gd name="connsiteY2" fmla="*/ 265734 h 576078"/>
                <a:gd name="connsiteX3" fmla="*/ 277476 w 384052"/>
                <a:gd name="connsiteY3" fmla="*/ 300299 h 576078"/>
                <a:gd name="connsiteX4" fmla="*/ 353433 w 384052"/>
                <a:gd name="connsiteY4" fmla="*/ 343611 h 576078"/>
                <a:gd name="connsiteX5" fmla="*/ 381277 w 384052"/>
                <a:gd name="connsiteY5" fmla="*/ 392578 h 576078"/>
                <a:gd name="connsiteX6" fmla="*/ 377436 w 384052"/>
                <a:gd name="connsiteY6" fmla="*/ 415621 h 576078"/>
                <a:gd name="connsiteX7" fmla="*/ 350979 w 384052"/>
                <a:gd name="connsiteY7" fmla="*/ 507900 h 576078"/>
                <a:gd name="connsiteX8" fmla="*/ 307666 w 384052"/>
                <a:gd name="connsiteY8" fmla="*/ 554093 h 576078"/>
                <a:gd name="connsiteX9" fmla="*/ 196611 w 384052"/>
                <a:gd name="connsiteY9" fmla="*/ 565615 h 576078"/>
                <a:gd name="connsiteX10" fmla="*/ 85556 w 384052"/>
                <a:gd name="connsiteY10" fmla="*/ 554093 h 576078"/>
                <a:gd name="connsiteX11" fmla="*/ 42244 w 384052"/>
                <a:gd name="connsiteY11" fmla="*/ 507900 h 576078"/>
                <a:gd name="connsiteX12" fmla="*/ 15787 w 384052"/>
                <a:gd name="connsiteY12" fmla="*/ 415621 h 576078"/>
                <a:gd name="connsiteX13" fmla="*/ 11946 w 384052"/>
                <a:gd name="connsiteY13" fmla="*/ 392578 h 576078"/>
                <a:gd name="connsiteX14" fmla="*/ 39790 w 384052"/>
                <a:gd name="connsiteY14" fmla="*/ 343611 h 576078"/>
                <a:gd name="connsiteX15" fmla="*/ 115747 w 384052"/>
                <a:gd name="connsiteY15" fmla="*/ 300299 h 576078"/>
                <a:gd name="connsiteX16" fmla="*/ 138790 w 384052"/>
                <a:gd name="connsiteY16" fmla="*/ 265734 h 576078"/>
                <a:gd name="connsiteX17" fmla="*/ 115747 w 384052"/>
                <a:gd name="connsiteY17" fmla="*/ 208019 h 576078"/>
                <a:gd name="connsiteX18" fmla="*/ 92704 w 384052"/>
                <a:gd name="connsiteY18" fmla="*/ 115740 h 576078"/>
                <a:gd name="connsiteX19" fmla="*/ 196505 w 384052"/>
                <a:gd name="connsiteY19" fmla="*/ 11939 h 576078"/>
                <a:gd name="connsiteX20" fmla="*/ 323348 w 384052"/>
                <a:gd name="connsiteY20" fmla="*/ 23461 h 576078"/>
                <a:gd name="connsiteX21" fmla="*/ 253899 w 384052"/>
                <a:gd name="connsiteY21" fmla="*/ 121074 h 576078"/>
                <a:gd name="connsiteX22" fmla="*/ 161833 w 384052"/>
                <a:gd name="connsiteY22" fmla="*/ 104219 h 57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84052" h="576078">
                  <a:moveTo>
                    <a:pt x="294011" y="103579"/>
                  </a:moveTo>
                  <a:cubicBezTo>
                    <a:pt x="315134" y="117980"/>
                    <a:pt x="337857" y="178789"/>
                    <a:pt x="277476" y="208019"/>
                  </a:cubicBezTo>
                  <a:cubicBezTo>
                    <a:pt x="277476" y="208019"/>
                    <a:pt x="271715" y="246958"/>
                    <a:pt x="254432" y="265734"/>
                  </a:cubicBezTo>
                  <a:cubicBezTo>
                    <a:pt x="254432" y="288777"/>
                    <a:pt x="268088" y="295818"/>
                    <a:pt x="277476" y="300299"/>
                  </a:cubicBezTo>
                  <a:cubicBezTo>
                    <a:pt x="297959" y="310113"/>
                    <a:pt x="333803" y="328249"/>
                    <a:pt x="353433" y="343611"/>
                  </a:cubicBezTo>
                  <a:cubicBezTo>
                    <a:pt x="368048" y="355026"/>
                    <a:pt x="380850" y="370601"/>
                    <a:pt x="381277" y="392578"/>
                  </a:cubicBezTo>
                  <a:cubicBezTo>
                    <a:pt x="381383" y="399619"/>
                    <a:pt x="380210" y="407300"/>
                    <a:pt x="377436" y="415621"/>
                  </a:cubicBezTo>
                  <a:cubicBezTo>
                    <a:pt x="377436" y="415621"/>
                    <a:pt x="353753" y="499366"/>
                    <a:pt x="350979" y="507900"/>
                  </a:cubicBezTo>
                  <a:cubicBezTo>
                    <a:pt x="347565" y="518462"/>
                    <a:pt x="335297" y="544705"/>
                    <a:pt x="307666" y="554093"/>
                  </a:cubicBezTo>
                  <a:cubicBezTo>
                    <a:pt x="285263" y="561774"/>
                    <a:pt x="253579" y="565615"/>
                    <a:pt x="196611" y="565615"/>
                  </a:cubicBezTo>
                  <a:cubicBezTo>
                    <a:pt x="139643" y="565615"/>
                    <a:pt x="108066" y="561774"/>
                    <a:pt x="85556" y="554093"/>
                  </a:cubicBezTo>
                  <a:cubicBezTo>
                    <a:pt x="57926" y="544598"/>
                    <a:pt x="45657" y="518462"/>
                    <a:pt x="42244" y="507900"/>
                  </a:cubicBezTo>
                  <a:cubicBezTo>
                    <a:pt x="39470" y="499366"/>
                    <a:pt x="15787" y="415621"/>
                    <a:pt x="15787" y="415621"/>
                  </a:cubicBezTo>
                  <a:cubicBezTo>
                    <a:pt x="13013" y="407193"/>
                    <a:pt x="11840" y="399619"/>
                    <a:pt x="11946" y="392578"/>
                  </a:cubicBezTo>
                  <a:cubicBezTo>
                    <a:pt x="12266" y="370601"/>
                    <a:pt x="25175" y="355026"/>
                    <a:pt x="39790" y="343611"/>
                  </a:cubicBezTo>
                  <a:cubicBezTo>
                    <a:pt x="59419" y="328249"/>
                    <a:pt x="95264" y="310113"/>
                    <a:pt x="115747" y="300299"/>
                  </a:cubicBezTo>
                  <a:cubicBezTo>
                    <a:pt x="125135" y="295818"/>
                    <a:pt x="138790" y="288777"/>
                    <a:pt x="138790" y="265734"/>
                  </a:cubicBezTo>
                  <a:cubicBezTo>
                    <a:pt x="121401" y="246958"/>
                    <a:pt x="115747" y="208019"/>
                    <a:pt x="115747" y="208019"/>
                  </a:cubicBezTo>
                  <a:cubicBezTo>
                    <a:pt x="54192" y="178255"/>
                    <a:pt x="80222" y="123848"/>
                    <a:pt x="92704" y="115740"/>
                  </a:cubicBezTo>
                  <a:cubicBezTo>
                    <a:pt x="92704" y="88643"/>
                    <a:pt x="92597" y="11939"/>
                    <a:pt x="196505" y="11939"/>
                  </a:cubicBezTo>
                  <a:cubicBezTo>
                    <a:pt x="261260" y="11939"/>
                    <a:pt x="265741" y="34983"/>
                    <a:pt x="323348" y="23461"/>
                  </a:cubicBezTo>
                  <a:cubicBezTo>
                    <a:pt x="323348" y="23461"/>
                    <a:pt x="330496" y="108699"/>
                    <a:pt x="253899" y="121074"/>
                  </a:cubicBezTo>
                  <a:cubicBezTo>
                    <a:pt x="184983" y="132276"/>
                    <a:pt x="161833" y="104219"/>
                    <a:pt x="161833" y="104219"/>
                  </a:cubicBezTo>
                </a:path>
              </a:pathLst>
            </a:custGeom>
            <a:noFill/>
            <a:ln w="14213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D2E5BB16-4EC1-4CCE-B679-47A45E26240F}"/>
                </a:ext>
              </a:extLst>
            </p:cNvPr>
            <p:cNvSpPr/>
            <p:nvPr/>
          </p:nvSpPr>
          <p:spPr>
            <a:xfrm>
              <a:off x="4186455" y="1416700"/>
              <a:ext cx="330712" cy="384052"/>
            </a:xfrm>
            <a:custGeom>
              <a:avLst/>
              <a:gdLst>
                <a:gd name="connsiteX0" fmla="*/ 11939 w 330711"/>
                <a:gd name="connsiteY0" fmla="*/ 11939 h 384052"/>
                <a:gd name="connsiteX1" fmla="*/ 323342 w 330711"/>
                <a:gd name="connsiteY1" fmla="*/ 11939 h 384052"/>
                <a:gd name="connsiteX2" fmla="*/ 323342 w 330711"/>
                <a:gd name="connsiteY2" fmla="*/ 381163 h 384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30711" h="384052">
                  <a:moveTo>
                    <a:pt x="11939" y="11939"/>
                  </a:moveTo>
                  <a:lnTo>
                    <a:pt x="323342" y="11939"/>
                  </a:lnTo>
                  <a:lnTo>
                    <a:pt x="323342" y="381163"/>
                  </a:lnTo>
                </a:path>
              </a:pathLst>
            </a:custGeom>
            <a:noFill/>
            <a:ln w="14213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EE86E277-5999-49FF-88A6-453D6C5BF56E}"/>
                </a:ext>
              </a:extLst>
            </p:cNvPr>
            <p:cNvSpPr/>
            <p:nvPr/>
          </p:nvSpPr>
          <p:spPr>
            <a:xfrm>
              <a:off x="4267105" y="1520501"/>
              <a:ext cx="106681" cy="106681"/>
            </a:xfrm>
            <a:custGeom>
              <a:avLst/>
              <a:gdLst>
                <a:gd name="connsiteX0" fmla="*/ 104325 w 106681"/>
                <a:gd name="connsiteY0" fmla="*/ 58132 h 106681"/>
                <a:gd name="connsiteX1" fmla="*/ 58133 w 106681"/>
                <a:gd name="connsiteY1" fmla="*/ 104325 h 106681"/>
                <a:gd name="connsiteX2" fmla="*/ 11940 w 106681"/>
                <a:gd name="connsiteY2" fmla="*/ 58132 h 106681"/>
                <a:gd name="connsiteX3" fmla="*/ 58133 w 106681"/>
                <a:gd name="connsiteY3" fmla="*/ 11939 h 106681"/>
                <a:gd name="connsiteX4" fmla="*/ 104325 w 106681"/>
                <a:gd name="connsiteY4" fmla="*/ 58132 h 106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6681" h="106681">
                  <a:moveTo>
                    <a:pt x="104325" y="58132"/>
                  </a:moveTo>
                  <a:cubicBezTo>
                    <a:pt x="104325" y="83644"/>
                    <a:pt x="83644" y="104325"/>
                    <a:pt x="58133" y="104325"/>
                  </a:cubicBezTo>
                  <a:cubicBezTo>
                    <a:pt x="32621" y="104325"/>
                    <a:pt x="11940" y="83644"/>
                    <a:pt x="11940" y="58132"/>
                  </a:cubicBezTo>
                  <a:cubicBezTo>
                    <a:pt x="11940" y="32621"/>
                    <a:pt x="32621" y="11939"/>
                    <a:pt x="58133" y="11939"/>
                  </a:cubicBezTo>
                  <a:cubicBezTo>
                    <a:pt x="83644" y="11939"/>
                    <a:pt x="104325" y="32621"/>
                    <a:pt x="104325" y="58132"/>
                  </a:cubicBezTo>
                  <a:close/>
                </a:path>
              </a:pathLst>
            </a:custGeom>
            <a:noFill/>
            <a:ln w="14213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74DBC950-6199-4858-8BC1-9E4E7BEBCDDF}"/>
                </a:ext>
              </a:extLst>
            </p:cNvPr>
            <p:cNvSpPr/>
            <p:nvPr/>
          </p:nvSpPr>
          <p:spPr>
            <a:xfrm>
              <a:off x="4209498" y="1785924"/>
              <a:ext cx="352048" cy="85345"/>
            </a:xfrm>
            <a:custGeom>
              <a:avLst/>
              <a:gdLst>
                <a:gd name="connsiteX0" fmla="*/ 34983 w 352047"/>
                <a:gd name="connsiteY0" fmla="*/ 11939 h 85344"/>
                <a:gd name="connsiteX1" fmla="*/ 346385 w 352047"/>
                <a:gd name="connsiteY1" fmla="*/ 11939 h 85344"/>
                <a:gd name="connsiteX2" fmla="*/ 346385 w 352047"/>
                <a:gd name="connsiteY2" fmla="*/ 46504 h 85344"/>
                <a:gd name="connsiteX3" fmla="*/ 311820 w 352047"/>
                <a:gd name="connsiteY3" fmla="*/ 81069 h 85344"/>
                <a:gd name="connsiteX4" fmla="*/ 11939 w 352047"/>
                <a:gd name="connsiteY4" fmla="*/ 81069 h 8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047" h="85344">
                  <a:moveTo>
                    <a:pt x="34983" y="11939"/>
                  </a:moveTo>
                  <a:lnTo>
                    <a:pt x="346385" y="11939"/>
                  </a:lnTo>
                  <a:lnTo>
                    <a:pt x="346385" y="46504"/>
                  </a:lnTo>
                  <a:cubicBezTo>
                    <a:pt x="346385" y="65493"/>
                    <a:pt x="330809" y="81069"/>
                    <a:pt x="311820" y="81069"/>
                  </a:cubicBezTo>
                  <a:lnTo>
                    <a:pt x="11939" y="81069"/>
                  </a:lnTo>
                </a:path>
              </a:pathLst>
            </a:custGeom>
            <a:noFill/>
            <a:ln w="14213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4FE61EBD-799A-41D2-99B5-2634A37746CF}"/>
                </a:ext>
              </a:extLst>
            </p:cNvPr>
            <p:cNvSpPr/>
            <p:nvPr/>
          </p:nvSpPr>
          <p:spPr>
            <a:xfrm>
              <a:off x="4255584" y="1658973"/>
              <a:ext cx="170690" cy="85345"/>
            </a:xfrm>
            <a:custGeom>
              <a:avLst/>
              <a:gdLst>
                <a:gd name="connsiteX0" fmla="*/ 11939 w 170689"/>
                <a:gd name="connsiteY0" fmla="*/ 11939 h 85344"/>
                <a:gd name="connsiteX1" fmla="*/ 127262 w 170689"/>
                <a:gd name="connsiteY1" fmla="*/ 11939 h 85344"/>
                <a:gd name="connsiteX2" fmla="*/ 161827 w 170689"/>
                <a:gd name="connsiteY2" fmla="*/ 46504 h 85344"/>
                <a:gd name="connsiteX3" fmla="*/ 161827 w 170689"/>
                <a:gd name="connsiteY3" fmla="*/ 81069 h 85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0689" h="85344">
                  <a:moveTo>
                    <a:pt x="11939" y="11939"/>
                  </a:moveTo>
                  <a:lnTo>
                    <a:pt x="127262" y="11939"/>
                  </a:lnTo>
                  <a:cubicBezTo>
                    <a:pt x="146251" y="11939"/>
                    <a:pt x="161827" y="27515"/>
                    <a:pt x="161827" y="46504"/>
                  </a:cubicBezTo>
                  <a:lnTo>
                    <a:pt x="161827" y="81069"/>
                  </a:lnTo>
                </a:path>
              </a:pathLst>
            </a:custGeom>
            <a:noFill/>
            <a:ln w="14213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1D5F2E09-06D0-433C-9D76-8AAD879F5424}"/>
                </a:ext>
              </a:extLst>
            </p:cNvPr>
            <p:cNvSpPr/>
            <p:nvPr/>
          </p:nvSpPr>
          <p:spPr>
            <a:xfrm>
              <a:off x="3944182" y="1601259"/>
              <a:ext cx="160022" cy="138686"/>
            </a:xfrm>
            <a:custGeom>
              <a:avLst/>
              <a:gdLst>
                <a:gd name="connsiteX0" fmla="*/ 11939 w 160021"/>
                <a:gd name="connsiteY0" fmla="*/ 11939 h 138685"/>
                <a:gd name="connsiteX1" fmla="*/ 81175 w 160021"/>
                <a:gd name="connsiteY1" fmla="*/ 127368 h 138685"/>
                <a:gd name="connsiteX2" fmla="*/ 150305 w 160021"/>
                <a:gd name="connsiteY2" fmla="*/ 11939 h 138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021" h="138685">
                  <a:moveTo>
                    <a:pt x="11939" y="11939"/>
                  </a:moveTo>
                  <a:lnTo>
                    <a:pt x="81175" y="127368"/>
                  </a:lnTo>
                  <a:lnTo>
                    <a:pt x="150305" y="11939"/>
                  </a:lnTo>
                </a:path>
              </a:pathLst>
            </a:custGeom>
            <a:noFill/>
            <a:ln w="14213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54E14F69-5A7B-49F7-A943-36EEE53CAEAC}"/>
              </a:ext>
            </a:extLst>
          </p:cNvPr>
          <p:cNvGrpSpPr/>
          <p:nvPr/>
        </p:nvGrpSpPr>
        <p:grpSpPr>
          <a:xfrm>
            <a:off x="10104167" y="3597253"/>
            <a:ext cx="649229" cy="608495"/>
            <a:chOff x="4051741" y="5515974"/>
            <a:chExt cx="649229" cy="608495"/>
          </a:xfrm>
        </p:grpSpPr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6C1C8A4C-D080-4005-A713-1ABE43C778B5}"/>
                </a:ext>
              </a:extLst>
            </p:cNvPr>
            <p:cNvSpPr/>
            <p:nvPr/>
          </p:nvSpPr>
          <p:spPr>
            <a:xfrm>
              <a:off x="4211893" y="5547818"/>
              <a:ext cx="305176" cy="212296"/>
            </a:xfrm>
            <a:custGeom>
              <a:avLst/>
              <a:gdLst>
                <a:gd name="connsiteX0" fmla="*/ 255979 w 259705"/>
                <a:gd name="connsiteY0" fmla="*/ 26648 h 180664"/>
                <a:gd name="connsiteX1" fmla="*/ 192746 w 259705"/>
                <a:gd name="connsiteY1" fmla="*/ 8469 h 180664"/>
                <a:gd name="connsiteX2" fmla="*/ 127368 w 259705"/>
                <a:gd name="connsiteY2" fmla="*/ 8469 h 180664"/>
                <a:gd name="connsiteX3" fmla="*/ 8469 w 259705"/>
                <a:gd name="connsiteY3" fmla="*/ 127368 h 180664"/>
                <a:gd name="connsiteX4" fmla="*/ 8469 w 259705"/>
                <a:gd name="connsiteY4" fmla="*/ 182358 h 180664"/>
                <a:gd name="connsiteX5" fmla="*/ 8469 w 259705"/>
                <a:gd name="connsiteY5" fmla="*/ 182358 h 18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9705" h="180664">
                  <a:moveTo>
                    <a:pt x="255979" y="26648"/>
                  </a:moveTo>
                  <a:cubicBezTo>
                    <a:pt x="237686" y="15131"/>
                    <a:pt x="216007" y="8469"/>
                    <a:pt x="192746" y="8469"/>
                  </a:cubicBezTo>
                  <a:lnTo>
                    <a:pt x="127368" y="8469"/>
                  </a:lnTo>
                  <a:cubicBezTo>
                    <a:pt x="61652" y="8469"/>
                    <a:pt x="8469" y="61652"/>
                    <a:pt x="8469" y="127368"/>
                  </a:cubicBezTo>
                  <a:lnTo>
                    <a:pt x="8469" y="182358"/>
                  </a:lnTo>
                  <a:lnTo>
                    <a:pt x="8469" y="182358"/>
                  </a:ln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1" name="Freeform: Shape 170">
              <a:extLst>
                <a:ext uri="{FF2B5EF4-FFF2-40B4-BE49-F238E27FC236}">
                  <a16:creationId xmlns:a16="http://schemas.microsoft.com/office/drawing/2014/main" id="{F7D5B4D6-7E54-4972-BA0B-0A86AB1EF4E0}"/>
                </a:ext>
              </a:extLst>
            </p:cNvPr>
            <p:cNvSpPr/>
            <p:nvPr/>
          </p:nvSpPr>
          <p:spPr>
            <a:xfrm>
              <a:off x="4568285" y="5687536"/>
              <a:ext cx="13269" cy="79611"/>
            </a:xfrm>
            <a:custGeom>
              <a:avLst/>
              <a:gdLst>
                <a:gd name="connsiteX0" fmla="*/ 8469 w 11291"/>
                <a:gd name="connsiteY0" fmla="*/ 63458 h 67749"/>
                <a:gd name="connsiteX1" fmla="*/ 8469 w 11291"/>
                <a:gd name="connsiteY1" fmla="*/ 63458 h 67749"/>
                <a:gd name="connsiteX2" fmla="*/ 8469 w 11291"/>
                <a:gd name="connsiteY2" fmla="*/ 8469 h 67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91" h="67749">
                  <a:moveTo>
                    <a:pt x="8469" y="63458"/>
                  </a:moveTo>
                  <a:lnTo>
                    <a:pt x="8469" y="63458"/>
                  </a:lnTo>
                  <a:lnTo>
                    <a:pt x="8469" y="8469"/>
                  </a:ln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2" name="Freeform: Shape 171">
              <a:extLst>
                <a:ext uri="{FF2B5EF4-FFF2-40B4-BE49-F238E27FC236}">
                  <a16:creationId xmlns:a16="http://schemas.microsoft.com/office/drawing/2014/main" id="{F926F2BA-687F-4CB3-BAA3-6DC13FE33C5F}"/>
                </a:ext>
              </a:extLst>
            </p:cNvPr>
            <p:cNvSpPr/>
            <p:nvPr/>
          </p:nvSpPr>
          <p:spPr>
            <a:xfrm>
              <a:off x="4450726" y="5974799"/>
              <a:ext cx="212296" cy="132685"/>
            </a:xfrm>
            <a:custGeom>
              <a:avLst/>
              <a:gdLst>
                <a:gd name="connsiteX0" fmla="*/ 8469 w 180664"/>
                <a:gd name="connsiteY0" fmla="*/ 8469 h 112915"/>
                <a:gd name="connsiteX1" fmla="*/ 8469 w 180664"/>
                <a:gd name="connsiteY1" fmla="*/ 8469 h 112915"/>
                <a:gd name="connsiteX2" fmla="*/ 49683 w 180664"/>
                <a:gd name="connsiteY2" fmla="*/ 64249 h 112915"/>
                <a:gd name="connsiteX3" fmla="*/ 172986 w 180664"/>
                <a:gd name="connsiteY3" fmla="*/ 114609 h 112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664" h="112915">
                  <a:moveTo>
                    <a:pt x="8469" y="8469"/>
                  </a:moveTo>
                  <a:lnTo>
                    <a:pt x="8469" y="8469"/>
                  </a:lnTo>
                  <a:cubicBezTo>
                    <a:pt x="8469" y="34101"/>
                    <a:pt x="25180" y="56571"/>
                    <a:pt x="49683" y="64249"/>
                  </a:cubicBezTo>
                  <a:cubicBezTo>
                    <a:pt x="85928" y="75540"/>
                    <a:pt x="138095" y="93833"/>
                    <a:pt x="172986" y="114609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3" name="Freeform: Shape 172">
              <a:extLst>
                <a:ext uri="{FF2B5EF4-FFF2-40B4-BE49-F238E27FC236}">
                  <a16:creationId xmlns:a16="http://schemas.microsoft.com/office/drawing/2014/main" id="{4F50CBE8-6260-4E0B-98EE-8ACAB2829F42}"/>
                </a:ext>
              </a:extLst>
            </p:cNvPr>
            <p:cNvSpPr/>
            <p:nvPr/>
          </p:nvSpPr>
          <p:spPr>
            <a:xfrm>
              <a:off x="4488542" y="5631940"/>
              <a:ext cx="53074" cy="159222"/>
            </a:xfrm>
            <a:custGeom>
              <a:avLst/>
              <a:gdLst>
                <a:gd name="connsiteX0" fmla="*/ 39069 w 45166"/>
                <a:gd name="connsiteY0" fmla="*/ 137982 h 135498"/>
                <a:gd name="connsiteX1" fmla="*/ 39069 w 45166"/>
                <a:gd name="connsiteY1" fmla="*/ 45957 h 135498"/>
                <a:gd name="connsiteX2" fmla="*/ 8469 w 45166"/>
                <a:gd name="connsiteY2" fmla="*/ 8469 h 13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166" h="135498">
                  <a:moveTo>
                    <a:pt x="39069" y="137982"/>
                  </a:moveTo>
                  <a:lnTo>
                    <a:pt x="39069" y="45957"/>
                  </a:lnTo>
                  <a:cubicBezTo>
                    <a:pt x="39069" y="27439"/>
                    <a:pt x="25970" y="11969"/>
                    <a:pt x="8469" y="8469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4" name="Freeform: Shape 173">
              <a:extLst>
                <a:ext uri="{FF2B5EF4-FFF2-40B4-BE49-F238E27FC236}">
                  <a16:creationId xmlns:a16="http://schemas.microsoft.com/office/drawing/2014/main" id="{BCBBA0FF-D6E1-4E55-84AF-4FBD248D9F78}"/>
                </a:ext>
              </a:extLst>
            </p:cNvPr>
            <p:cNvSpPr/>
            <p:nvPr/>
          </p:nvSpPr>
          <p:spPr>
            <a:xfrm>
              <a:off x="4254484" y="5603812"/>
              <a:ext cx="252102" cy="199028"/>
            </a:xfrm>
            <a:custGeom>
              <a:avLst/>
              <a:gdLst>
                <a:gd name="connsiteX0" fmla="*/ 56345 w 214538"/>
                <a:gd name="connsiteY0" fmla="*/ 117997 h 169372"/>
                <a:gd name="connsiteX1" fmla="*/ 56345 w 214538"/>
                <a:gd name="connsiteY1" fmla="*/ 105350 h 169372"/>
                <a:gd name="connsiteX2" fmla="*/ 75992 w 214538"/>
                <a:gd name="connsiteY2" fmla="*/ 85703 h 169372"/>
                <a:gd name="connsiteX3" fmla="*/ 142612 w 214538"/>
                <a:gd name="connsiteY3" fmla="*/ 85703 h 169372"/>
                <a:gd name="connsiteX4" fmla="*/ 210813 w 214538"/>
                <a:gd name="connsiteY4" fmla="*/ 17502 h 169372"/>
                <a:gd name="connsiteX5" fmla="*/ 210813 w 214538"/>
                <a:gd name="connsiteY5" fmla="*/ 8469 h 169372"/>
                <a:gd name="connsiteX6" fmla="*/ 85703 w 214538"/>
                <a:gd name="connsiteY6" fmla="*/ 8469 h 169372"/>
                <a:gd name="connsiteX7" fmla="*/ 8469 w 214538"/>
                <a:gd name="connsiteY7" fmla="*/ 85703 h 169372"/>
                <a:gd name="connsiteX8" fmla="*/ 8469 w 214538"/>
                <a:gd name="connsiteY8" fmla="*/ 85703 h 169372"/>
                <a:gd name="connsiteX9" fmla="*/ 8469 w 214538"/>
                <a:gd name="connsiteY9" fmla="*/ 161808 h 169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4538" h="169372">
                  <a:moveTo>
                    <a:pt x="56345" y="117997"/>
                  </a:moveTo>
                  <a:lnTo>
                    <a:pt x="56345" y="105350"/>
                  </a:lnTo>
                  <a:cubicBezTo>
                    <a:pt x="56345" y="94510"/>
                    <a:pt x="65152" y="85703"/>
                    <a:pt x="75992" y="85703"/>
                  </a:cubicBezTo>
                  <a:lnTo>
                    <a:pt x="142612" y="85703"/>
                  </a:lnTo>
                  <a:cubicBezTo>
                    <a:pt x="180326" y="85703"/>
                    <a:pt x="210813" y="55103"/>
                    <a:pt x="210813" y="17502"/>
                  </a:cubicBezTo>
                  <a:lnTo>
                    <a:pt x="210813" y="8469"/>
                  </a:lnTo>
                  <a:lnTo>
                    <a:pt x="85703" y="8469"/>
                  </a:lnTo>
                  <a:cubicBezTo>
                    <a:pt x="43021" y="8469"/>
                    <a:pt x="8469" y="43021"/>
                    <a:pt x="8469" y="85703"/>
                  </a:cubicBezTo>
                  <a:lnTo>
                    <a:pt x="8469" y="85703"/>
                  </a:lnTo>
                  <a:lnTo>
                    <a:pt x="8469" y="161808"/>
                  </a:ln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5" name="Freeform: Shape 174">
              <a:extLst>
                <a:ext uri="{FF2B5EF4-FFF2-40B4-BE49-F238E27FC236}">
                  <a16:creationId xmlns:a16="http://schemas.microsoft.com/office/drawing/2014/main" id="{D7F65BB4-4DD7-4583-AEE8-106CC8DFD37F}"/>
                </a:ext>
              </a:extLst>
            </p:cNvPr>
            <p:cNvSpPr/>
            <p:nvPr/>
          </p:nvSpPr>
          <p:spPr>
            <a:xfrm>
              <a:off x="4136262" y="5974799"/>
              <a:ext cx="212296" cy="132685"/>
            </a:xfrm>
            <a:custGeom>
              <a:avLst/>
              <a:gdLst>
                <a:gd name="connsiteX0" fmla="*/ 172986 w 180664"/>
                <a:gd name="connsiteY0" fmla="*/ 8469 h 112915"/>
                <a:gd name="connsiteX1" fmla="*/ 172986 w 180664"/>
                <a:gd name="connsiteY1" fmla="*/ 8469 h 112915"/>
                <a:gd name="connsiteX2" fmla="*/ 131772 w 180664"/>
                <a:gd name="connsiteY2" fmla="*/ 64249 h 112915"/>
                <a:gd name="connsiteX3" fmla="*/ 8469 w 180664"/>
                <a:gd name="connsiteY3" fmla="*/ 114609 h 112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664" h="112915">
                  <a:moveTo>
                    <a:pt x="172986" y="8469"/>
                  </a:moveTo>
                  <a:lnTo>
                    <a:pt x="172986" y="8469"/>
                  </a:lnTo>
                  <a:cubicBezTo>
                    <a:pt x="172986" y="34101"/>
                    <a:pt x="156275" y="56571"/>
                    <a:pt x="131772" y="64249"/>
                  </a:cubicBezTo>
                  <a:cubicBezTo>
                    <a:pt x="95527" y="75540"/>
                    <a:pt x="43360" y="93833"/>
                    <a:pt x="8469" y="114609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6" name="Freeform: Shape 175">
              <a:extLst>
                <a:ext uri="{FF2B5EF4-FFF2-40B4-BE49-F238E27FC236}">
                  <a16:creationId xmlns:a16="http://schemas.microsoft.com/office/drawing/2014/main" id="{6393933A-733C-4C7E-89E8-98DB68847170}"/>
                </a:ext>
              </a:extLst>
            </p:cNvPr>
            <p:cNvSpPr/>
            <p:nvPr/>
          </p:nvSpPr>
          <p:spPr>
            <a:xfrm>
              <a:off x="4305833" y="6031589"/>
              <a:ext cx="185759" cy="92880"/>
            </a:xfrm>
            <a:custGeom>
              <a:avLst/>
              <a:gdLst>
                <a:gd name="connsiteX0" fmla="*/ 150742 w 158081"/>
                <a:gd name="connsiteY0" fmla="*/ 8469 h 79040"/>
                <a:gd name="connsiteX1" fmla="*/ 79605 w 158081"/>
                <a:gd name="connsiteY1" fmla="*/ 79605 h 79040"/>
                <a:gd name="connsiteX2" fmla="*/ 8469 w 158081"/>
                <a:gd name="connsiteY2" fmla="*/ 8469 h 79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8081" h="79040">
                  <a:moveTo>
                    <a:pt x="150742" y="8469"/>
                  </a:moveTo>
                  <a:cubicBezTo>
                    <a:pt x="150742" y="47763"/>
                    <a:pt x="118900" y="79605"/>
                    <a:pt x="79605" y="79605"/>
                  </a:cubicBezTo>
                  <a:cubicBezTo>
                    <a:pt x="40311" y="79605"/>
                    <a:pt x="8469" y="47763"/>
                    <a:pt x="8469" y="8469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7" name="Freeform: Shape 176">
              <a:extLst>
                <a:ext uri="{FF2B5EF4-FFF2-40B4-BE49-F238E27FC236}">
                  <a16:creationId xmlns:a16="http://schemas.microsoft.com/office/drawing/2014/main" id="{7BFAFFD0-D8BF-4D95-94F9-AFD97C4F797D}"/>
                </a:ext>
              </a:extLst>
            </p:cNvPr>
            <p:cNvSpPr/>
            <p:nvPr/>
          </p:nvSpPr>
          <p:spPr>
            <a:xfrm>
              <a:off x="4524632" y="5749102"/>
              <a:ext cx="66343" cy="132685"/>
            </a:xfrm>
            <a:custGeom>
              <a:avLst/>
              <a:gdLst>
                <a:gd name="connsiteX0" fmla="*/ 55215 w 56457"/>
                <a:gd name="connsiteY0" fmla="*/ 89203 h 112915"/>
                <a:gd name="connsiteX1" fmla="*/ 33197 w 56457"/>
                <a:gd name="connsiteY1" fmla="*/ 111222 h 112915"/>
                <a:gd name="connsiteX2" fmla="*/ 8469 w 56457"/>
                <a:gd name="connsiteY2" fmla="*/ 111222 h 112915"/>
                <a:gd name="connsiteX3" fmla="*/ 8469 w 56457"/>
                <a:gd name="connsiteY3" fmla="*/ 8469 h 112915"/>
                <a:gd name="connsiteX4" fmla="*/ 33197 w 56457"/>
                <a:gd name="connsiteY4" fmla="*/ 8469 h 112915"/>
                <a:gd name="connsiteX5" fmla="*/ 55215 w 56457"/>
                <a:gd name="connsiteY5" fmla="*/ 30487 h 112915"/>
                <a:gd name="connsiteX6" fmla="*/ 55215 w 56457"/>
                <a:gd name="connsiteY6" fmla="*/ 89090 h 112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457" h="112915">
                  <a:moveTo>
                    <a:pt x="55215" y="89203"/>
                  </a:moveTo>
                  <a:cubicBezTo>
                    <a:pt x="55215" y="101398"/>
                    <a:pt x="45279" y="111222"/>
                    <a:pt x="33197" y="111222"/>
                  </a:cubicBezTo>
                  <a:lnTo>
                    <a:pt x="8469" y="111222"/>
                  </a:lnTo>
                  <a:lnTo>
                    <a:pt x="8469" y="8469"/>
                  </a:lnTo>
                  <a:lnTo>
                    <a:pt x="33197" y="8469"/>
                  </a:lnTo>
                  <a:cubicBezTo>
                    <a:pt x="45392" y="8469"/>
                    <a:pt x="55215" y="18405"/>
                    <a:pt x="55215" y="30487"/>
                  </a:cubicBezTo>
                  <a:lnTo>
                    <a:pt x="55215" y="89090"/>
                  </a:lnTo>
                  <a:close/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8" name="Freeform: Shape 177">
              <a:extLst>
                <a:ext uri="{FF2B5EF4-FFF2-40B4-BE49-F238E27FC236}">
                  <a16:creationId xmlns:a16="http://schemas.microsoft.com/office/drawing/2014/main" id="{D31D2D7E-3C95-4431-B157-F3AA4D9DE44B}"/>
                </a:ext>
              </a:extLst>
            </p:cNvPr>
            <p:cNvSpPr/>
            <p:nvPr/>
          </p:nvSpPr>
          <p:spPr>
            <a:xfrm>
              <a:off x="4199419" y="5749235"/>
              <a:ext cx="331713" cy="252102"/>
            </a:xfrm>
            <a:custGeom>
              <a:avLst/>
              <a:gdLst>
                <a:gd name="connsiteX0" fmla="*/ 8469 w 282288"/>
                <a:gd name="connsiteY0" fmla="*/ 68878 h 214538"/>
                <a:gd name="connsiteX1" fmla="*/ 8469 w 282288"/>
                <a:gd name="connsiteY1" fmla="*/ 30487 h 214538"/>
                <a:gd name="connsiteX2" fmla="*/ 30487 w 282288"/>
                <a:gd name="connsiteY2" fmla="*/ 8469 h 214538"/>
                <a:gd name="connsiteX3" fmla="*/ 55216 w 282288"/>
                <a:gd name="connsiteY3" fmla="*/ 8469 h 214538"/>
                <a:gd name="connsiteX4" fmla="*/ 55216 w 282288"/>
                <a:gd name="connsiteY4" fmla="*/ 107382 h 214538"/>
                <a:gd name="connsiteX5" fmla="*/ 70685 w 282288"/>
                <a:gd name="connsiteY5" fmla="*/ 111786 h 214538"/>
                <a:gd name="connsiteX6" fmla="*/ 70685 w 282288"/>
                <a:gd name="connsiteY6" fmla="*/ 111786 h 214538"/>
                <a:gd name="connsiteX7" fmla="*/ 165986 w 282288"/>
                <a:gd name="connsiteY7" fmla="*/ 216346 h 214538"/>
                <a:gd name="connsiteX8" fmla="*/ 174454 w 282288"/>
                <a:gd name="connsiteY8" fmla="*/ 216346 h 214538"/>
                <a:gd name="connsiteX9" fmla="*/ 269755 w 282288"/>
                <a:gd name="connsiteY9" fmla="*/ 111786 h 214538"/>
                <a:gd name="connsiteX10" fmla="*/ 269755 w 282288"/>
                <a:gd name="connsiteY10" fmla="*/ 111786 h 214538"/>
                <a:gd name="connsiteX11" fmla="*/ 282853 w 282288"/>
                <a:gd name="connsiteY11" fmla="*/ 108850 h 214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2288" h="214538">
                  <a:moveTo>
                    <a:pt x="8469" y="68878"/>
                  </a:moveTo>
                  <a:lnTo>
                    <a:pt x="8469" y="30487"/>
                  </a:lnTo>
                  <a:cubicBezTo>
                    <a:pt x="8469" y="18293"/>
                    <a:pt x="18405" y="8469"/>
                    <a:pt x="30487" y="8469"/>
                  </a:cubicBezTo>
                  <a:lnTo>
                    <a:pt x="55216" y="8469"/>
                  </a:lnTo>
                  <a:lnTo>
                    <a:pt x="55216" y="107382"/>
                  </a:lnTo>
                  <a:cubicBezTo>
                    <a:pt x="55216" y="107382"/>
                    <a:pt x="65152" y="111786"/>
                    <a:pt x="70685" y="111786"/>
                  </a:cubicBezTo>
                  <a:lnTo>
                    <a:pt x="70685" y="111786"/>
                  </a:lnTo>
                  <a:cubicBezTo>
                    <a:pt x="70685" y="111786"/>
                    <a:pt x="89880" y="216346"/>
                    <a:pt x="165986" y="216346"/>
                  </a:cubicBezTo>
                  <a:lnTo>
                    <a:pt x="174454" y="216346"/>
                  </a:lnTo>
                  <a:cubicBezTo>
                    <a:pt x="250446" y="216346"/>
                    <a:pt x="269755" y="111786"/>
                    <a:pt x="269755" y="111786"/>
                  </a:cubicBezTo>
                  <a:lnTo>
                    <a:pt x="269755" y="111786"/>
                  </a:lnTo>
                  <a:cubicBezTo>
                    <a:pt x="274723" y="111786"/>
                    <a:pt x="279126" y="110770"/>
                    <a:pt x="282853" y="108850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606D1A22-1200-4C26-A1C6-3F113780C3CC}"/>
                </a:ext>
              </a:extLst>
            </p:cNvPr>
            <p:cNvSpPr/>
            <p:nvPr/>
          </p:nvSpPr>
          <p:spPr>
            <a:xfrm>
              <a:off x="4326798" y="5803105"/>
              <a:ext cx="13269" cy="13269"/>
            </a:xfrm>
            <a:custGeom>
              <a:avLst/>
              <a:gdLst>
                <a:gd name="connsiteX0" fmla="*/ 8469 w 11291"/>
                <a:gd name="connsiteY0" fmla="*/ 8468 h 11291"/>
                <a:gd name="connsiteX1" fmla="*/ 8469 w 11291"/>
                <a:gd name="connsiteY1" fmla="*/ 8468 h 1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91" h="11291">
                  <a:moveTo>
                    <a:pt x="8469" y="8468"/>
                  </a:moveTo>
                  <a:lnTo>
                    <a:pt x="8469" y="8468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8254AF51-56D4-4B21-9C90-7DFE21D91CC0}"/>
                </a:ext>
              </a:extLst>
            </p:cNvPr>
            <p:cNvSpPr/>
            <p:nvPr/>
          </p:nvSpPr>
          <p:spPr>
            <a:xfrm>
              <a:off x="4294954" y="5765422"/>
              <a:ext cx="79611" cy="13269"/>
            </a:xfrm>
            <a:custGeom>
              <a:avLst/>
              <a:gdLst>
                <a:gd name="connsiteX0" fmla="*/ 8469 w 67749"/>
                <a:gd name="connsiteY0" fmla="*/ 12647 h 11291"/>
                <a:gd name="connsiteX1" fmla="*/ 62555 w 67749"/>
                <a:gd name="connsiteY1" fmla="*/ 8469 h 1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749" h="11291">
                  <a:moveTo>
                    <a:pt x="8469" y="12647"/>
                  </a:moveTo>
                  <a:cubicBezTo>
                    <a:pt x="8469" y="12647"/>
                    <a:pt x="32632" y="8469"/>
                    <a:pt x="62555" y="8469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BC9B515C-484C-4663-A325-3F002AFD844D}"/>
                </a:ext>
              </a:extLst>
            </p:cNvPr>
            <p:cNvSpPr/>
            <p:nvPr/>
          </p:nvSpPr>
          <p:spPr>
            <a:xfrm>
              <a:off x="4453512" y="5803105"/>
              <a:ext cx="13269" cy="13269"/>
            </a:xfrm>
            <a:custGeom>
              <a:avLst/>
              <a:gdLst>
                <a:gd name="connsiteX0" fmla="*/ 8469 w 11291"/>
                <a:gd name="connsiteY0" fmla="*/ 8468 h 11291"/>
                <a:gd name="connsiteX1" fmla="*/ 8469 w 11291"/>
                <a:gd name="connsiteY1" fmla="*/ 8468 h 1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91" h="11291">
                  <a:moveTo>
                    <a:pt x="8469" y="8468"/>
                  </a:moveTo>
                  <a:lnTo>
                    <a:pt x="8469" y="8468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CDC5E76B-DCD8-4320-AD5E-6260BD7E7460}"/>
                </a:ext>
              </a:extLst>
            </p:cNvPr>
            <p:cNvSpPr/>
            <p:nvPr/>
          </p:nvSpPr>
          <p:spPr>
            <a:xfrm>
              <a:off x="4421667" y="5765422"/>
              <a:ext cx="79611" cy="13269"/>
            </a:xfrm>
            <a:custGeom>
              <a:avLst/>
              <a:gdLst>
                <a:gd name="connsiteX0" fmla="*/ 62555 w 67749"/>
                <a:gd name="connsiteY0" fmla="*/ 12647 h 11291"/>
                <a:gd name="connsiteX1" fmla="*/ 8469 w 67749"/>
                <a:gd name="connsiteY1" fmla="*/ 8469 h 1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7749" h="11291">
                  <a:moveTo>
                    <a:pt x="62555" y="12647"/>
                  </a:moveTo>
                  <a:cubicBezTo>
                    <a:pt x="62555" y="12647"/>
                    <a:pt x="38391" y="8469"/>
                    <a:pt x="8469" y="8469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E5DAB31D-7A2F-4DEA-A0CF-D487F6845099}"/>
                </a:ext>
              </a:extLst>
            </p:cNvPr>
            <p:cNvSpPr/>
            <p:nvPr/>
          </p:nvSpPr>
          <p:spPr>
            <a:xfrm>
              <a:off x="4374734" y="5772720"/>
              <a:ext cx="39806" cy="106148"/>
            </a:xfrm>
            <a:custGeom>
              <a:avLst/>
              <a:gdLst>
                <a:gd name="connsiteX0" fmla="*/ 20970 w 33874"/>
                <a:gd name="connsiteY0" fmla="*/ 8469 h 90332"/>
                <a:gd name="connsiteX1" fmla="*/ 9001 w 33874"/>
                <a:gd name="connsiteY1" fmla="*/ 78476 h 90332"/>
                <a:gd name="connsiteX2" fmla="*/ 10921 w 33874"/>
                <a:gd name="connsiteY2" fmla="*/ 86267 h 90332"/>
                <a:gd name="connsiteX3" fmla="*/ 30230 w 33874"/>
                <a:gd name="connsiteY3" fmla="*/ 93042 h 9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874" h="90332">
                  <a:moveTo>
                    <a:pt x="20970" y="8469"/>
                  </a:moveTo>
                  <a:cubicBezTo>
                    <a:pt x="20970" y="8469"/>
                    <a:pt x="23342" y="44601"/>
                    <a:pt x="9001" y="78476"/>
                  </a:cubicBezTo>
                  <a:cubicBezTo>
                    <a:pt x="7872" y="81299"/>
                    <a:pt x="8550" y="84460"/>
                    <a:pt x="10921" y="86267"/>
                  </a:cubicBezTo>
                  <a:cubicBezTo>
                    <a:pt x="10921" y="86267"/>
                    <a:pt x="22890" y="90445"/>
                    <a:pt x="30230" y="93042"/>
                  </a:cubicBez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214C056A-7CEE-4938-B249-B3DDA85F79FC}"/>
                </a:ext>
              </a:extLst>
            </p:cNvPr>
            <p:cNvSpPr/>
            <p:nvPr/>
          </p:nvSpPr>
          <p:spPr>
            <a:xfrm>
              <a:off x="4345639" y="5869846"/>
              <a:ext cx="212296" cy="66343"/>
            </a:xfrm>
            <a:custGeom>
              <a:avLst/>
              <a:gdLst>
                <a:gd name="connsiteX0" fmla="*/ 8469 w 180664"/>
                <a:gd name="connsiteY0" fmla="*/ 43924 h 56457"/>
                <a:gd name="connsiteX1" fmla="*/ 45731 w 180664"/>
                <a:gd name="connsiteY1" fmla="*/ 57135 h 56457"/>
                <a:gd name="connsiteX2" fmla="*/ 153226 w 180664"/>
                <a:gd name="connsiteY2" fmla="*/ 57135 h 56457"/>
                <a:gd name="connsiteX3" fmla="*/ 181681 w 180664"/>
                <a:gd name="connsiteY3" fmla="*/ 28680 h 56457"/>
                <a:gd name="connsiteX4" fmla="*/ 181681 w 180664"/>
                <a:gd name="connsiteY4" fmla="*/ 8469 h 56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664" h="56457">
                  <a:moveTo>
                    <a:pt x="8469" y="43924"/>
                  </a:moveTo>
                  <a:cubicBezTo>
                    <a:pt x="19647" y="52279"/>
                    <a:pt x="32633" y="56909"/>
                    <a:pt x="45731" y="57135"/>
                  </a:cubicBezTo>
                  <a:lnTo>
                    <a:pt x="153226" y="57135"/>
                  </a:lnTo>
                  <a:cubicBezTo>
                    <a:pt x="168921" y="57135"/>
                    <a:pt x="181681" y="44376"/>
                    <a:pt x="181681" y="28680"/>
                  </a:cubicBezTo>
                  <a:lnTo>
                    <a:pt x="181681" y="8469"/>
                  </a:lnTo>
                </a:path>
              </a:pathLst>
            </a:custGeom>
            <a:noFill/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CCFB4DDC-57A3-456A-A530-B52FD12223B1}"/>
                </a:ext>
              </a:extLst>
            </p:cNvPr>
            <p:cNvSpPr/>
            <p:nvPr/>
          </p:nvSpPr>
          <p:spPr>
            <a:xfrm>
              <a:off x="4051741" y="5855913"/>
              <a:ext cx="172491" cy="159222"/>
            </a:xfrm>
            <a:custGeom>
              <a:avLst/>
              <a:gdLst>
                <a:gd name="connsiteX0" fmla="*/ 8469 w 146789"/>
                <a:gd name="connsiteY0" fmla="*/ 8469 h 135498"/>
                <a:gd name="connsiteX1" fmla="*/ 144870 w 146789"/>
                <a:gd name="connsiteY1" fmla="*/ 8469 h 135498"/>
                <a:gd name="connsiteX2" fmla="*/ 144870 w 146789"/>
                <a:gd name="connsiteY2" fmla="*/ 99366 h 135498"/>
                <a:gd name="connsiteX3" fmla="*/ 127256 w 146789"/>
                <a:gd name="connsiteY3" fmla="*/ 99366 h 135498"/>
                <a:gd name="connsiteX4" fmla="*/ 127256 w 146789"/>
                <a:gd name="connsiteY4" fmla="*/ 129627 h 135498"/>
                <a:gd name="connsiteX5" fmla="*/ 126126 w 146789"/>
                <a:gd name="connsiteY5" fmla="*/ 129627 h 135498"/>
                <a:gd name="connsiteX6" fmla="*/ 97107 w 146789"/>
                <a:gd name="connsiteY6" fmla="*/ 99366 h 135498"/>
                <a:gd name="connsiteX7" fmla="*/ 78476 w 146789"/>
                <a:gd name="connsiteY7" fmla="*/ 99366 h 135498"/>
                <a:gd name="connsiteX8" fmla="*/ 8469 w 146789"/>
                <a:gd name="connsiteY8" fmla="*/ 99366 h 135498"/>
                <a:gd name="connsiteX9" fmla="*/ 8469 w 146789"/>
                <a:gd name="connsiteY9" fmla="*/ 8469 h 13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789" h="135498">
                  <a:moveTo>
                    <a:pt x="8469" y="8469"/>
                  </a:moveTo>
                  <a:lnTo>
                    <a:pt x="144870" y="8469"/>
                  </a:lnTo>
                  <a:lnTo>
                    <a:pt x="144870" y="99366"/>
                  </a:lnTo>
                  <a:lnTo>
                    <a:pt x="127256" y="99366"/>
                  </a:lnTo>
                  <a:lnTo>
                    <a:pt x="127256" y="129627"/>
                  </a:lnTo>
                  <a:lnTo>
                    <a:pt x="126126" y="129627"/>
                  </a:lnTo>
                  <a:lnTo>
                    <a:pt x="97107" y="99366"/>
                  </a:lnTo>
                  <a:lnTo>
                    <a:pt x="78476" y="99366"/>
                  </a:lnTo>
                  <a:lnTo>
                    <a:pt x="8469" y="99366"/>
                  </a:lnTo>
                  <a:lnTo>
                    <a:pt x="8469" y="8469"/>
                  </a:lnTo>
                  <a:close/>
                </a:path>
              </a:pathLst>
            </a:custGeom>
            <a:noFill/>
            <a:ln w="12700" cap="sq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6" name="Freeform: Shape 185">
              <a:extLst>
                <a:ext uri="{FF2B5EF4-FFF2-40B4-BE49-F238E27FC236}">
                  <a16:creationId xmlns:a16="http://schemas.microsoft.com/office/drawing/2014/main" id="{C70EBA39-47E4-48AA-BDAE-664D94D707D4}"/>
                </a:ext>
              </a:extLst>
            </p:cNvPr>
            <p:cNvSpPr/>
            <p:nvPr/>
          </p:nvSpPr>
          <p:spPr>
            <a:xfrm>
              <a:off x="4143559" y="5908723"/>
              <a:ext cx="39806" cy="13269"/>
            </a:xfrm>
            <a:custGeom>
              <a:avLst/>
              <a:gdLst>
                <a:gd name="connsiteX0" fmla="*/ 28681 w 33874"/>
                <a:gd name="connsiteY0" fmla="*/ 8469 h 11291"/>
                <a:gd name="connsiteX1" fmla="*/ 8469 w 33874"/>
                <a:gd name="connsiteY1" fmla="*/ 8469 h 1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874" h="11291">
                  <a:moveTo>
                    <a:pt x="28681" y="8469"/>
                  </a:moveTo>
                  <a:lnTo>
                    <a:pt x="8469" y="8469"/>
                  </a:lnTo>
                </a:path>
              </a:pathLst>
            </a:custGeom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A4B5A5C0-3DDE-4C8F-A7D1-836AB6A4017C}"/>
                </a:ext>
              </a:extLst>
            </p:cNvPr>
            <p:cNvSpPr/>
            <p:nvPr/>
          </p:nvSpPr>
          <p:spPr>
            <a:xfrm>
              <a:off x="4096323" y="5908723"/>
              <a:ext cx="39806" cy="13269"/>
            </a:xfrm>
            <a:custGeom>
              <a:avLst/>
              <a:gdLst>
                <a:gd name="connsiteX0" fmla="*/ 28680 w 33874"/>
                <a:gd name="connsiteY0" fmla="*/ 8469 h 11291"/>
                <a:gd name="connsiteX1" fmla="*/ 8469 w 33874"/>
                <a:gd name="connsiteY1" fmla="*/ 8469 h 1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874" h="11291">
                  <a:moveTo>
                    <a:pt x="28680" y="8469"/>
                  </a:moveTo>
                  <a:lnTo>
                    <a:pt x="8469" y="8469"/>
                  </a:lnTo>
                </a:path>
              </a:pathLst>
            </a:custGeom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E39D834C-0474-4A57-AB85-1419B0106E7C}"/>
                </a:ext>
              </a:extLst>
            </p:cNvPr>
            <p:cNvSpPr/>
            <p:nvPr/>
          </p:nvSpPr>
          <p:spPr>
            <a:xfrm>
              <a:off x="4541748" y="5515974"/>
              <a:ext cx="159222" cy="132685"/>
            </a:xfrm>
            <a:custGeom>
              <a:avLst/>
              <a:gdLst>
                <a:gd name="connsiteX0" fmla="*/ 8469 w 135498"/>
                <a:gd name="connsiteY0" fmla="*/ 87171 h 112915"/>
                <a:gd name="connsiteX1" fmla="*/ 8469 w 135498"/>
                <a:gd name="connsiteY1" fmla="*/ 8469 h 112915"/>
                <a:gd name="connsiteX2" fmla="*/ 134369 w 135498"/>
                <a:gd name="connsiteY2" fmla="*/ 8469 h 112915"/>
                <a:gd name="connsiteX3" fmla="*/ 134369 w 135498"/>
                <a:gd name="connsiteY3" fmla="*/ 87171 h 112915"/>
                <a:gd name="connsiteX4" fmla="*/ 52506 w 135498"/>
                <a:gd name="connsiteY4" fmla="*/ 87171 h 112915"/>
                <a:gd name="connsiteX5" fmla="*/ 25745 w 135498"/>
                <a:gd name="connsiteY5" fmla="*/ 115061 h 112915"/>
                <a:gd name="connsiteX6" fmla="*/ 24728 w 135498"/>
                <a:gd name="connsiteY6" fmla="*/ 115061 h 112915"/>
                <a:gd name="connsiteX7" fmla="*/ 24728 w 135498"/>
                <a:gd name="connsiteY7" fmla="*/ 87171 h 112915"/>
                <a:gd name="connsiteX8" fmla="*/ 8469 w 135498"/>
                <a:gd name="connsiteY8" fmla="*/ 87171 h 1129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498" h="112915">
                  <a:moveTo>
                    <a:pt x="8469" y="87171"/>
                  </a:moveTo>
                  <a:lnTo>
                    <a:pt x="8469" y="8469"/>
                  </a:lnTo>
                  <a:lnTo>
                    <a:pt x="134369" y="8469"/>
                  </a:lnTo>
                  <a:lnTo>
                    <a:pt x="134369" y="87171"/>
                  </a:lnTo>
                  <a:lnTo>
                    <a:pt x="52506" y="87171"/>
                  </a:lnTo>
                  <a:lnTo>
                    <a:pt x="25745" y="115061"/>
                  </a:lnTo>
                  <a:lnTo>
                    <a:pt x="24728" y="115061"/>
                  </a:lnTo>
                  <a:lnTo>
                    <a:pt x="24728" y="87171"/>
                  </a:lnTo>
                  <a:lnTo>
                    <a:pt x="8469" y="87171"/>
                  </a:lnTo>
                  <a:close/>
                </a:path>
              </a:pathLst>
            </a:custGeom>
            <a:noFill/>
            <a:ln w="12700" cap="sq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A7A50FE0-D5D3-4045-B197-015F7CCF84C8}"/>
                </a:ext>
              </a:extLst>
            </p:cNvPr>
            <p:cNvSpPr/>
            <p:nvPr/>
          </p:nvSpPr>
          <p:spPr>
            <a:xfrm>
              <a:off x="4581952" y="5562148"/>
              <a:ext cx="39806" cy="13269"/>
            </a:xfrm>
            <a:custGeom>
              <a:avLst/>
              <a:gdLst>
                <a:gd name="connsiteX0" fmla="*/ 8469 w 33874"/>
                <a:gd name="connsiteY0" fmla="*/ 8469 h 11291"/>
                <a:gd name="connsiteX1" fmla="*/ 28793 w 33874"/>
                <a:gd name="connsiteY1" fmla="*/ 8469 h 1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874" h="11291">
                  <a:moveTo>
                    <a:pt x="8469" y="8469"/>
                  </a:moveTo>
                  <a:lnTo>
                    <a:pt x="28793" y="8469"/>
                  </a:lnTo>
                </a:path>
              </a:pathLst>
            </a:custGeom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B909E93F-40EA-470F-A747-3CE4E8CD1AEB}"/>
                </a:ext>
              </a:extLst>
            </p:cNvPr>
            <p:cNvSpPr/>
            <p:nvPr/>
          </p:nvSpPr>
          <p:spPr>
            <a:xfrm>
              <a:off x="4627463" y="5562148"/>
              <a:ext cx="39806" cy="13269"/>
            </a:xfrm>
            <a:custGeom>
              <a:avLst/>
              <a:gdLst>
                <a:gd name="connsiteX0" fmla="*/ 8469 w 33874"/>
                <a:gd name="connsiteY0" fmla="*/ 8469 h 11291"/>
                <a:gd name="connsiteX1" fmla="*/ 29810 w 33874"/>
                <a:gd name="connsiteY1" fmla="*/ 8469 h 11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874" h="11291">
                  <a:moveTo>
                    <a:pt x="8469" y="8469"/>
                  </a:moveTo>
                  <a:lnTo>
                    <a:pt x="29810" y="8469"/>
                  </a:lnTo>
                </a:path>
              </a:pathLst>
            </a:custGeom>
            <a:ln w="12700" cap="flat">
              <a:solidFill>
                <a:srgbClr val="49A9F6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91" name="Rectangle: Rounded Corners 190">
            <a:extLst>
              <a:ext uri="{FF2B5EF4-FFF2-40B4-BE49-F238E27FC236}">
                <a16:creationId xmlns:a16="http://schemas.microsoft.com/office/drawing/2014/main" id="{3EE6EDF6-5222-4B91-BC1F-E53CEF54968B}"/>
              </a:ext>
            </a:extLst>
          </p:cNvPr>
          <p:cNvSpPr/>
          <p:nvPr/>
        </p:nvSpPr>
        <p:spPr>
          <a:xfrm>
            <a:off x="6167439" y="4990260"/>
            <a:ext cx="5333574" cy="1258996"/>
          </a:xfrm>
          <a:prstGeom prst="roundRect">
            <a:avLst>
              <a:gd name="adj" fmla="val 12746"/>
            </a:avLst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32000" rtlCol="0" anchor="ctr"/>
          <a:lstStyle/>
          <a:p>
            <a:r>
              <a:rPr lang="ru-RU" sz="1400" b="1" dirty="0" err="1">
                <a:solidFill>
                  <a:srgbClr val="004BD2"/>
                </a:solidFill>
              </a:rPr>
              <a:t>Фирибгарларнинг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атиги</a:t>
            </a:r>
            <a:r>
              <a:rPr lang="ru-RU" sz="1400" b="1" dirty="0">
                <a:solidFill>
                  <a:srgbClr val="49A9F6"/>
                </a:solidFill>
              </a:rPr>
              <a:t> 6 </a:t>
            </a:r>
            <a:r>
              <a:rPr lang="ru-RU" sz="1400" b="1" dirty="0" err="1">
                <a:solidFill>
                  <a:srgbClr val="49A9F6"/>
                </a:solidFill>
              </a:rPr>
              <a:t>фоиз</a:t>
            </a:r>
            <a:r>
              <a:rPr lang="ru-RU" sz="1400" b="1" dirty="0">
                <a:solidFill>
                  <a:srgbClr val="7740FF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илгари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фирибгарлик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иштирокчилари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бўлган</a:t>
            </a:r>
            <a:r>
              <a:rPr lang="ru-RU" sz="1400" b="1" dirty="0">
                <a:solidFill>
                  <a:srgbClr val="004BD2"/>
                </a:solidFill>
              </a:rPr>
              <a:t>.</a:t>
            </a: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ўрсаткич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лб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тмиш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йўқлиги</a:t>
            </a:r>
            <a:r>
              <a:rPr lang="ru-RU" sz="1400" dirty="0">
                <a:solidFill>
                  <a:schemeClr val="tx2"/>
                </a:solidFill>
              </a:rPr>
              <a:t> потенциал </a:t>
            </a:r>
            <a:r>
              <a:rPr lang="ru-RU" sz="1400" dirty="0" err="1">
                <a:solidFill>
                  <a:schemeClr val="tx2"/>
                </a:solidFill>
              </a:rPr>
              <a:t>қоидабузар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ам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ҳола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ба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маслиг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ўрсата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524FCDBD-0045-4805-969E-24C2D1022B93}"/>
              </a:ext>
            </a:extLst>
          </p:cNvPr>
          <p:cNvGrpSpPr/>
          <p:nvPr/>
        </p:nvGrpSpPr>
        <p:grpSpPr>
          <a:xfrm>
            <a:off x="6292420" y="5071841"/>
            <a:ext cx="1130642" cy="1249036"/>
            <a:chOff x="3963699" y="4636333"/>
            <a:chExt cx="1660641" cy="1834533"/>
          </a:xfrm>
        </p:grpSpPr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4168CDEF-61D6-4A26-834C-0B22473C20B9}"/>
                </a:ext>
              </a:extLst>
            </p:cNvPr>
            <p:cNvGrpSpPr/>
            <p:nvPr/>
          </p:nvGrpSpPr>
          <p:grpSpPr>
            <a:xfrm>
              <a:off x="4217627" y="5478721"/>
              <a:ext cx="1406713" cy="992145"/>
              <a:chOff x="5426292" y="929106"/>
              <a:chExt cx="1406713" cy="992145"/>
            </a:xfrm>
          </p:grpSpPr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0F768C54-F262-4795-A22B-C300E6FE63C1}"/>
                  </a:ext>
                </a:extLst>
              </p:cNvPr>
              <p:cNvSpPr/>
              <p:nvPr/>
            </p:nvSpPr>
            <p:spPr>
              <a:xfrm>
                <a:off x="6825291" y="1811469"/>
                <a:ext cx="7714" cy="7714"/>
              </a:xfrm>
              <a:custGeom>
                <a:avLst/>
                <a:gdLst>
                  <a:gd name="connsiteX0" fmla="*/ 6634 w 7714"/>
                  <a:gd name="connsiteY0" fmla="*/ 257 h 7714"/>
                  <a:gd name="connsiteX1" fmla="*/ 257 w 7714"/>
                  <a:gd name="connsiteY1" fmla="*/ 3960 h 7714"/>
                  <a:gd name="connsiteX2" fmla="*/ 7834 w 7714"/>
                  <a:gd name="connsiteY2" fmla="*/ 8348 h 7714"/>
                  <a:gd name="connsiteX3" fmla="*/ 6634 w 7714"/>
                  <a:gd name="connsiteY3" fmla="*/ 25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4" h="7714">
                    <a:moveTo>
                      <a:pt x="6634" y="257"/>
                    </a:moveTo>
                    <a:lnTo>
                      <a:pt x="257" y="3960"/>
                    </a:lnTo>
                    <a:lnTo>
                      <a:pt x="7834" y="8348"/>
                    </a:lnTo>
                    <a:cubicBezTo>
                      <a:pt x="7594" y="5606"/>
                      <a:pt x="7217" y="2897"/>
                      <a:pt x="6634" y="257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8B887C49-FDEA-4565-B604-610CCBE4787E}"/>
                  </a:ext>
                </a:extLst>
              </p:cNvPr>
              <p:cNvSpPr/>
              <p:nvPr/>
            </p:nvSpPr>
            <p:spPr>
              <a:xfrm>
                <a:off x="6789669" y="1767034"/>
                <a:ext cx="7714" cy="2571"/>
              </a:xfrm>
              <a:custGeom>
                <a:avLst/>
                <a:gdLst>
                  <a:gd name="connsiteX0" fmla="*/ 7560 w 7714"/>
                  <a:gd name="connsiteY0" fmla="*/ 2897 h 2571"/>
                  <a:gd name="connsiteX1" fmla="*/ 257 w 7714"/>
                  <a:gd name="connsiteY1" fmla="*/ 257 h 2571"/>
                  <a:gd name="connsiteX2" fmla="*/ 6223 w 7714"/>
                  <a:gd name="connsiteY2" fmla="*/ 3686 h 2571"/>
                  <a:gd name="connsiteX3" fmla="*/ 7560 w 7714"/>
                  <a:gd name="connsiteY3" fmla="*/ 2897 h 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4" h="2571">
                    <a:moveTo>
                      <a:pt x="7560" y="2897"/>
                    </a:moveTo>
                    <a:cubicBezTo>
                      <a:pt x="5229" y="1869"/>
                      <a:pt x="2794" y="1011"/>
                      <a:pt x="257" y="257"/>
                    </a:cubicBezTo>
                    <a:lnTo>
                      <a:pt x="6223" y="3686"/>
                    </a:lnTo>
                    <a:lnTo>
                      <a:pt x="7560" y="289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F2A4064C-F550-422F-AE56-A586F0124177}"/>
                  </a:ext>
                </a:extLst>
              </p:cNvPr>
              <p:cNvSpPr/>
              <p:nvPr/>
            </p:nvSpPr>
            <p:spPr>
              <a:xfrm>
                <a:off x="6780069" y="1806189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823 w 30857"/>
                  <a:gd name="connsiteY1" fmla="*/ 18189 h 18000"/>
                  <a:gd name="connsiteX2" fmla="*/ 31354 w 30857"/>
                  <a:gd name="connsiteY2" fmla="*/ 9240 h 18000"/>
                  <a:gd name="connsiteX3" fmla="*/ 15823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823" y="18189"/>
                    </a:lnTo>
                    <a:lnTo>
                      <a:pt x="31354" y="9240"/>
                    </a:lnTo>
                    <a:lnTo>
                      <a:pt x="15823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CC2A04D6-5CD9-416D-8CF7-D9EFAA43289D}"/>
                  </a:ext>
                </a:extLst>
              </p:cNvPr>
              <p:cNvSpPr/>
              <p:nvPr/>
            </p:nvSpPr>
            <p:spPr>
              <a:xfrm>
                <a:off x="6802697" y="1781332"/>
                <a:ext cx="20571" cy="15429"/>
              </a:xfrm>
              <a:custGeom>
                <a:avLst/>
                <a:gdLst>
                  <a:gd name="connsiteX0" fmla="*/ 22097 w 20571"/>
                  <a:gd name="connsiteY0" fmla="*/ 12566 h 15428"/>
                  <a:gd name="connsiteX1" fmla="*/ 12326 w 20571"/>
                  <a:gd name="connsiteY1" fmla="*/ 257 h 15428"/>
                  <a:gd name="connsiteX2" fmla="*/ 257 w 20571"/>
                  <a:gd name="connsiteY2" fmla="*/ 7252 h 15428"/>
                  <a:gd name="connsiteX3" fmla="*/ 15789 w 20571"/>
                  <a:gd name="connsiteY3" fmla="*/ 16234 h 15428"/>
                  <a:gd name="connsiteX4" fmla="*/ 22097 w 20571"/>
                  <a:gd name="connsiteY4" fmla="*/ 12566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71" h="15428">
                    <a:moveTo>
                      <a:pt x="22097" y="12566"/>
                    </a:moveTo>
                    <a:cubicBezTo>
                      <a:pt x="19423" y="8074"/>
                      <a:pt x="16166" y="3926"/>
                      <a:pt x="12326" y="257"/>
                    </a:cubicBezTo>
                    <a:lnTo>
                      <a:pt x="257" y="7252"/>
                    </a:lnTo>
                    <a:lnTo>
                      <a:pt x="15789" y="16234"/>
                    </a:lnTo>
                    <a:lnTo>
                      <a:pt x="22097" y="1256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7AEF1D5B-984E-4F2F-8135-0B190B7322C7}"/>
                  </a:ext>
                </a:extLst>
              </p:cNvPr>
              <p:cNvSpPr/>
              <p:nvPr/>
            </p:nvSpPr>
            <p:spPr>
              <a:xfrm>
                <a:off x="6780069" y="1859846"/>
                <a:ext cx="30857" cy="18000"/>
              </a:xfrm>
              <a:custGeom>
                <a:avLst/>
                <a:gdLst>
                  <a:gd name="connsiteX0" fmla="*/ 15823 w 30857"/>
                  <a:gd name="connsiteY0" fmla="*/ 257 h 18000"/>
                  <a:gd name="connsiteX1" fmla="*/ 257 w 30857"/>
                  <a:gd name="connsiteY1" fmla="*/ 9240 h 18000"/>
                  <a:gd name="connsiteX2" fmla="*/ 15823 w 30857"/>
                  <a:gd name="connsiteY2" fmla="*/ 18223 h 18000"/>
                  <a:gd name="connsiteX3" fmla="*/ 31354 w 30857"/>
                  <a:gd name="connsiteY3" fmla="*/ 9240 h 18000"/>
                  <a:gd name="connsiteX4" fmla="*/ 15823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823" y="257"/>
                    </a:moveTo>
                    <a:lnTo>
                      <a:pt x="257" y="9240"/>
                    </a:lnTo>
                    <a:lnTo>
                      <a:pt x="15823" y="18223"/>
                    </a:lnTo>
                    <a:lnTo>
                      <a:pt x="31354" y="9240"/>
                    </a:lnTo>
                    <a:lnTo>
                      <a:pt x="15823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6CE15439-8534-4ACA-B6CB-FB3685F535F4}"/>
                  </a:ext>
                </a:extLst>
              </p:cNvPr>
              <p:cNvSpPr/>
              <p:nvPr/>
            </p:nvSpPr>
            <p:spPr>
              <a:xfrm>
                <a:off x="6802697" y="1833034"/>
                <a:ext cx="28286" cy="18000"/>
              </a:xfrm>
              <a:custGeom>
                <a:avLst/>
                <a:gdLst>
                  <a:gd name="connsiteX0" fmla="*/ 29091 w 28285"/>
                  <a:gd name="connsiteY0" fmla="*/ 7937 h 18000"/>
                  <a:gd name="connsiteX1" fmla="*/ 15789 w 28285"/>
                  <a:gd name="connsiteY1" fmla="*/ 257 h 18000"/>
                  <a:gd name="connsiteX2" fmla="*/ 257 w 28285"/>
                  <a:gd name="connsiteY2" fmla="*/ 9206 h 18000"/>
                  <a:gd name="connsiteX3" fmla="*/ 15789 w 28285"/>
                  <a:gd name="connsiteY3" fmla="*/ 18189 h 18000"/>
                  <a:gd name="connsiteX4" fmla="*/ 28303 w 28285"/>
                  <a:gd name="connsiteY4" fmla="*/ 10954 h 18000"/>
                  <a:gd name="connsiteX5" fmla="*/ 29091 w 28285"/>
                  <a:gd name="connsiteY5" fmla="*/ 793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85" h="18000">
                    <a:moveTo>
                      <a:pt x="29091" y="7937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28303" y="10954"/>
                    </a:lnTo>
                    <a:cubicBezTo>
                      <a:pt x="28577" y="9960"/>
                      <a:pt x="28851" y="8932"/>
                      <a:pt x="29091" y="7937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F1DA973C-5F75-46E4-A4A5-BC5B356FF606}"/>
                  </a:ext>
                </a:extLst>
              </p:cNvPr>
              <p:cNvSpPr/>
              <p:nvPr/>
            </p:nvSpPr>
            <p:spPr>
              <a:xfrm>
                <a:off x="6734880" y="1806189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54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54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80AAFD38-467A-41FB-9CB2-C46E16F87CA2}"/>
                  </a:ext>
                </a:extLst>
              </p:cNvPr>
              <p:cNvSpPr/>
              <p:nvPr/>
            </p:nvSpPr>
            <p:spPr>
              <a:xfrm>
                <a:off x="6757474" y="1779343"/>
                <a:ext cx="30857" cy="18000"/>
              </a:xfrm>
              <a:custGeom>
                <a:avLst/>
                <a:gdLst>
                  <a:gd name="connsiteX0" fmla="*/ 15789 w 30857"/>
                  <a:gd name="connsiteY0" fmla="*/ 18223 h 18000"/>
                  <a:gd name="connsiteX1" fmla="*/ 31354 w 30857"/>
                  <a:gd name="connsiteY1" fmla="*/ 9240 h 18000"/>
                  <a:gd name="connsiteX2" fmla="*/ 15789 w 30857"/>
                  <a:gd name="connsiteY2" fmla="*/ 257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223"/>
                    </a:moveTo>
                    <a:lnTo>
                      <a:pt x="31354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D103206C-048D-4517-B377-5593EDD588DF}"/>
                  </a:ext>
                </a:extLst>
              </p:cNvPr>
              <p:cNvSpPr/>
              <p:nvPr/>
            </p:nvSpPr>
            <p:spPr>
              <a:xfrm>
                <a:off x="6734880" y="1859846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223 h 18000"/>
                  <a:gd name="connsiteX2" fmla="*/ 31354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223"/>
                    </a:lnTo>
                    <a:lnTo>
                      <a:pt x="31354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7D4EBF48-D93C-4472-A26F-9E3DEA2FD9AD}"/>
                  </a:ext>
                </a:extLst>
              </p:cNvPr>
              <p:cNvSpPr/>
              <p:nvPr/>
            </p:nvSpPr>
            <p:spPr>
              <a:xfrm>
                <a:off x="6757474" y="1833034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54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54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2E6954B1-0C04-40E5-92EF-1197A23DAE5A}"/>
                  </a:ext>
                </a:extLst>
              </p:cNvPr>
              <p:cNvSpPr/>
              <p:nvPr/>
            </p:nvSpPr>
            <p:spPr>
              <a:xfrm>
                <a:off x="6740709" y="1913537"/>
                <a:ext cx="12857" cy="5143"/>
              </a:xfrm>
              <a:custGeom>
                <a:avLst/>
                <a:gdLst>
                  <a:gd name="connsiteX0" fmla="*/ 257 w 12857"/>
                  <a:gd name="connsiteY0" fmla="*/ 5846 h 5142"/>
                  <a:gd name="connsiteX1" fmla="*/ 11571 w 12857"/>
                  <a:gd name="connsiteY1" fmla="*/ 3068 h 5142"/>
                  <a:gd name="connsiteX2" fmla="*/ 13663 w 12857"/>
                  <a:gd name="connsiteY2" fmla="*/ 2383 h 5142"/>
                  <a:gd name="connsiteX3" fmla="*/ 9960 w 12857"/>
                  <a:gd name="connsiteY3" fmla="*/ 257 h 5142"/>
                  <a:gd name="connsiteX4" fmla="*/ 257 w 12857"/>
                  <a:gd name="connsiteY4" fmla="*/ 5846 h 5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57" h="5142">
                    <a:moveTo>
                      <a:pt x="257" y="5846"/>
                    </a:moveTo>
                    <a:cubicBezTo>
                      <a:pt x="4234" y="5057"/>
                      <a:pt x="8040" y="4131"/>
                      <a:pt x="11571" y="3068"/>
                    </a:cubicBezTo>
                    <a:cubicBezTo>
                      <a:pt x="12291" y="2863"/>
                      <a:pt x="12977" y="2589"/>
                      <a:pt x="13663" y="2383"/>
                    </a:cubicBezTo>
                    <a:lnTo>
                      <a:pt x="9960" y="257"/>
                    </a:lnTo>
                    <a:lnTo>
                      <a:pt x="257" y="584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A413BA5B-0BDD-465E-8118-B9347D3937BD}"/>
                  </a:ext>
                </a:extLst>
              </p:cNvPr>
              <p:cNvSpPr/>
              <p:nvPr/>
            </p:nvSpPr>
            <p:spPr>
              <a:xfrm>
                <a:off x="6757474" y="188669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54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54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00016F9C-674F-4DCE-8F80-05BA70C81626}"/>
                  </a:ext>
                </a:extLst>
              </p:cNvPr>
              <p:cNvSpPr/>
              <p:nvPr/>
            </p:nvSpPr>
            <p:spPr>
              <a:xfrm>
                <a:off x="6689691" y="1806189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76635334-9DB9-4312-8CF9-D8D4B5F83C97}"/>
                  </a:ext>
                </a:extLst>
              </p:cNvPr>
              <p:cNvSpPr/>
              <p:nvPr/>
            </p:nvSpPr>
            <p:spPr>
              <a:xfrm>
                <a:off x="6712286" y="1779343"/>
                <a:ext cx="30857" cy="18000"/>
              </a:xfrm>
              <a:custGeom>
                <a:avLst/>
                <a:gdLst>
                  <a:gd name="connsiteX0" fmla="*/ 15789 w 30857"/>
                  <a:gd name="connsiteY0" fmla="*/ 18223 h 18000"/>
                  <a:gd name="connsiteX1" fmla="*/ 31320 w 30857"/>
                  <a:gd name="connsiteY1" fmla="*/ 9240 h 18000"/>
                  <a:gd name="connsiteX2" fmla="*/ 15789 w 30857"/>
                  <a:gd name="connsiteY2" fmla="*/ 257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223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0A9F7470-0A89-4B31-BA9F-9BF5C8DEA281}"/>
                  </a:ext>
                </a:extLst>
              </p:cNvPr>
              <p:cNvSpPr/>
              <p:nvPr/>
            </p:nvSpPr>
            <p:spPr>
              <a:xfrm>
                <a:off x="6689691" y="1859846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223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C5B39E79-616F-4A0C-905E-3869CCC8B04D}"/>
                  </a:ext>
                </a:extLst>
              </p:cNvPr>
              <p:cNvSpPr/>
              <p:nvPr/>
            </p:nvSpPr>
            <p:spPr>
              <a:xfrm>
                <a:off x="6712286" y="1833034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589E5304-87EE-4D57-AE5B-8C4A1130515E}"/>
                  </a:ext>
                </a:extLst>
              </p:cNvPr>
              <p:cNvSpPr/>
              <p:nvPr/>
            </p:nvSpPr>
            <p:spPr>
              <a:xfrm>
                <a:off x="6695074" y="1913537"/>
                <a:ext cx="23143" cy="7714"/>
              </a:xfrm>
              <a:custGeom>
                <a:avLst/>
                <a:gdLst>
                  <a:gd name="connsiteX0" fmla="*/ 257 w 23142"/>
                  <a:gd name="connsiteY0" fmla="*/ 6120 h 7714"/>
                  <a:gd name="connsiteX1" fmla="*/ 24257 w 23142"/>
                  <a:gd name="connsiteY1" fmla="*/ 8246 h 7714"/>
                  <a:gd name="connsiteX2" fmla="*/ 10406 w 23142"/>
                  <a:gd name="connsiteY2" fmla="*/ 257 h 7714"/>
                  <a:gd name="connsiteX3" fmla="*/ 257 w 23142"/>
                  <a:gd name="connsiteY3" fmla="*/ 6120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142" h="7714">
                    <a:moveTo>
                      <a:pt x="257" y="6120"/>
                    </a:moveTo>
                    <a:cubicBezTo>
                      <a:pt x="8006" y="7800"/>
                      <a:pt x="16166" y="8451"/>
                      <a:pt x="24257" y="8246"/>
                    </a:cubicBezTo>
                    <a:lnTo>
                      <a:pt x="10406" y="257"/>
                    </a:lnTo>
                    <a:lnTo>
                      <a:pt x="257" y="612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66E8A316-0247-4866-A20E-C364E7A6D9DD}"/>
                  </a:ext>
                </a:extLst>
              </p:cNvPr>
              <p:cNvSpPr/>
              <p:nvPr/>
            </p:nvSpPr>
            <p:spPr>
              <a:xfrm>
                <a:off x="6712286" y="188669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5F04A3FF-3E34-4DB4-94E3-71DE532AE2B6}"/>
                  </a:ext>
                </a:extLst>
              </p:cNvPr>
              <p:cNvSpPr/>
              <p:nvPr/>
            </p:nvSpPr>
            <p:spPr>
              <a:xfrm>
                <a:off x="6644709" y="1806189"/>
                <a:ext cx="30857" cy="18000"/>
              </a:xfrm>
              <a:custGeom>
                <a:avLst/>
                <a:gdLst>
                  <a:gd name="connsiteX0" fmla="*/ 31114 w 30857"/>
                  <a:gd name="connsiteY0" fmla="*/ 9240 h 18000"/>
                  <a:gd name="connsiteX1" fmla="*/ 15583 w 30857"/>
                  <a:gd name="connsiteY1" fmla="*/ 257 h 18000"/>
                  <a:gd name="connsiteX2" fmla="*/ 360 w 30857"/>
                  <a:gd name="connsiteY2" fmla="*/ 9069 h 18000"/>
                  <a:gd name="connsiteX3" fmla="*/ 257 w 30857"/>
                  <a:gd name="connsiteY3" fmla="*/ 9343 h 18000"/>
                  <a:gd name="connsiteX4" fmla="*/ 15583 w 30857"/>
                  <a:gd name="connsiteY4" fmla="*/ 18189 h 18000"/>
                  <a:gd name="connsiteX5" fmla="*/ 31114 w 30857"/>
                  <a:gd name="connsiteY5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31114" y="9240"/>
                    </a:moveTo>
                    <a:lnTo>
                      <a:pt x="15583" y="257"/>
                    </a:lnTo>
                    <a:lnTo>
                      <a:pt x="360" y="9069"/>
                    </a:lnTo>
                    <a:cubicBezTo>
                      <a:pt x="325" y="9137"/>
                      <a:pt x="291" y="9240"/>
                      <a:pt x="257" y="9343"/>
                    </a:cubicBezTo>
                    <a:lnTo>
                      <a:pt x="15583" y="18189"/>
                    </a:lnTo>
                    <a:lnTo>
                      <a:pt x="31114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B015C2A3-DF6E-40E1-916C-D5A4067576A1}"/>
                  </a:ext>
                </a:extLst>
              </p:cNvPr>
              <p:cNvSpPr/>
              <p:nvPr/>
            </p:nvSpPr>
            <p:spPr>
              <a:xfrm>
                <a:off x="6654000" y="1859846"/>
                <a:ext cx="20571" cy="18000"/>
              </a:xfrm>
              <a:custGeom>
                <a:avLst/>
                <a:gdLst>
                  <a:gd name="connsiteX0" fmla="*/ 6291 w 20571"/>
                  <a:gd name="connsiteY0" fmla="*/ 18223 h 18000"/>
                  <a:gd name="connsiteX1" fmla="*/ 21823 w 20571"/>
                  <a:gd name="connsiteY1" fmla="*/ 9240 h 18000"/>
                  <a:gd name="connsiteX2" fmla="*/ 6291 w 20571"/>
                  <a:gd name="connsiteY2" fmla="*/ 257 h 18000"/>
                  <a:gd name="connsiteX3" fmla="*/ 3171 w 20571"/>
                  <a:gd name="connsiteY3" fmla="*/ 2074 h 18000"/>
                  <a:gd name="connsiteX4" fmla="*/ 3583 w 20571"/>
                  <a:gd name="connsiteY4" fmla="*/ 2623 h 18000"/>
                  <a:gd name="connsiteX5" fmla="*/ 257 w 20571"/>
                  <a:gd name="connsiteY5" fmla="*/ 14726 h 18000"/>
                  <a:gd name="connsiteX6" fmla="*/ 6291 w 20571"/>
                  <a:gd name="connsiteY6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571" h="18000">
                    <a:moveTo>
                      <a:pt x="6291" y="18223"/>
                    </a:moveTo>
                    <a:lnTo>
                      <a:pt x="21823" y="9240"/>
                    </a:lnTo>
                    <a:lnTo>
                      <a:pt x="6291" y="257"/>
                    </a:lnTo>
                    <a:lnTo>
                      <a:pt x="3171" y="2074"/>
                    </a:lnTo>
                    <a:cubicBezTo>
                      <a:pt x="3309" y="2246"/>
                      <a:pt x="3411" y="2452"/>
                      <a:pt x="3583" y="2623"/>
                    </a:cubicBezTo>
                    <a:cubicBezTo>
                      <a:pt x="1594" y="6360"/>
                      <a:pt x="566" y="10474"/>
                      <a:pt x="257" y="14726"/>
                    </a:cubicBezTo>
                    <a:lnTo>
                      <a:pt x="6291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78FAEC17-7B71-415F-AF9F-F569750D868E}"/>
                  </a:ext>
                </a:extLst>
              </p:cNvPr>
              <p:cNvSpPr/>
              <p:nvPr/>
            </p:nvSpPr>
            <p:spPr>
              <a:xfrm>
                <a:off x="6667097" y="1833034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9D639400-A46F-4A90-932A-C968EE4DBC5D}"/>
                  </a:ext>
                </a:extLst>
              </p:cNvPr>
              <p:cNvSpPr/>
              <p:nvPr/>
            </p:nvSpPr>
            <p:spPr>
              <a:xfrm>
                <a:off x="6644811" y="1837286"/>
                <a:ext cx="7714" cy="7714"/>
              </a:xfrm>
              <a:custGeom>
                <a:avLst/>
                <a:gdLst>
                  <a:gd name="connsiteX0" fmla="*/ 8417 w 7714"/>
                  <a:gd name="connsiteY0" fmla="*/ 4954 h 7714"/>
                  <a:gd name="connsiteX1" fmla="*/ 257 w 7714"/>
                  <a:gd name="connsiteY1" fmla="*/ 257 h 7714"/>
                  <a:gd name="connsiteX2" fmla="*/ 2657 w 7714"/>
                  <a:gd name="connsiteY2" fmla="*/ 8280 h 7714"/>
                  <a:gd name="connsiteX3" fmla="*/ 8417 w 7714"/>
                  <a:gd name="connsiteY3" fmla="*/ 4954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4" h="7714">
                    <a:moveTo>
                      <a:pt x="8417" y="4954"/>
                    </a:moveTo>
                    <a:lnTo>
                      <a:pt x="257" y="257"/>
                    </a:lnTo>
                    <a:cubicBezTo>
                      <a:pt x="874" y="3034"/>
                      <a:pt x="1697" y="5709"/>
                      <a:pt x="2657" y="8280"/>
                    </a:cubicBezTo>
                    <a:lnTo>
                      <a:pt x="8417" y="4954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93E67309-F8D1-48E1-87F8-D62D83142D65}"/>
                  </a:ext>
                </a:extLst>
              </p:cNvPr>
              <p:cNvSpPr/>
              <p:nvPr/>
            </p:nvSpPr>
            <p:spPr>
              <a:xfrm>
                <a:off x="6667097" y="1886692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338FA109-988B-47FD-90D0-5C8EB846AF81}"/>
                  </a:ext>
                </a:extLst>
              </p:cNvPr>
              <p:cNvSpPr/>
              <p:nvPr/>
            </p:nvSpPr>
            <p:spPr>
              <a:xfrm>
                <a:off x="6739097" y="1762949"/>
                <a:ext cx="23143" cy="7714"/>
              </a:xfrm>
              <a:custGeom>
                <a:avLst/>
                <a:gdLst>
                  <a:gd name="connsiteX0" fmla="*/ 24360 w 23142"/>
                  <a:gd name="connsiteY0" fmla="*/ 400 h 7714"/>
                  <a:gd name="connsiteX1" fmla="*/ 257 w 23142"/>
                  <a:gd name="connsiteY1" fmla="*/ 1223 h 7714"/>
                  <a:gd name="connsiteX2" fmla="*/ 11571 w 23142"/>
                  <a:gd name="connsiteY2" fmla="*/ 7771 h 7714"/>
                  <a:gd name="connsiteX3" fmla="*/ 24360 w 23142"/>
                  <a:gd name="connsiteY3" fmla="*/ 400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142" h="7714">
                    <a:moveTo>
                      <a:pt x="24360" y="400"/>
                    </a:moveTo>
                    <a:cubicBezTo>
                      <a:pt x="16474" y="57"/>
                      <a:pt x="8383" y="332"/>
                      <a:pt x="257" y="1223"/>
                    </a:cubicBezTo>
                    <a:lnTo>
                      <a:pt x="11571" y="7771"/>
                    </a:lnTo>
                    <a:lnTo>
                      <a:pt x="24360" y="40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916CF34C-643A-415E-B881-FCD9628E9C67}"/>
                  </a:ext>
                </a:extLst>
              </p:cNvPr>
              <p:cNvSpPr/>
              <p:nvPr/>
            </p:nvSpPr>
            <p:spPr>
              <a:xfrm>
                <a:off x="6667097" y="1779446"/>
                <a:ext cx="30857" cy="18000"/>
              </a:xfrm>
              <a:custGeom>
                <a:avLst/>
                <a:gdLst>
                  <a:gd name="connsiteX0" fmla="*/ 15960 w 30857"/>
                  <a:gd name="connsiteY0" fmla="*/ 257 h 18000"/>
                  <a:gd name="connsiteX1" fmla="*/ 14246 w 30857"/>
                  <a:gd name="connsiteY1" fmla="*/ 1080 h 18000"/>
                  <a:gd name="connsiteX2" fmla="*/ 257 w 30857"/>
                  <a:gd name="connsiteY2" fmla="*/ 9137 h 18000"/>
                  <a:gd name="connsiteX3" fmla="*/ 15789 w 30857"/>
                  <a:gd name="connsiteY3" fmla="*/ 18120 h 18000"/>
                  <a:gd name="connsiteX4" fmla="*/ 31320 w 30857"/>
                  <a:gd name="connsiteY4" fmla="*/ 9137 h 18000"/>
                  <a:gd name="connsiteX5" fmla="*/ 15960 w 30857"/>
                  <a:gd name="connsiteY5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15960" y="257"/>
                    </a:moveTo>
                    <a:cubicBezTo>
                      <a:pt x="15377" y="531"/>
                      <a:pt x="14794" y="806"/>
                      <a:pt x="14246" y="1080"/>
                    </a:cubicBezTo>
                    <a:lnTo>
                      <a:pt x="257" y="9137"/>
                    </a:lnTo>
                    <a:lnTo>
                      <a:pt x="15789" y="18120"/>
                    </a:lnTo>
                    <a:lnTo>
                      <a:pt x="31320" y="9137"/>
                    </a:lnTo>
                    <a:lnTo>
                      <a:pt x="15960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A45F09E5-F91E-4C10-8019-2D44763E383B}"/>
                  </a:ext>
                </a:extLst>
              </p:cNvPr>
              <p:cNvSpPr/>
              <p:nvPr/>
            </p:nvSpPr>
            <p:spPr>
              <a:xfrm>
                <a:off x="6689691" y="1272806"/>
                <a:ext cx="18000" cy="12857"/>
              </a:xfrm>
              <a:custGeom>
                <a:avLst/>
                <a:gdLst>
                  <a:gd name="connsiteX0" fmla="*/ 18840 w 18000"/>
                  <a:gd name="connsiteY0" fmla="*/ 13149 h 12857"/>
                  <a:gd name="connsiteX1" fmla="*/ 10063 w 18000"/>
                  <a:gd name="connsiteY1" fmla="*/ 257 h 12857"/>
                  <a:gd name="connsiteX2" fmla="*/ 257 w 18000"/>
                  <a:gd name="connsiteY2" fmla="*/ 5949 h 12857"/>
                  <a:gd name="connsiteX3" fmla="*/ 15789 w 18000"/>
                  <a:gd name="connsiteY3" fmla="*/ 14897 h 12857"/>
                  <a:gd name="connsiteX4" fmla="*/ 18840 w 18000"/>
                  <a:gd name="connsiteY4" fmla="*/ 13149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00" h="12857">
                    <a:moveTo>
                      <a:pt x="18840" y="13149"/>
                    </a:moveTo>
                    <a:cubicBezTo>
                      <a:pt x="16680" y="8554"/>
                      <a:pt x="13800" y="4200"/>
                      <a:pt x="10063" y="257"/>
                    </a:cubicBezTo>
                    <a:lnTo>
                      <a:pt x="257" y="5949"/>
                    </a:lnTo>
                    <a:lnTo>
                      <a:pt x="15789" y="14897"/>
                    </a:lnTo>
                    <a:lnTo>
                      <a:pt x="18840" y="1314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B1CFF6C8-424F-400D-A8EC-DB0202FF4C4A}"/>
                  </a:ext>
                </a:extLst>
              </p:cNvPr>
              <p:cNvSpPr/>
              <p:nvPr/>
            </p:nvSpPr>
            <p:spPr>
              <a:xfrm>
                <a:off x="6689691" y="1323172"/>
                <a:ext cx="18000" cy="15429"/>
              </a:xfrm>
              <a:custGeom>
                <a:avLst/>
                <a:gdLst>
                  <a:gd name="connsiteX0" fmla="*/ 257 w 18000"/>
                  <a:gd name="connsiteY0" fmla="*/ 9240 h 15428"/>
                  <a:gd name="connsiteX1" fmla="*/ 11469 w 18000"/>
                  <a:gd name="connsiteY1" fmla="*/ 15720 h 15428"/>
                  <a:gd name="connsiteX2" fmla="*/ 19560 w 18000"/>
                  <a:gd name="connsiteY2" fmla="*/ 2452 h 15428"/>
                  <a:gd name="connsiteX3" fmla="*/ 15789 w 18000"/>
                  <a:gd name="connsiteY3" fmla="*/ 257 h 15428"/>
                  <a:gd name="connsiteX4" fmla="*/ 257 w 18000"/>
                  <a:gd name="connsiteY4" fmla="*/ 9240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00" h="15428">
                    <a:moveTo>
                      <a:pt x="257" y="9240"/>
                    </a:moveTo>
                    <a:lnTo>
                      <a:pt x="11469" y="15720"/>
                    </a:lnTo>
                    <a:cubicBezTo>
                      <a:pt x="14897" y="11606"/>
                      <a:pt x="17606" y="7148"/>
                      <a:pt x="19560" y="2452"/>
                    </a:cubicBez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29CE3CF4-140B-49E4-8C84-20F97345F321}"/>
                  </a:ext>
                </a:extLst>
              </p:cNvPr>
              <p:cNvSpPr/>
              <p:nvPr/>
            </p:nvSpPr>
            <p:spPr>
              <a:xfrm>
                <a:off x="6712286" y="1305000"/>
                <a:ext cx="2571" cy="2571"/>
              </a:xfrm>
              <a:custGeom>
                <a:avLst/>
                <a:gdLst>
                  <a:gd name="connsiteX0" fmla="*/ 806 w 0"/>
                  <a:gd name="connsiteY0" fmla="*/ 257 h 0"/>
                  <a:gd name="connsiteX1" fmla="*/ 257 w 0"/>
                  <a:gd name="connsiteY1" fmla="*/ 566 h 0"/>
                  <a:gd name="connsiteX2" fmla="*/ 840 w 0"/>
                  <a:gd name="connsiteY2" fmla="*/ 909 h 0"/>
                  <a:gd name="connsiteX3" fmla="*/ 806 w 0"/>
                  <a:gd name="connsiteY3" fmla="*/ 257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806" y="257"/>
                    </a:moveTo>
                    <a:lnTo>
                      <a:pt x="257" y="566"/>
                    </a:lnTo>
                    <a:lnTo>
                      <a:pt x="840" y="909"/>
                    </a:lnTo>
                    <a:cubicBezTo>
                      <a:pt x="840" y="703"/>
                      <a:pt x="806" y="463"/>
                      <a:pt x="806" y="257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2580CA6D-66D4-44B7-A33D-3F752856D089}"/>
                  </a:ext>
                </a:extLst>
              </p:cNvPr>
              <p:cNvSpPr/>
              <p:nvPr/>
            </p:nvSpPr>
            <p:spPr>
              <a:xfrm>
                <a:off x="6689691" y="1596360"/>
                <a:ext cx="18000" cy="12857"/>
              </a:xfrm>
              <a:custGeom>
                <a:avLst/>
                <a:gdLst>
                  <a:gd name="connsiteX0" fmla="*/ 18909 w 18000"/>
                  <a:gd name="connsiteY0" fmla="*/ 11537 h 12857"/>
                  <a:gd name="connsiteX1" fmla="*/ 17709 w 18000"/>
                  <a:gd name="connsiteY1" fmla="*/ 9960 h 12857"/>
                  <a:gd name="connsiteX2" fmla="*/ 7423 w 18000"/>
                  <a:gd name="connsiteY2" fmla="*/ 257 h 12857"/>
                  <a:gd name="connsiteX3" fmla="*/ 257 w 18000"/>
                  <a:gd name="connsiteY3" fmla="*/ 4371 h 12857"/>
                  <a:gd name="connsiteX4" fmla="*/ 15789 w 18000"/>
                  <a:gd name="connsiteY4" fmla="*/ 13354 h 12857"/>
                  <a:gd name="connsiteX5" fmla="*/ 18909 w 18000"/>
                  <a:gd name="connsiteY5" fmla="*/ 11537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000" h="12857">
                    <a:moveTo>
                      <a:pt x="18909" y="11537"/>
                    </a:moveTo>
                    <a:cubicBezTo>
                      <a:pt x="18497" y="11023"/>
                      <a:pt x="18154" y="10474"/>
                      <a:pt x="17709" y="9960"/>
                    </a:cubicBezTo>
                    <a:cubicBezTo>
                      <a:pt x="14589" y="6223"/>
                      <a:pt x="11092" y="3034"/>
                      <a:pt x="7423" y="257"/>
                    </a:cubicBezTo>
                    <a:lnTo>
                      <a:pt x="257" y="4371"/>
                    </a:lnTo>
                    <a:lnTo>
                      <a:pt x="15789" y="13354"/>
                    </a:lnTo>
                    <a:lnTo>
                      <a:pt x="18909" y="115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73BA5205-4A8C-40FA-A164-BD95DA2B2F72}"/>
                  </a:ext>
                </a:extLst>
              </p:cNvPr>
              <p:cNvSpPr/>
              <p:nvPr/>
            </p:nvSpPr>
            <p:spPr>
              <a:xfrm>
                <a:off x="6689691" y="1645183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2ACA1B89-F5BF-4E4F-A468-9FB232B560D5}"/>
                  </a:ext>
                </a:extLst>
              </p:cNvPr>
              <p:cNvSpPr/>
              <p:nvPr/>
            </p:nvSpPr>
            <p:spPr>
              <a:xfrm>
                <a:off x="6712286" y="1624234"/>
                <a:ext cx="7714" cy="7714"/>
              </a:xfrm>
              <a:custGeom>
                <a:avLst/>
                <a:gdLst>
                  <a:gd name="connsiteX0" fmla="*/ 7869 w 7714"/>
                  <a:gd name="connsiteY0" fmla="*/ 7732 h 7714"/>
                  <a:gd name="connsiteX1" fmla="*/ 5606 w 7714"/>
                  <a:gd name="connsiteY1" fmla="*/ 257 h 7714"/>
                  <a:gd name="connsiteX2" fmla="*/ 257 w 7714"/>
                  <a:gd name="connsiteY2" fmla="*/ 3343 h 7714"/>
                  <a:gd name="connsiteX3" fmla="*/ 257 w 7714"/>
                  <a:gd name="connsiteY3" fmla="*/ 3343 h 7714"/>
                  <a:gd name="connsiteX4" fmla="*/ 257 w 7714"/>
                  <a:gd name="connsiteY4" fmla="*/ 3343 h 7714"/>
                  <a:gd name="connsiteX5" fmla="*/ 7869 w 7714"/>
                  <a:gd name="connsiteY5" fmla="*/ 7732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714" h="7714">
                    <a:moveTo>
                      <a:pt x="7869" y="7732"/>
                    </a:moveTo>
                    <a:cubicBezTo>
                      <a:pt x="7286" y="5194"/>
                      <a:pt x="6531" y="2726"/>
                      <a:pt x="5606" y="257"/>
                    </a:cubicBezTo>
                    <a:lnTo>
                      <a:pt x="257" y="3343"/>
                    </a:lnTo>
                    <a:lnTo>
                      <a:pt x="257" y="3343"/>
                    </a:lnTo>
                    <a:lnTo>
                      <a:pt x="257" y="3343"/>
                    </a:lnTo>
                    <a:lnTo>
                      <a:pt x="7869" y="7732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559E87F7-6E67-4BCC-A0CB-44CB25AC2191}"/>
                  </a:ext>
                </a:extLst>
              </p:cNvPr>
              <p:cNvSpPr/>
              <p:nvPr/>
            </p:nvSpPr>
            <p:spPr>
              <a:xfrm>
                <a:off x="6644503" y="1269515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31320 w 30857"/>
                  <a:gd name="connsiteY1" fmla="*/ 9240 h 18000"/>
                  <a:gd name="connsiteX2" fmla="*/ 15789 w 30857"/>
                  <a:gd name="connsiteY2" fmla="*/ 257 h 18000"/>
                  <a:gd name="connsiteX3" fmla="*/ 257 w 30857"/>
                  <a:gd name="connsiteY3" fmla="*/ 9240 h 18000"/>
                  <a:gd name="connsiteX4" fmla="*/ 15789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36AE03AA-F0B7-4EEF-A775-12CCA87D5E8E}"/>
                  </a:ext>
                </a:extLst>
              </p:cNvPr>
              <p:cNvSpPr/>
              <p:nvPr/>
            </p:nvSpPr>
            <p:spPr>
              <a:xfrm>
                <a:off x="6667101" y="1251492"/>
                <a:ext cx="15429" cy="7714"/>
              </a:xfrm>
              <a:custGeom>
                <a:avLst/>
                <a:gdLst>
                  <a:gd name="connsiteX0" fmla="*/ 15905 w 15428"/>
                  <a:gd name="connsiteY0" fmla="*/ 9337 h 7714"/>
                  <a:gd name="connsiteX1" fmla="*/ 533 w 15428"/>
                  <a:gd name="connsiteY1" fmla="*/ 258 h 7714"/>
                  <a:gd name="connsiteX2" fmla="*/ 258 w 15428"/>
                  <a:gd name="connsiteY2" fmla="*/ 430 h 7714"/>
                  <a:gd name="connsiteX3" fmla="*/ 15802 w 15428"/>
                  <a:gd name="connsiteY3" fmla="*/ 9371 h 7714"/>
                  <a:gd name="connsiteX4" fmla="*/ 15905 w 15428"/>
                  <a:gd name="connsiteY4" fmla="*/ 93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28" h="7714">
                    <a:moveTo>
                      <a:pt x="15905" y="9337"/>
                    </a:moveTo>
                    <a:cubicBezTo>
                      <a:pt x="10815" y="6242"/>
                      <a:pt x="5691" y="3147"/>
                      <a:pt x="533" y="258"/>
                    </a:cubicBezTo>
                    <a:lnTo>
                      <a:pt x="258" y="430"/>
                    </a:lnTo>
                    <a:lnTo>
                      <a:pt x="15802" y="9371"/>
                    </a:lnTo>
                    <a:lnTo>
                      <a:pt x="15905" y="9337"/>
                    </a:lnTo>
                  </a:path>
                </a:pathLst>
              </a:custGeom>
              <a:solidFill>
                <a:srgbClr val="969A9E"/>
              </a:solidFill>
              <a:ln w="12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74B730D6-67BA-4DAF-AB1A-5B43ABBD3896}"/>
                  </a:ext>
                </a:extLst>
              </p:cNvPr>
              <p:cNvSpPr/>
              <p:nvPr/>
            </p:nvSpPr>
            <p:spPr>
              <a:xfrm>
                <a:off x="6644503" y="132317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9D8A6303-42FE-497E-8A4D-DFA2930FA4B0}"/>
                  </a:ext>
                </a:extLst>
              </p:cNvPr>
              <p:cNvSpPr/>
              <p:nvPr/>
            </p:nvSpPr>
            <p:spPr>
              <a:xfrm>
                <a:off x="6667097" y="1296360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06 h 18000"/>
                  <a:gd name="connsiteX2" fmla="*/ 15789 w 30857"/>
                  <a:gd name="connsiteY2" fmla="*/ 18189 h 18000"/>
                  <a:gd name="connsiteX3" fmla="*/ 31320 w 30857"/>
                  <a:gd name="connsiteY3" fmla="*/ 9206 h 18000"/>
                  <a:gd name="connsiteX4" fmla="*/ 15789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8ECB2B70-3748-4305-9C36-8BF017FC56F1}"/>
                  </a:ext>
                </a:extLst>
              </p:cNvPr>
              <p:cNvSpPr/>
              <p:nvPr/>
            </p:nvSpPr>
            <p:spPr>
              <a:xfrm>
                <a:off x="6667097" y="1350017"/>
                <a:ext cx="18000" cy="10286"/>
              </a:xfrm>
              <a:custGeom>
                <a:avLst/>
                <a:gdLst>
                  <a:gd name="connsiteX0" fmla="*/ 15789 w 18000"/>
                  <a:gd name="connsiteY0" fmla="*/ 257 h 10285"/>
                  <a:gd name="connsiteX1" fmla="*/ 257 w 18000"/>
                  <a:gd name="connsiteY1" fmla="*/ 9206 h 10285"/>
                  <a:gd name="connsiteX2" fmla="*/ 257 w 18000"/>
                  <a:gd name="connsiteY2" fmla="*/ 9240 h 10285"/>
                  <a:gd name="connsiteX3" fmla="*/ 4269 w 18000"/>
                  <a:gd name="connsiteY3" fmla="*/ 11537 h 10285"/>
                  <a:gd name="connsiteX4" fmla="*/ 18737 w 18000"/>
                  <a:gd name="connsiteY4" fmla="*/ 1937 h 10285"/>
                  <a:gd name="connsiteX5" fmla="*/ 15789 w 18000"/>
                  <a:gd name="connsiteY5" fmla="*/ 257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000" h="10285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257" y="9240"/>
                    </a:lnTo>
                    <a:lnTo>
                      <a:pt x="4269" y="11537"/>
                    </a:lnTo>
                    <a:cubicBezTo>
                      <a:pt x="9069" y="8349"/>
                      <a:pt x="13903" y="5160"/>
                      <a:pt x="18737" y="1937"/>
                    </a:cubicBez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A912E388-96D1-4CA9-9C57-B142C2CC813D}"/>
                  </a:ext>
                </a:extLst>
              </p:cNvPr>
              <p:cNvSpPr/>
              <p:nvPr/>
            </p:nvSpPr>
            <p:spPr>
              <a:xfrm>
                <a:off x="6644503" y="1591526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FE0C4DBB-A4A8-4579-83DA-9447FF58A68F}"/>
                  </a:ext>
                </a:extLst>
              </p:cNvPr>
              <p:cNvSpPr/>
              <p:nvPr/>
            </p:nvSpPr>
            <p:spPr>
              <a:xfrm>
                <a:off x="6644503" y="164518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9613CA6C-9423-4B3A-B037-0294D49E358A}"/>
                  </a:ext>
                </a:extLst>
              </p:cNvPr>
              <p:cNvSpPr/>
              <p:nvPr/>
            </p:nvSpPr>
            <p:spPr>
              <a:xfrm>
                <a:off x="6667097" y="1618337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8040 w 30857"/>
                  <a:gd name="connsiteY1" fmla="*/ 4748 h 18000"/>
                  <a:gd name="connsiteX2" fmla="*/ 257 w 30857"/>
                  <a:gd name="connsiteY2" fmla="*/ 9240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  <a:gd name="connsiteX5" fmla="*/ 31320 w 30857"/>
                  <a:gd name="connsiteY5" fmla="*/ 9240 h 18000"/>
                  <a:gd name="connsiteX6" fmla="*/ 15789 w 30857"/>
                  <a:gd name="connsiteY6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F81B559D-81A1-4929-8C32-C6340858B800}"/>
                  </a:ext>
                </a:extLst>
              </p:cNvPr>
              <p:cNvSpPr/>
              <p:nvPr/>
            </p:nvSpPr>
            <p:spPr>
              <a:xfrm>
                <a:off x="6644503" y="1698840"/>
                <a:ext cx="30857" cy="15429"/>
              </a:xfrm>
              <a:custGeom>
                <a:avLst/>
                <a:gdLst>
                  <a:gd name="connsiteX0" fmla="*/ 24600 w 30857"/>
                  <a:gd name="connsiteY0" fmla="*/ 13114 h 15428"/>
                  <a:gd name="connsiteX1" fmla="*/ 31320 w 30857"/>
                  <a:gd name="connsiteY1" fmla="*/ 9240 h 15428"/>
                  <a:gd name="connsiteX2" fmla="*/ 15789 w 30857"/>
                  <a:gd name="connsiteY2" fmla="*/ 257 h 15428"/>
                  <a:gd name="connsiteX3" fmla="*/ 257 w 30857"/>
                  <a:gd name="connsiteY3" fmla="*/ 9240 h 15428"/>
                  <a:gd name="connsiteX4" fmla="*/ 12909 w 30857"/>
                  <a:gd name="connsiteY4" fmla="*/ 16543 h 15428"/>
                  <a:gd name="connsiteX5" fmla="*/ 24600 w 30857"/>
                  <a:gd name="connsiteY5" fmla="*/ 13114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5428">
                    <a:moveTo>
                      <a:pt x="24600" y="13114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2909" y="16543"/>
                    </a:lnTo>
                    <a:cubicBezTo>
                      <a:pt x="16886" y="15548"/>
                      <a:pt x="20794" y="14417"/>
                      <a:pt x="24600" y="13114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FE280A56-CD82-4F25-81DE-DD30F89DC973}"/>
                  </a:ext>
                </a:extLst>
              </p:cNvPr>
              <p:cNvSpPr/>
              <p:nvPr/>
            </p:nvSpPr>
            <p:spPr>
              <a:xfrm>
                <a:off x="6667097" y="1672029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15789 w 30857"/>
                  <a:gd name="connsiteY2" fmla="*/ 18189 h 18000"/>
                  <a:gd name="connsiteX3" fmla="*/ 31320 w 30857"/>
                  <a:gd name="connsiteY3" fmla="*/ 9206 h 18000"/>
                  <a:gd name="connsiteX4" fmla="*/ 15789 w 30857"/>
                  <a:gd name="connsiteY4" fmla="*/ 257 h 18000"/>
                  <a:gd name="connsiteX5" fmla="*/ 257 w 30857"/>
                  <a:gd name="connsiteY5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A3F1B4C4-42D5-44DA-A2DE-3B4664990DC0}"/>
                  </a:ext>
                </a:extLst>
              </p:cNvPr>
              <p:cNvSpPr/>
              <p:nvPr/>
            </p:nvSpPr>
            <p:spPr>
              <a:xfrm>
                <a:off x="6599322" y="1221871"/>
                <a:ext cx="23143" cy="10286"/>
              </a:xfrm>
              <a:custGeom>
                <a:avLst/>
                <a:gdLst>
                  <a:gd name="connsiteX0" fmla="*/ 23456 w 23142"/>
                  <a:gd name="connsiteY0" fmla="*/ 7726 h 10285"/>
                  <a:gd name="connsiteX1" fmla="*/ 5341 w 23142"/>
                  <a:gd name="connsiteY1" fmla="*/ 259 h 10285"/>
                  <a:gd name="connsiteX2" fmla="*/ 259 w 23142"/>
                  <a:gd name="connsiteY2" fmla="*/ 3198 h 10285"/>
                  <a:gd name="connsiteX3" fmla="*/ 15782 w 23142"/>
                  <a:gd name="connsiteY3" fmla="*/ 12152 h 10285"/>
                  <a:gd name="connsiteX4" fmla="*/ 23456 w 23142"/>
                  <a:gd name="connsiteY4" fmla="*/ 7726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142" h="10285">
                    <a:moveTo>
                      <a:pt x="23456" y="7726"/>
                    </a:moveTo>
                    <a:cubicBezTo>
                      <a:pt x="17475" y="5134"/>
                      <a:pt x="11426" y="2610"/>
                      <a:pt x="5341" y="259"/>
                    </a:cubicBezTo>
                    <a:lnTo>
                      <a:pt x="259" y="3198"/>
                    </a:lnTo>
                    <a:lnTo>
                      <a:pt x="15782" y="12152"/>
                    </a:lnTo>
                    <a:lnTo>
                      <a:pt x="23456" y="7726"/>
                    </a:lnTo>
                  </a:path>
                </a:pathLst>
              </a:custGeom>
              <a:solidFill>
                <a:srgbClr val="969A9E"/>
              </a:solidFill>
              <a:ln w="12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8D95ABE9-F642-46F0-9A28-82FD7E54391B}"/>
                  </a:ext>
                </a:extLst>
              </p:cNvPr>
              <p:cNvSpPr/>
              <p:nvPr/>
            </p:nvSpPr>
            <p:spPr>
              <a:xfrm>
                <a:off x="6599314" y="1269515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2D593435-9F10-43FD-9011-D5ED0F5384F7}"/>
                  </a:ext>
                </a:extLst>
              </p:cNvPr>
              <p:cNvSpPr/>
              <p:nvPr/>
            </p:nvSpPr>
            <p:spPr>
              <a:xfrm>
                <a:off x="6621910" y="1242662"/>
                <a:ext cx="30857" cy="18000"/>
              </a:xfrm>
              <a:custGeom>
                <a:avLst/>
                <a:gdLst>
                  <a:gd name="connsiteX0" fmla="*/ 15792 w 30857"/>
                  <a:gd name="connsiteY0" fmla="*/ 18203 h 18000"/>
                  <a:gd name="connsiteX1" fmla="*/ 31326 w 30857"/>
                  <a:gd name="connsiteY1" fmla="*/ 9214 h 18000"/>
                  <a:gd name="connsiteX2" fmla="*/ 15792 w 30857"/>
                  <a:gd name="connsiteY2" fmla="*/ 258 h 18000"/>
                  <a:gd name="connsiteX3" fmla="*/ 258 w 30857"/>
                  <a:gd name="connsiteY3" fmla="*/ 9214 h 18000"/>
                  <a:gd name="connsiteX4" fmla="*/ 15792 w 30857"/>
                  <a:gd name="connsiteY4" fmla="*/ 1820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2" y="18203"/>
                    </a:moveTo>
                    <a:lnTo>
                      <a:pt x="31326" y="9214"/>
                    </a:lnTo>
                    <a:lnTo>
                      <a:pt x="15792" y="258"/>
                    </a:lnTo>
                    <a:lnTo>
                      <a:pt x="258" y="9214"/>
                    </a:lnTo>
                    <a:lnTo>
                      <a:pt x="15792" y="18203"/>
                    </a:lnTo>
                  </a:path>
                </a:pathLst>
              </a:custGeom>
              <a:solidFill>
                <a:srgbClr val="969A9E"/>
              </a:solidFill>
              <a:ln w="12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998D12E2-3803-4F7C-AA87-76B2117284FA}"/>
                  </a:ext>
                </a:extLst>
              </p:cNvPr>
              <p:cNvSpPr/>
              <p:nvPr/>
            </p:nvSpPr>
            <p:spPr>
              <a:xfrm>
                <a:off x="6621909" y="1350017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06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  <a:gd name="connsiteX5" fmla="*/ 31320 w 30857"/>
                  <a:gd name="connsiteY5" fmla="*/ 9206 h 18000"/>
                  <a:gd name="connsiteX6" fmla="*/ 31320 w 30857"/>
                  <a:gd name="connsiteY6" fmla="*/ 9206 h 18000"/>
                  <a:gd name="connsiteX7" fmla="*/ 15789 w 30857"/>
                  <a:gd name="connsiteY7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53235524-462A-401E-89C5-A25646DB53AE}"/>
                  </a:ext>
                </a:extLst>
              </p:cNvPr>
              <p:cNvSpPr/>
              <p:nvPr/>
            </p:nvSpPr>
            <p:spPr>
              <a:xfrm>
                <a:off x="6599314" y="132317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EDA68FBF-9F11-4331-87C5-B4445C215BE7}"/>
                  </a:ext>
                </a:extLst>
              </p:cNvPr>
              <p:cNvSpPr/>
              <p:nvPr/>
            </p:nvSpPr>
            <p:spPr>
              <a:xfrm>
                <a:off x="6621909" y="129636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17ACD71F-A940-4595-8FD1-7E5C44CFD4A7}"/>
                  </a:ext>
                </a:extLst>
              </p:cNvPr>
              <p:cNvSpPr/>
              <p:nvPr/>
            </p:nvSpPr>
            <p:spPr>
              <a:xfrm>
                <a:off x="6599314" y="1376863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0624C481-9F27-4712-836B-EFAADDBD4DC5}"/>
                  </a:ext>
                </a:extLst>
              </p:cNvPr>
              <p:cNvSpPr/>
              <p:nvPr/>
            </p:nvSpPr>
            <p:spPr>
              <a:xfrm>
                <a:off x="6599314" y="1591526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E0CCBBD0-CDE5-410B-A8A6-BAF59D9A6D6C}"/>
                  </a:ext>
                </a:extLst>
              </p:cNvPr>
              <p:cNvSpPr/>
              <p:nvPr/>
            </p:nvSpPr>
            <p:spPr>
              <a:xfrm>
                <a:off x="6630171" y="1578429"/>
                <a:ext cx="12857" cy="2571"/>
              </a:xfrm>
              <a:custGeom>
                <a:avLst/>
                <a:gdLst>
                  <a:gd name="connsiteX0" fmla="*/ 13252 w 12857"/>
                  <a:gd name="connsiteY0" fmla="*/ 1148 h 2571"/>
                  <a:gd name="connsiteX1" fmla="*/ 257 w 12857"/>
                  <a:gd name="connsiteY1" fmla="*/ 257 h 2571"/>
                  <a:gd name="connsiteX2" fmla="*/ 7526 w 12857"/>
                  <a:gd name="connsiteY2" fmla="*/ 4440 h 2571"/>
                  <a:gd name="connsiteX3" fmla="*/ 13252 w 12857"/>
                  <a:gd name="connsiteY3" fmla="*/ 1148 h 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7" h="2571">
                    <a:moveTo>
                      <a:pt x="13252" y="1148"/>
                    </a:moveTo>
                    <a:cubicBezTo>
                      <a:pt x="8897" y="771"/>
                      <a:pt x="4543" y="463"/>
                      <a:pt x="257" y="257"/>
                    </a:cubicBezTo>
                    <a:lnTo>
                      <a:pt x="7526" y="4440"/>
                    </a:lnTo>
                    <a:lnTo>
                      <a:pt x="13252" y="11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F14C1118-502A-4AB2-A29A-D08F902CC4B7}"/>
                  </a:ext>
                </a:extLst>
              </p:cNvPr>
              <p:cNvSpPr/>
              <p:nvPr/>
            </p:nvSpPr>
            <p:spPr>
              <a:xfrm>
                <a:off x="6599314" y="164518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52CCEDDE-A795-4CB6-A7F0-8CBD75B3B300}"/>
                  </a:ext>
                </a:extLst>
              </p:cNvPr>
              <p:cNvSpPr/>
              <p:nvPr/>
            </p:nvSpPr>
            <p:spPr>
              <a:xfrm>
                <a:off x="6621909" y="1618337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8040 w 30857"/>
                  <a:gd name="connsiteY2" fmla="*/ 4748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223 h 18000"/>
                  <a:gd name="connsiteX6" fmla="*/ 31320 w 30857"/>
                  <a:gd name="connsiteY6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20387EDB-6970-4D22-8BEB-823BD0AF10B6}"/>
                  </a:ext>
                </a:extLst>
              </p:cNvPr>
              <p:cNvSpPr/>
              <p:nvPr/>
            </p:nvSpPr>
            <p:spPr>
              <a:xfrm>
                <a:off x="6599314" y="1698840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40 h 18000"/>
                  <a:gd name="connsiteX2" fmla="*/ 15789 w 30857"/>
                  <a:gd name="connsiteY2" fmla="*/ 18223 h 18000"/>
                  <a:gd name="connsiteX3" fmla="*/ 31320 w 30857"/>
                  <a:gd name="connsiteY3" fmla="*/ 9240 h 18000"/>
                  <a:gd name="connsiteX4" fmla="*/ 15789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0481A421-D532-4F68-B44B-9B87E5E57C79}"/>
                  </a:ext>
                </a:extLst>
              </p:cNvPr>
              <p:cNvSpPr/>
              <p:nvPr/>
            </p:nvSpPr>
            <p:spPr>
              <a:xfrm>
                <a:off x="6621909" y="1672029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257 w 30857"/>
                  <a:gd name="connsiteY3" fmla="*/ 9206 h 18000"/>
                  <a:gd name="connsiteX4" fmla="*/ 15789 w 30857"/>
                  <a:gd name="connsiteY4" fmla="*/ 18189 h 18000"/>
                  <a:gd name="connsiteX5" fmla="*/ 31320 w 30857"/>
                  <a:gd name="connsiteY5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ED26109C-4950-474F-89E0-80EBC35BBDA6}"/>
                  </a:ext>
                </a:extLst>
              </p:cNvPr>
              <p:cNvSpPr/>
              <p:nvPr/>
            </p:nvSpPr>
            <p:spPr>
              <a:xfrm>
                <a:off x="6554115" y="1215835"/>
                <a:ext cx="30857" cy="18000"/>
              </a:xfrm>
              <a:custGeom>
                <a:avLst/>
                <a:gdLst>
                  <a:gd name="connsiteX0" fmla="*/ 31337 w 30857"/>
                  <a:gd name="connsiteY0" fmla="*/ 9223 h 18000"/>
                  <a:gd name="connsiteX1" fmla="*/ 15798 w 30857"/>
                  <a:gd name="connsiteY1" fmla="*/ 260 h 18000"/>
                  <a:gd name="connsiteX2" fmla="*/ 260 w 30857"/>
                  <a:gd name="connsiteY2" fmla="*/ 9223 h 18000"/>
                  <a:gd name="connsiteX3" fmla="*/ 15798 w 30857"/>
                  <a:gd name="connsiteY3" fmla="*/ 18186 h 18000"/>
                  <a:gd name="connsiteX4" fmla="*/ 31337 w 30857"/>
                  <a:gd name="connsiteY4" fmla="*/ 9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37" y="9223"/>
                    </a:moveTo>
                    <a:lnTo>
                      <a:pt x="15798" y="260"/>
                    </a:lnTo>
                    <a:lnTo>
                      <a:pt x="260" y="9223"/>
                    </a:lnTo>
                    <a:lnTo>
                      <a:pt x="15798" y="18186"/>
                    </a:lnTo>
                    <a:lnTo>
                      <a:pt x="31337" y="9223"/>
                    </a:lnTo>
                  </a:path>
                </a:pathLst>
              </a:custGeom>
              <a:solidFill>
                <a:srgbClr val="969A9E"/>
              </a:solidFill>
              <a:ln w="12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C5EDDD16-DFDC-43ED-99C9-06AAE5CB2601}"/>
                  </a:ext>
                </a:extLst>
              </p:cNvPr>
              <p:cNvSpPr/>
              <p:nvPr/>
            </p:nvSpPr>
            <p:spPr>
              <a:xfrm>
                <a:off x="6554126" y="1269515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2" name="Freeform: Shape 281">
                <a:extLst>
                  <a:ext uri="{FF2B5EF4-FFF2-40B4-BE49-F238E27FC236}">
                    <a16:creationId xmlns:a16="http://schemas.microsoft.com/office/drawing/2014/main" id="{30238CFC-17EA-45B2-B84E-DD3A6AD65539}"/>
                  </a:ext>
                </a:extLst>
              </p:cNvPr>
              <p:cNvSpPr/>
              <p:nvPr/>
            </p:nvSpPr>
            <p:spPr>
              <a:xfrm>
                <a:off x="6576721" y="1242662"/>
                <a:ext cx="30857" cy="18000"/>
              </a:xfrm>
              <a:custGeom>
                <a:avLst/>
                <a:gdLst>
                  <a:gd name="connsiteX0" fmla="*/ 15792 w 30857"/>
                  <a:gd name="connsiteY0" fmla="*/ 18203 h 18000"/>
                  <a:gd name="connsiteX1" fmla="*/ 31326 w 30857"/>
                  <a:gd name="connsiteY1" fmla="*/ 9214 h 18000"/>
                  <a:gd name="connsiteX2" fmla="*/ 15792 w 30857"/>
                  <a:gd name="connsiteY2" fmla="*/ 258 h 18000"/>
                  <a:gd name="connsiteX3" fmla="*/ 258 w 30857"/>
                  <a:gd name="connsiteY3" fmla="*/ 9214 h 18000"/>
                  <a:gd name="connsiteX4" fmla="*/ 15792 w 30857"/>
                  <a:gd name="connsiteY4" fmla="*/ 1820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2" y="18203"/>
                    </a:moveTo>
                    <a:lnTo>
                      <a:pt x="31326" y="9214"/>
                    </a:lnTo>
                    <a:lnTo>
                      <a:pt x="15792" y="258"/>
                    </a:lnTo>
                    <a:lnTo>
                      <a:pt x="258" y="9214"/>
                    </a:lnTo>
                    <a:lnTo>
                      <a:pt x="15792" y="18203"/>
                    </a:lnTo>
                  </a:path>
                </a:pathLst>
              </a:custGeom>
              <a:solidFill>
                <a:srgbClr val="969A9E"/>
              </a:solidFill>
              <a:ln w="12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3C0BF830-D980-41BB-92CD-3BCF44236857}"/>
                  </a:ext>
                </a:extLst>
              </p:cNvPr>
              <p:cNvSpPr/>
              <p:nvPr/>
            </p:nvSpPr>
            <p:spPr>
              <a:xfrm>
                <a:off x="6576720" y="1350017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  <a:gd name="connsiteX5" fmla="*/ 31320 w 30857"/>
                  <a:gd name="connsiteY5" fmla="*/ 9206 h 18000"/>
                  <a:gd name="connsiteX6" fmla="*/ 31320 w 30857"/>
                  <a:gd name="connsiteY6" fmla="*/ 9206 h 18000"/>
                  <a:gd name="connsiteX7" fmla="*/ 15789 w 30857"/>
                  <a:gd name="connsiteY7" fmla="*/ 257 h 18000"/>
                  <a:gd name="connsiteX8" fmla="*/ 257 w 30857"/>
                  <a:gd name="connsiteY8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4" name="Freeform: Shape 283">
                <a:extLst>
                  <a:ext uri="{FF2B5EF4-FFF2-40B4-BE49-F238E27FC236}">
                    <a16:creationId xmlns:a16="http://schemas.microsoft.com/office/drawing/2014/main" id="{A7D44D96-3B1E-49B2-86D4-EB7BC7306264}"/>
                  </a:ext>
                </a:extLst>
              </p:cNvPr>
              <p:cNvSpPr/>
              <p:nvPr/>
            </p:nvSpPr>
            <p:spPr>
              <a:xfrm>
                <a:off x="6554126" y="132317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5" name="Freeform: Shape 284">
                <a:extLst>
                  <a:ext uri="{FF2B5EF4-FFF2-40B4-BE49-F238E27FC236}">
                    <a16:creationId xmlns:a16="http://schemas.microsoft.com/office/drawing/2014/main" id="{D3D33F90-105D-4457-BD6B-51B3E9A196AA}"/>
                  </a:ext>
                </a:extLst>
              </p:cNvPr>
              <p:cNvSpPr/>
              <p:nvPr/>
            </p:nvSpPr>
            <p:spPr>
              <a:xfrm>
                <a:off x="6576720" y="129636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F4420D2C-9837-498C-921D-2E82B972E93D}"/>
                  </a:ext>
                </a:extLst>
              </p:cNvPr>
              <p:cNvSpPr/>
              <p:nvPr/>
            </p:nvSpPr>
            <p:spPr>
              <a:xfrm>
                <a:off x="6554126" y="1376863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9654C9C0-B447-4189-8DFE-69DEDBC4E045}"/>
                  </a:ext>
                </a:extLst>
              </p:cNvPr>
              <p:cNvSpPr/>
              <p:nvPr/>
            </p:nvSpPr>
            <p:spPr>
              <a:xfrm>
                <a:off x="6576720" y="1403674"/>
                <a:ext cx="23143" cy="12857"/>
              </a:xfrm>
              <a:custGeom>
                <a:avLst/>
                <a:gdLst>
                  <a:gd name="connsiteX0" fmla="*/ 8006 w 23142"/>
                  <a:gd name="connsiteY0" fmla="*/ 4749 h 12857"/>
                  <a:gd name="connsiteX1" fmla="*/ 257 w 23142"/>
                  <a:gd name="connsiteY1" fmla="*/ 9240 h 12857"/>
                  <a:gd name="connsiteX2" fmla="*/ 257 w 23142"/>
                  <a:gd name="connsiteY2" fmla="*/ 9240 h 12857"/>
                  <a:gd name="connsiteX3" fmla="*/ 257 w 23142"/>
                  <a:gd name="connsiteY3" fmla="*/ 9240 h 12857"/>
                  <a:gd name="connsiteX4" fmla="*/ 8246 w 23142"/>
                  <a:gd name="connsiteY4" fmla="*/ 13834 h 12857"/>
                  <a:gd name="connsiteX5" fmla="*/ 23092 w 23142"/>
                  <a:gd name="connsiteY5" fmla="*/ 4474 h 12857"/>
                  <a:gd name="connsiteX6" fmla="*/ 15789 w 23142"/>
                  <a:gd name="connsiteY6" fmla="*/ 257 h 12857"/>
                  <a:gd name="connsiteX7" fmla="*/ 8006 w 23142"/>
                  <a:gd name="connsiteY7" fmla="*/ 4749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42" h="12857">
                    <a:moveTo>
                      <a:pt x="8006" y="4749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8246" y="13834"/>
                    </a:lnTo>
                    <a:cubicBezTo>
                      <a:pt x="13183" y="10714"/>
                      <a:pt x="18154" y="7629"/>
                      <a:pt x="23092" y="4474"/>
                    </a:cubicBezTo>
                    <a:lnTo>
                      <a:pt x="15789" y="257"/>
                    </a:lnTo>
                    <a:lnTo>
                      <a:pt x="8006" y="474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C5A10B46-D32D-47DC-A9D8-DF5A1948F3A6}"/>
                  </a:ext>
                </a:extLst>
              </p:cNvPr>
              <p:cNvSpPr/>
              <p:nvPr/>
            </p:nvSpPr>
            <p:spPr>
              <a:xfrm>
                <a:off x="6554126" y="1591526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A98FEEE4-97D5-43D4-A8F0-4CE4228C63B5}"/>
                  </a:ext>
                </a:extLst>
              </p:cNvPr>
              <p:cNvSpPr/>
              <p:nvPr/>
            </p:nvSpPr>
            <p:spPr>
              <a:xfrm>
                <a:off x="6581486" y="1576406"/>
                <a:ext cx="20571" cy="5143"/>
              </a:xfrm>
              <a:custGeom>
                <a:avLst/>
                <a:gdLst>
                  <a:gd name="connsiteX0" fmla="*/ 20486 w 20571"/>
                  <a:gd name="connsiteY0" fmla="*/ 1011 h 5142"/>
                  <a:gd name="connsiteX1" fmla="*/ 257 w 20571"/>
                  <a:gd name="connsiteY1" fmla="*/ 257 h 5142"/>
                  <a:gd name="connsiteX2" fmla="*/ 11023 w 20571"/>
                  <a:gd name="connsiteY2" fmla="*/ 6463 h 5142"/>
                  <a:gd name="connsiteX3" fmla="*/ 20486 w 20571"/>
                  <a:gd name="connsiteY3" fmla="*/ 1011 h 5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1" h="5142">
                    <a:moveTo>
                      <a:pt x="20486" y="1011"/>
                    </a:moveTo>
                    <a:cubicBezTo>
                      <a:pt x="13766" y="737"/>
                      <a:pt x="7011" y="394"/>
                      <a:pt x="257" y="257"/>
                    </a:cubicBezTo>
                    <a:lnTo>
                      <a:pt x="11023" y="6463"/>
                    </a:lnTo>
                    <a:lnTo>
                      <a:pt x="20486" y="1011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0" name="Freeform: Shape 289">
                <a:extLst>
                  <a:ext uri="{FF2B5EF4-FFF2-40B4-BE49-F238E27FC236}">
                    <a16:creationId xmlns:a16="http://schemas.microsoft.com/office/drawing/2014/main" id="{4368E767-39D2-4AE4-8D6C-C55463BD507B}"/>
                  </a:ext>
                </a:extLst>
              </p:cNvPr>
              <p:cNvSpPr/>
              <p:nvPr/>
            </p:nvSpPr>
            <p:spPr>
              <a:xfrm>
                <a:off x="6554126" y="164518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1" name="Freeform: Shape 290">
                <a:extLst>
                  <a:ext uri="{FF2B5EF4-FFF2-40B4-BE49-F238E27FC236}">
                    <a16:creationId xmlns:a16="http://schemas.microsoft.com/office/drawing/2014/main" id="{2CC71D56-23C1-4445-97F4-CE0F898AFF6B}"/>
                  </a:ext>
                </a:extLst>
              </p:cNvPr>
              <p:cNvSpPr/>
              <p:nvPr/>
            </p:nvSpPr>
            <p:spPr>
              <a:xfrm>
                <a:off x="6576720" y="1618337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8006 w 30857"/>
                  <a:gd name="connsiteY2" fmla="*/ 4748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257 w 30857"/>
                  <a:gd name="connsiteY5" fmla="*/ 9240 h 18000"/>
                  <a:gd name="connsiteX6" fmla="*/ 15789 w 30857"/>
                  <a:gd name="connsiteY6" fmla="*/ 18223 h 18000"/>
                  <a:gd name="connsiteX7" fmla="*/ 31320 w 30857"/>
                  <a:gd name="connsiteY7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2" name="Freeform: Shape 291">
                <a:extLst>
                  <a:ext uri="{FF2B5EF4-FFF2-40B4-BE49-F238E27FC236}">
                    <a16:creationId xmlns:a16="http://schemas.microsoft.com/office/drawing/2014/main" id="{48D23F8A-C3EB-40B7-B360-E55739A6B431}"/>
                  </a:ext>
                </a:extLst>
              </p:cNvPr>
              <p:cNvSpPr/>
              <p:nvPr/>
            </p:nvSpPr>
            <p:spPr>
              <a:xfrm>
                <a:off x="6591394" y="1725686"/>
                <a:ext cx="2571" cy="2571"/>
              </a:xfrm>
              <a:custGeom>
                <a:avLst/>
                <a:gdLst>
                  <a:gd name="connsiteX0" fmla="*/ 257 w 0"/>
                  <a:gd name="connsiteY0" fmla="*/ 737 h 0"/>
                  <a:gd name="connsiteX1" fmla="*/ 1594 w 0"/>
                  <a:gd name="connsiteY1" fmla="*/ 531 h 0"/>
                  <a:gd name="connsiteX2" fmla="*/ 1114 w 0"/>
                  <a:gd name="connsiteY2" fmla="*/ 257 h 0"/>
                  <a:gd name="connsiteX3" fmla="*/ 257 w 0"/>
                  <a:gd name="connsiteY3" fmla="*/ 737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257" y="737"/>
                    </a:moveTo>
                    <a:cubicBezTo>
                      <a:pt x="703" y="669"/>
                      <a:pt x="1148" y="600"/>
                      <a:pt x="1594" y="531"/>
                    </a:cubicBezTo>
                    <a:lnTo>
                      <a:pt x="1114" y="257"/>
                    </a:lnTo>
                    <a:lnTo>
                      <a:pt x="257" y="7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3" name="Freeform: Shape 292">
                <a:extLst>
                  <a:ext uri="{FF2B5EF4-FFF2-40B4-BE49-F238E27FC236}">
                    <a16:creationId xmlns:a16="http://schemas.microsoft.com/office/drawing/2014/main" id="{7618EF43-0E19-4CF9-A6DB-22BAD6153B47}"/>
                  </a:ext>
                </a:extLst>
              </p:cNvPr>
              <p:cNvSpPr/>
              <p:nvPr/>
            </p:nvSpPr>
            <p:spPr>
              <a:xfrm>
                <a:off x="6554126" y="1698840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40 h 18000"/>
                  <a:gd name="connsiteX2" fmla="*/ 15789 w 30857"/>
                  <a:gd name="connsiteY2" fmla="*/ 18223 h 18000"/>
                  <a:gd name="connsiteX3" fmla="*/ 31320 w 30857"/>
                  <a:gd name="connsiteY3" fmla="*/ 9240 h 18000"/>
                  <a:gd name="connsiteX4" fmla="*/ 15789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4" name="Freeform: Shape 293">
                <a:extLst>
                  <a:ext uri="{FF2B5EF4-FFF2-40B4-BE49-F238E27FC236}">
                    <a16:creationId xmlns:a16="http://schemas.microsoft.com/office/drawing/2014/main" id="{DE55EA83-F824-4041-B7A2-53A56A8B3C2C}"/>
                  </a:ext>
                </a:extLst>
              </p:cNvPr>
              <p:cNvSpPr/>
              <p:nvPr/>
            </p:nvSpPr>
            <p:spPr>
              <a:xfrm>
                <a:off x="6576720" y="1672029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257 w 30857"/>
                  <a:gd name="connsiteY3" fmla="*/ 9206 h 18000"/>
                  <a:gd name="connsiteX4" fmla="*/ 15789 w 30857"/>
                  <a:gd name="connsiteY4" fmla="*/ 18189 h 18000"/>
                  <a:gd name="connsiteX5" fmla="*/ 31320 w 30857"/>
                  <a:gd name="connsiteY5" fmla="*/ 9206 h 18000"/>
                  <a:gd name="connsiteX6" fmla="*/ 15789 w 30857"/>
                  <a:gd name="connsiteY6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5" name="Freeform: Shape 294">
                <a:extLst>
                  <a:ext uri="{FF2B5EF4-FFF2-40B4-BE49-F238E27FC236}">
                    <a16:creationId xmlns:a16="http://schemas.microsoft.com/office/drawing/2014/main" id="{FBA96066-52E3-4314-AD56-5FE15D18C785}"/>
                  </a:ext>
                </a:extLst>
              </p:cNvPr>
              <p:cNvSpPr/>
              <p:nvPr/>
            </p:nvSpPr>
            <p:spPr>
              <a:xfrm>
                <a:off x="6508952" y="1215835"/>
                <a:ext cx="30857" cy="18000"/>
              </a:xfrm>
              <a:custGeom>
                <a:avLst/>
                <a:gdLst>
                  <a:gd name="connsiteX0" fmla="*/ 15764 w 30857"/>
                  <a:gd name="connsiteY0" fmla="*/ 18186 h 18000"/>
                  <a:gd name="connsiteX1" fmla="*/ 31303 w 30857"/>
                  <a:gd name="connsiteY1" fmla="*/ 9223 h 18000"/>
                  <a:gd name="connsiteX2" fmla="*/ 15764 w 30857"/>
                  <a:gd name="connsiteY2" fmla="*/ 260 h 18000"/>
                  <a:gd name="connsiteX3" fmla="*/ 260 w 30857"/>
                  <a:gd name="connsiteY3" fmla="*/ 9223 h 18000"/>
                  <a:gd name="connsiteX4" fmla="*/ 15764 w 30857"/>
                  <a:gd name="connsiteY4" fmla="*/ 1818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64" y="18186"/>
                    </a:moveTo>
                    <a:lnTo>
                      <a:pt x="31303" y="9223"/>
                    </a:lnTo>
                    <a:lnTo>
                      <a:pt x="15764" y="260"/>
                    </a:lnTo>
                    <a:lnTo>
                      <a:pt x="260" y="9223"/>
                    </a:lnTo>
                    <a:lnTo>
                      <a:pt x="15764" y="18186"/>
                    </a:lnTo>
                  </a:path>
                </a:pathLst>
              </a:custGeom>
              <a:solidFill>
                <a:srgbClr val="969A9E"/>
              </a:solidFill>
              <a:ln w="12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6" name="Freeform: Shape 295">
                <a:extLst>
                  <a:ext uri="{FF2B5EF4-FFF2-40B4-BE49-F238E27FC236}">
                    <a16:creationId xmlns:a16="http://schemas.microsoft.com/office/drawing/2014/main" id="{776CEBC7-B8E0-475C-957E-C4BEF9AFA99C}"/>
                  </a:ext>
                </a:extLst>
              </p:cNvPr>
              <p:cNvSpPr/>
              <p:nvPr/>
            </p:nvSpPr>
            <p:spPr>
              <a:xfrm>
                <a:off x="6538107" y="1201807"/>
                <a:ext cx="12857" cy="5143"/>
              </a:xfrm>
              <a:custGeom>
                <a:avLst/>
                <a:gdLst>
                  <a:gd name="connsiteX0" fmla="*/ 12715 w 12857"/>
                  <a:gd name="connsiteY0" fmla="*/ 3383 h 5142"/>
                  <a:gd name="connsiteX1" fmla="*/ 260 w 12857"/>
                  <a:gd name="connsiteY1" fmla="*/ 260 h 5142"/>
                  <a:gd name="connsiteX2" fmla="*/ 9211 w 12857"/>
                  <a:gd name="connsiteY2" fmla="*/ 5430 h 5142"/>
                  <a:gd name="connsiteX3" fmla="*/ 12715 w 12857"/>
                  <a:gd name="connsiteY3" fmla="*/ 3383 h 5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7" h="5142">
                    <a:moveTo>
                      <a:pt x="12715" y="3383"/>
                    </a:moveTo>
                    <a:cubicBezTo>
                      <a:pt x="8587" y="2307"/>
                      <a:pt x="4423" y="1197"/>
                      <a:pt x="260" y="260"/>
                    </a:cubicBezTo>
                    <a:lnTo>
                      <a:pt x="9211" y="5430"/>
                    </a:lnTo>
                    <a:lnTo>
                      <a:pt x="12715" y="3383"/>
                    </a:lnTo>
                  </a:path>
                </a:pathLst>
              </a:custGeom>
              <a:solidFill>
                <a:srgbClr val="969A9E"/>
              </a:solidFill>
              <a:ln w="12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7" name="Freeform: Shape 296">
                <a:extLst>
                  <a:ext uri="{FF2B5EF4-FFF2-40B4-BE49-F238E27FC236}">
                    <a16:creationId xmlns:a16="http://schemas.microsoft.com/office/drawing/2014/main" id="{41BF484D-C5F6-47F3-A507-16E9C51B87F2}"/>
                  </a:ext>
                </a:extLst>
              </p:cNvPr>
              <p:cNvSpPr/>
              <p:nvPr/>
            </p:nvSpPr>
            <p:spPr>
              <a:xfrm>
                <a:off x="6508937" y="1269515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8" name="Freeform: Shape 297">
                <a:extLst>
                  <a:ext uri="{FF2B5EF4-FFF2-40B4-BE49-F238E27FC236}">
                    <a16:creationId xmlns:a16="http://schemas.microsoft.com/office/drawing/2014/main" id="{A66F22E0-838D-4219-9BEC-4D1D0DEFF296}"/>
                  </a:ext>
                </a:extLst>
              </p:cNvPr>
              <p:cNvSpPr/>
              <p:nvPr/>
            </p:nvSpPr>
            <p:spPr>
              <a:xfrm>
                <a:off x="6531531" y="1242662"/>
                <a:ext cx="30857" cy="18000"/>
              </a:xfrm>
              <a:custGeom>
                <a:avLst/>
                <a:gdLst>
                  <a:gd name="connsiteX0" fmla="*/ 258 w 30857"/>
                  <a:gd name="connsiteY0" fmla="*/ 9214 h 18000"/>
                  <a:gd name="connsiteX1" fmla="*/ 15792 w 30857"/>
                  <a:gd name="connsiteY1" fmla="*/ 18203 h 18000"/>
                  <a:gd name="connsiteX2" fmla="*/ 31326 w 30857"/>
                  <a:gd name="connsiteY2" fmla="*/ 9214 h 18000"/>
                  <a:gd name="connsiteX3" fmla="*/ 15792 w 30857"/>
                  <a:gd name="connsiteY3" fmla="*/ 258 h 18000"/>
                  <a:gd name="connsiteX4" fmla="*/ 258 w 30857"/>
                  <a:gd name="connsiteY4" fmla="*/ 9214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8" y="9214"/>
                    </a:moveTo>
                    <a:lnTo>
                      <a:pt x="15792" y="18203"/>
                    </a:lnTo>
                    <a:lnTo>
                      <a:pt x="31326" y="9214"/>
                    </a:lnTo>
                    <a:lnTo>
                      <a:pt x="15792" y="258"/>
                    </a:lnTo>
                    <a:lnTo>
                      <a:pt x="258" y="9214"/>
                    </a:lnTo>
                  </a:path>
                </a:pathLst>
              </a:custGeom>
              <a:solidFill>
                <a:srgbClr val="969A9E"/>
              </a:solidFill>
              <a:ln w="12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99" name="Freeform: Shape 298">
                <a:extLst>
                  <a:ext uri="{FF2B5EF4-FFF2-40B4-BE49-F238E27FC236}">
                    <a16:creationId xmlns:a16="http://schemas.microsoft.com/office/drawing/2014/main" id="{065B103C-334E-4CA2-9BB2-811D6F7B6C7C}"/>
                  </a:ext>
                </a:extLst>
              </p:cNvPr>
              <p:cNvSpPr/>
              <p:nvPr/>
            </p:nvSpPr>
            <p:spPr>
              <a:xfrm>
                <a:off x="6486308" y="1242662"/>
                <a:ext cx="30857" cy="18000"/>
              </a:xfrm>
              <a:custGeom>
                <a:avLst/>
                <a:gdLst>
                  <a:gd name="connsiteX0" fmla="*/ 258 w 30857"/>
                  <a:gd name="connsiteY0" fmla="*/ 9214 h 18000"/>
                  <a:gd name="connsiteX1" fmla="*/ 15827 w 30857"/>
                  <a:gd name="connsiteY1" fmla="*/ 18203 h 18000"/>
                  <a:gd name="connsiteX2" fmla="*/ 31360 w 30857"/>
                  <a:gd name="connsiteY2" fmla="*/ 9214 h 18000"/>
                  <a:gd name="connsiteX3" fmla="*/ 15827 w 30857"/>
                  <a:gd name="connsiteY3" fmla="*/ 258 h 18000"/>
                  <a:gd name="connsiteX4" fmla="*/ 258 w 30857"/>
                  <a:gd name="connsiteY4" fmla="*/ 9214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8" y="9214"/>
                    </a:moveTo>
                    <a:lnTo>
                      <a:pt x="15827" y="18203"/>
                    </a:lnTo>
                    <a:lnTo>
                      <a:pt x="31360" y="9214"/>
                    </a:lnTo>
                    <a:lnTo>
                      <a:pt x="15827" y="258"/>
                    </a:lnTo>
                    <a:lnTo>
                      <a:pt x="258" y="9214"/>
                    </a:lnTo>
                  </a:path>
                </a:pathLst>
              </a:custGeom>
              <a:solidFill>
                <a:srgbClr val="969A9E"/>
              </a:solidFill>
              <a:ln w="12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0" name="Freeform: Shape 299">
                <a:extLst>
                  <a:ext uri="{FF2B5EF4-FFF2-40B4-BE49-F238E27FC236}">
                    <a16:creationId xmlns:a16="http://schemas.microsoft.com/office/drawing/2014/main" id="{91C483B5-81AE-40E4-8289-ABDA3AF877F8}"/>
                  </a:ext>
                </a:extLst>
              </p:cNvPr>
              <p:cNvSpPr/>
              <p:nvPr/>
            </p:nvSpPr>
            <p:spPr>
              <a:xfrm>
                <a:off x="6508937" y="132317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1" name="Freeform: Shape 300">
                <a:extLst>
                  <a:ext uri="{FF2B5EF4-FFF2-40B4-BE49-F238E27FC236}">
                    <a16:creationId xmlns:a16="http://schemas.microsoft.com/office/drawing/2014/main" id="{9609553D-1819-4D76-955C-F2DBCDAF023D}"/>
                  </a:ext>
                </a:extLst>
              </p:cNvPr>
              <p:cNvSpPr/>
              <p:nvPr/>
            </p:nvSpPr>
            <p:spPr>
              <a:xfrm>
                <a:off x="6531531" y="129636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2" name="Freeform: Shape 301">
                <a:extLst>
                  <a:ext uri="{FF2B5EF4-FFF2-40B4-BE49-F238E27FC236}">
                    <a16:creationId xmlns:a16="http://schemas.microsoft.com/office/drawing/2014/main" id="{5355C4F3-E475-4B9D-A9E1-895313FE2166}"/>
                  </a:ext>
                </a:extLst>
              </p:cNvPr>
              <p:cNvSpPr/>
              <p:nvPr/>
            </p:nvSpPr>
            <p:spPr>
              <a:xfrm>
                <a:off x="6486309" y="129636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823 w 30857"/>
                  <a:gd name="connsiteY1" fmla="*/ 18189 h 18000"/>
                  <a:gd name="connsiteX2" fmla="*/ 31354 w 30857"/>
                  <a:gd name="connsiteY2" fmla="*/ 9206 h 18000"/>
                  <a:gd name="connsiteX3" fmla="*/ 15823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823" y="18189"/>
                    </a:ln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3" name="Freeform: Shape 302">
                <a:extLst>
                  <a:ext uri="{FF2B5EF4-FFF2-40B4-BE49-F238E27FC236}">
                    <a16:creationId xmlns:a16="http://schemas.microsoft.com/office/drawing/2014/main" id="{971F7E96-8159-4794-AEE5-EAF08527CF63}"/>
                  </a:ext>
                </a:extLst>
              </p:cNvPr>
              <p:cNvSpPr/>
              <p:nvPr/>
            </p:nvSpPr>
            <p:spPr>
              <a:xfrm>
                <a:off x="6508937" y="1376863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4" name="Freeform: Shape 303">
                <a:extLst>
                  <a:ext uri="{FF2B5EF4-FFF2-40B4-BE49-F238E27FC236}">
                    <a16:creationId xmlns:a16="http://schemas.microsoft.com/office/drawing/2014/main" id="{6FD2607F-3D4A-4C18-B901-39DA32327A38}"/>
                  </a:ext>
                </a:extLst>
              </p:cNvPr>
              <p:cNvSpPr/>
              <p:nvPr/>
            </p:nvSpPr>
            <p:spPr>
              <a:xfrm>
                <a:off x="6531531" y="1350017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31320 w 30857"/>
                  <a:gd name="connsiteY1" fmla="*/ 9240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  <a:gd name="connsiteX5" fmla="*/ 257 w 30857"/>
                  <a:gd name="connsiteY5" fmla="*/ 9206 h 18000"/>
                  <a:gd name="connsiteX6" fmla="*/ 257 w 30857"/>
                  <a:gd name="connsiteY6" fmla="*/ 9240 h 18000"/>
                  <a:gd name="connsiteX7" fmla="*/ 15789 w 30857"/>
                  <a:gd name="connsiteY7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31320" y="9240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40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5" name="Freeform: Shape 304">
                <a:extLst>
                  <a:ext uri="{FF2B5EF4-FFF2-40B4-BE49-F238E27FC236}">
                    <a16:creationId xmlns:a16="http://schemas.microsoft.com/office/drawing/2014/main" id="{5B475286-7A1B-466D-80A4-13477644073B}"/>
                  </a:ext>
                </a:extLst>
              </p:cNvPr>
              <p:cNvSpPr/>
              <p:nvPr/>
            </p:nvSpPr>
            <p:spPr>
              <a:xfrm>
                <a:off x="6486309" y="1350017"/>
                <a:ext cx="30857" cy="18000"/>
              </a:xfrm>
              <a:custGeom>
                <a:avLst/>
                <a:gdLst>
                  <a:gd name="connsiteX0" fmla="*/ 15823 w 30857"/>
                  <a:gd name="connsiteY0" fmla="*/ 18189 h 18000"/>
                  <a:gd name="connsiteX1" fmla="*/ 31354 w 30857"/>
                  <a:gd name="connsiteY1" fmla="*/ 9240 h 18000"/>
                  <a:gd name="connsiteX2" fmla="*/ 31354 w 30857"/>
                  <a:gd name="connsiteY2" fmla="*/ 9206 h 18000"/>
                  <a:gd name="connsiteX3" fmla="*/ 15823 w 30857"/>
                  <a:gd name="connsiteY3" fmla="*/ 257 h 18000"/>
                  <a:gd name="connsiteX4" fmla="*/ 257 w 30857"/>
                  <a:gd name="connsiteY4" fmla="*/ 9206 h 18000"/>
                  <a:gd name="connsiteX5" fmla="*/ 257 w 30857"/>
                  <a:gd name="connsiteY5" fmla="*/ 9206 h 18000"/>
                  <a:gd name="connsiteX6" fmla="*/ 257 w 30857"/>
                  <a:gd name="connsiteY6" fmla="*/ 9240 h 18000"/>
                  <a:gd name="connsiteX7" fmla="*/ 15823 w 30857"/>
                  <a:gd name="connsiteY7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823" y="18189"/>
                    </a:moveTo>
                    <a:lnTo>
                      <a:pt x="31354" y="9240"/>
                    </a:ln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40"/>
                    </a:lnTo>
                    <a:lnTo>
                      <a:pt x="15823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6" name="Freeform: Shape 305">
                <a:extLst>
                  <a:ext uri="{FF2B5EF4-FFF2-40B4-BE49-F238E27FC236}">
                    <a16:creationId xmlns:a16="http://schemas.microsoft.com/office/drawing/2014/main" id="{8B766B5F-27B7-407F-9C6E-07FE72DE3038}"/>
                  </a:ext>
                </a:extLst>
              </p:cNvPr>
              <p:cNvSpPr/>
              <p:nvPr/>
            </p:nvSpPr>
            <p:spPr>
              <a:xfrm>
                <a:off x="6508937" y="143052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7" name="Freeform: Shape 306">
                <a:extLst>
                  <a:ext uri="{FF2B5EF4-FFF2-40B4-BE49-F238E27FC236}">
                    <a16:creationId xmlns:a16="http://schemas.microsoft.com/office/drawing/2014/main" id="{5E7D79F6-EC88-441D-BCC3-BE70DBB74ECA}"/>
                  </a:ext>
                </a:extLst>
              </p:cNvPr>
              <p:cNvSpPr/>
              <p:nvPr/>
            </p:nvSpPr>
            <p:spPr>
              <a:xfrm>
                <a:off x="6531531" y="1403674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31320 w 30857"/>
                  <a:gd name="connsiteY1" fmla="*/ 9240 h 18000"/>
                  <a:gd name="connsiteX2" fmla="*/ 31320 w 30857"/>
                  <a:gd name="connsiteY2" fmla="*/ 9240 h 18000"/>
                  <a:gd name="connsiteX3" fmla="*/ 23537 w 30857"/>
                  <a:gd name="connsiteY3" fmla="*/ 4749 h 18000"/>
                  <a:gd name="connsiteX4" fmla="*/ 15789 w 30857"/>
                  <a:gd name="connsiteY4" fmla="*/ 257 h 18000"/>
                  <a:gd name="connsiteX5" fmla="*/ 8006 w 30857"/>
                  <a:gd name="connsiteY5" fmla="*/ 4749 h 18000"/>
                  <a:gd name="connsiteX6" fmla="*/ 257 w 30857"/>
                  <a:gd name="connsiteY6" fmla="*/ 9240 h 18000"/>
                  <a:gd name="connsiteX7" fmla="*/ 257 w 30857"/>
                  <a:gd name="connsiteY7" fmla="*/ 9240 h 18000"/>
                  <a:gd name="connsiteX8" fmla="*/ 257 w 30857"/>
                  <a:gd name="connsiteY8" fmla="*/ 9240 h 18000"/>
                  <a:gd name="connsiteX9" fmla="*/ 15789 w 30857"/>
                  <a:gd name="connsiteY9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37" y="4749"/>
                    </a:lnTo>
                    <a:lnTo>
                      <a:pt x="15789" y="257"/>
                    </a:lnTo>
                    <a:lnTo>
                      <a:pt x="8006" y="4749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8" name="Freeform: Shape 307">
                <a:extLst>
                  <a:ext uri="{FF2B5EF4-FFF2-40B4-BE49-F238E27FC236}">
                    <a16:creationId xmlns:a16="http://schemas.microsoft.com/office/drawing/2014/main" id="{8294C060-8B43-4A30-B6D4-F320DC2D6D3B}"/>
                  </a:ext>
                </a:extLst>
              </p:cNvPr>
              <p:cNvSpPr/>
              <p:nvPr/>
            </p:nvSpPr>
            <p:spPr>
              <a:xfrm>
                <a:off x="6486309" y="1403674"/>
                <a:ext cx="30857" cy="18000"/>
              </a:xfrm>
              <a:custGeom>
                <a:avLst/>
                <a:gdLst>
                  <a:gd name="connsiteX0" fmla="*/ 15823 w 30857"/>
                  <a:gd name="connsiteY0" fmla="*/ 18189 h 18000"/>
                  <a:gd name="connsiteX1" fmla="*/ 31354 w 30857"/>
                  <a:gd name="connsiteY1" fmla="*/ 9240 h 18000"/>
                  <a:gd name="connsiteX2" fmla="*/ 31354 w 30857"/>
                  <a:gd name="connsiteY2" fmla="*/ 9240 h 18000"/>
                  <a:gd name="connsiteX3" fmla="*/ 23571 w 30857"/>
                  <a:gd name="connsiteY3" fmla="*/ 4749 h 18000"/>
                  <a:gd name="connsiteX4" fmla="*/ 15823 w 30857"/>
                  <a:gd name="connsiteY4" fmla="*/ 257 h 18000"/>
                  <a:gd name="connsiteX5" fmla="*/ 8040 w 30857"/>
                  <a:gd name="connsiteY5" fmla="*/ 4749 h 18000"/>
                  <a:gd name="connsiteX6" fmla="*/ 257 w 30857"/>
                  <a:gd name="connsiteY6" fmla="*/ 9240 h 18000"/>
                  <a:gd name="connsiteX7" fmla="*/ 257 w 30857"/>
                  <a:gd name="connsiteY7" fmla="*/ 9240 h 18000"/>
                  <a:gd name="connsiteX8" fmla="*/ 257 w 30857"/>
                  <a:gd name="connsiteY8" fmla="*/ 9240 h 18000"/>
                  <a:gd name="connsiteX9" fmla="*/ 15823 w 30857"/>
                  <a:gd name="connsiteY9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15823" y="18189"/>
                    </a:moveTo>
                    <a:lnTo>
                      <a:pt x="31354" y="9240"/>
                    </a:lnTo>
                    <a:lnTo>
                      <a:pt x="31354" y="9240"/>
                    </a:lnTo>
                    <a:lnTo>
                      <a:pt x="23571" y="4749"/>
                    </a:lnTo>
                    <a:lnTo>
                      <a:pt x="15823" y="257"/>
                    </a:lnTo>
                    <a:lnTo>
                      <a:pt x="8040" y="4749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823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09" name="Freeform: Shape 308">
                <a:extLst>
                  <a:ext uri="{FF2B5EF4-FFF2-40B4-BE49-F238E27FC236}">
                    <a16:creationId xmlns:a16="http://schemas.microsoft.com/office/drawing/2014/main" id="{29003C8B-445D-4D99-8503-DBA15940A58C}"/>
                  </a:ext>
                </a:extLst>
              </p:cNvPr>
              <p:cNvSpPr/>
              <p:nvPr/>
            </p:nvSpPr>
            <p:spPr>
              <a:xfrm>
                <a:off x="6486309" y="1457366"/>
                <a:ext cx="23143" cy="12857"/>
              </a:xfrm>
              <a:custGeom>
                <a:avLst/>
                <a:gdLst>
                  <a:gd name="connsiteX0" fmla="*/ 9754 w 23142"/>
                  <a:gd name="connsiteY0" fmla="*/ 14691 h 12857"/>
                  <a:gd name="connsiteX1" fmla="*/ 25046 w 23142"/>
                  <a:gd name="connsiteY1" fmla="*/ 5571 h 12857"/>
                  <a:gd name="connsiteX2" fmla="*/ 23571 w 23142"/>
                  <a:gd name="connsiteY2" fmla="*/ 4714 h 12857"/>
                  <a:gd name="connsiteX3" fmla="*/ 15823 w 23142"/>
                  <a:gd name="connsiteY3" fmla="*/ 257 h 12857"/>
                  <a:gd name="connsiteX4" fmla="*/ 8040 w 23142"/>
                  <a:gd name="connsiteY4" fmla="*/ 4714 h 12857"/>
                  <a:gd name="connsiteX5" fmla="*/ 257 w 23142"/>
                  <a:gd name="connsiteY5" fmla="*/ 9206 h 12857"/>
                  <a:gd name="connsiteX6" fmla="*/ 257 w 23142"/>
                  <a:gd name="connsiteY6" fmla="*/ 9206 h 12857"/>
                  <a:gd name="connsiteX7" fmla="*/ 257 w 23142"/>
                  <a:gd name="connsiteY7" fmla="*/ 9206 h 12857"/>
                  <a:gd name="connsiteX8" fmla="*/ 9754 w 23142"/>
                  <a:gd name="connsiteY8" fmla="*/ 14691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142" h="12857">
                    <a:moveTo>
                      <a:pt x="9754" y="14691"/>
                    </a:moveTo>
                    <a:cubicBezTo>
                      <a:pt x="14863" y="11640"/>
                      <a:pt x="19971" y="8657"/>
                      <a:pt x="25046" y="5571"/>
                    </a:cubicBezTo>
                    <a:lnTo>
                      <a:pt x="23571" y="4714"/>
                    </a:lnTo>
                    <a:lnTo>
                      <a:pt x="15823" y="257"/>
                    </a:lnTo>
                    <a:lnTo>
                      <a:pt x="8040" y="4714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9754" y="14691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6A2BA7E5-E0AB-4BC6-8528-A5854EB51E8A}"/>
                  </a:ext>
                </a:extLst>
              </p:cNvPr>
              <p:cNvSpPr/>
              <p:nvPr/>
            </p:nvSpPr>
            <p:spPr>
              <a:xfrm>
                <a:off x="6508937" y="1591526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1" name="Freeform: Shape 310">
                <a:extLst>
                  <a:ext uri="{FF2B5EF4-FFF2-40B4-BE49-F238E27FC236}">
                    <a16:creationId xmlns:a16="http://schemas.microsoft.com/office/drawing/2014/main" id="{43E792AC-CE03-4F5F-9EB8-A5D6C9EDA118}"/>
                  </a:ext>
                </a:extLst>
              </p:cNvPr>
              <p:cNvSpPr/>
              <p:nvPr/>
            </p:nvSpPr>
            <p:spPr>
              <a:xfrm>
                <a:off x="6536914" y="1576337"/>
                <a:ext cx="20571" cy="5143"/>
              </a:xfrm>
              <a:custGeom>
                <a:avLst/>
                <a:gdLst>
                  <a:gd name="connsiteX0" fmla="*/ 21309 w 20571"/>
                  <a:gd name="connsiteY0" fmla="*/ 257 h 5142"/>
                  <a:gd name="connsiteX1" fmla="*/ 257 w 20571"/>
                  <a:gd name="connsiteY1" fmla="*/ 703 h 5142"/>
                  <a:gd name="connsiteX2" fmla="*/ 10406 w 20571"/>
                  <a:gd name="connsiteY2" fmla="*/ 6531 h 5142"/>
                  <a:gd name="connsiteX3" fmla="*/ 21309 w 20571"/>
                  <a:gd name="connsiteY3" fmla="*/ 257 h 5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1" h="5142">
                    <a:moveTo>
                      <a:pt x="21309" y="257"/>
                    </a:moveTo>
                    <a:cubicBezTo>
                      <a:pt x="14280" y="291"/>
                      <a:pt x="7286" y="463"/>
                      <a:pt x="257" y="703"/>
                    </a:cubicBezTo>
                    <a:lnTo>
                      <a:pt x="10406" y="6531"/>
                    </a:lnTo>
                    <a:lnTo>
                      <a:pt x="2130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2" name="Freeform: Shape 311">
                <a:extLst>
                  <a:ext uri="{FF2B5EF4-FFF2-40B4-BE49-F238E27FC236}">
                    <a16:creationId xmlns:a16="http://schemas.microsoft.com/office/drawing/2014/main" id="{A90D8E97-9CC6-45C0-94D4-D3CAE9EA9BD0}"/>
                  </a:ext>
                </a:extLst>
              </p:cNvPr>
              <p:cNvSpPr/>
              <p:nvPr/>
            </p:nvSpPr>
            <p:spPr>
              <a:xfrm>
                <a:off x="6508937" y="164518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D916A90A-DBCA-4003-9ED8-C60CDE8FF84C}"/>
                  </a:ext>
                </a:extLst>
              </p:cNvPr>
              <p:cNvSpPr/>
              <p:nvPr/>
            </p:nvSpPr>
            <p:spPr>
              <a:xfrm>
                <a:off x="6531531" y="1618337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8006 w 30857"/>
                  <a:gd name="connsiteY2" fmla="*/ 4748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257 w 30857"/>
                  <a:gd name="connsiteY5" fmla="*/ 9240 h 18000"/>
                  <a:gd name="connsiteX6" fmla="*/ 15789 w 30857"/>
                  <a:gd name="connsiteY6" fmla="*/ 18223 h 18000"/>
                  <a:gd name="connsiteX7" fmla="*/ 31320 w 30857"/>
                  <a:gd name="connsiteY7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59220541-BB89-40B4-8E09-BC2E5A386C5C}"/>
                  </a:ext>
                </a:extLst>
              </p:cNvPr>
              <p:cNvSpPr/>
              <p:nvPr/>
            </p:nvSpPr>
            <p:spPr>
              <a:xfrm>
                <a:off x="6486309" y="1618337"/>
                <a:ext cx="30857" cy="18000"/>
              </a:xfrm>
              <a:custGeom>
                <a:avLst/>
                <a:gdLst>
                  <a:gd name="connsiteX0" fmla="*/ 15823 w 30857"/>
                  <a:gd name="connsiteY0" fmla="*/ 18223 h 18000"/>
                  <a:gd name="connsiteX1" fmla="*/ 31354 w 30857"/>
                  <a:gd name="connsiteY1" fmla="*/ 9240 h 18000"/>
                  <a:gd name="connsiteX2" fmla="*/ 15823 w 30857"/>
                  <a:gd name="connsiteY2" fmla="*/ 257 h 18000"/>
                  <a:gd name="connsiteX3" fmla="*/ 8040 w 30857"/>
                  <a:gd name="connsiteY3" fmla="*/ 4748 h 18000"/>
                  <a:gd name="connsiteX4" fmla="*/ 257 w 30857"/>
                  <a:gd name="connsiteY4" fmla="*/ 9240 h 18000"/>
                  <a:gd name="connsiteX5" fmla="*/ 257 w 30857"/>
                  <a:gd name="connsiteY5" fmla="*/ 9240 h 18000"/>
                  <a:gd name="connsiteX6" fmla="*/ 257 w 30857"/>
                  <a:gd name="connsiteY6" fmla="*/ 9240 h 18000"/>
                  <a:gd name="connsiteX7" fmla="*/ 15823 w 30857"/>
                  <a:gd name="connsiteY7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823" y="18223"/>
                    </a:moveTo>
                    <a:lnTo>
                      <a:pt x="31354" y="9240"/>
                    </a:lnTo>
                    <a:lnTo>
                      <a:pt x="15823" y="257"/>
                    </a:ln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823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0457C675-B32E-4E13-AB47-F2E5649BA2DA}"/>
                  </a:ext>
                </a:extLst>
              </p:cNvPr>
              <p:cNvSpPr/>
              <p:nvPr/>
            </p:nvSpPr>
            <p:spPr>
              <a:xfrm>
                <a:off x="6531531" y="1725686"/>
                <a:ext cx="25714" cy="7714"/>
              </a:xfrm>
              <a:custGeom>
                <a:avLst/>
                <a:gdLst>
                  <a:gd name="connsiteX0" fmla="*/ 26040 w 25714"/>
                  <a:gd name="connsiteY0" fmla="*/ 6189 h 7714"/>
                  <a:gd name="connsiteX1" fmla="*/ 15789 w 25714"/>
                  <a:gd name="connsiteY1" fmla="*/ 257 h 7714"/>
                  <a:gd name="connsiteX2" fmla="*/ 257 w 25714"/>
                  <a:gd name="connsiteY2" fmla="*/ 9240 h 7714"/>
                  <a:gd name="connsiteX3" fmla="*/ 1149 w 25714"/>
                  <a:gd name="connsiteY3" fmla="*/ 9754 h 7714"/>
                  <a:gd name="connsiteX4" fmla="*/ 26040 w 25714"/>
                  <a:gd name="connsiteY4" fmla="*/ 6189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714" h="7714">
                    <a:moveTo>
                      <a:pt x="26040" y="6189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149" y="9754"/>
                    </a:lnTo>
                    <a:cubicBezTo>
                      <a:pt x="9446" y="8623"/>
                      <a:pt x="17743" y="7457"/>
                      <a:pt x="26040" y="6189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690F82D5-CB59-4F02-81D5-3F081537CB23}"/>
                  </a:ext>
                </a:extLst>
              </p:cNvPr>
              <p:cNvSpPr/>
              <p:nvPr/>
            </p:nvSpPr>
            <p:spPr>
              <a:xfrm>
                <a:off x="6508937" y="1698840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BC124D32-19AB-4832-BCCC-5ECAC1973D01}"/>
                  </a:ext>
                </a:extLst>
              </p:cNvPr>
              <p:cNvSpPr/>
              <p:nvPr/>
            </p:nvSpPr>
            <p:spPr>
              <a:xfrm>
                <a:off x="6531531" y="1672029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257 w 30857"/>
                  <a:gd name="connsiteY3" fmla="*/ 9206 h 18000"/>
                  <a:gd name="connsiteX4" fmla="*/ 15789 w 30857"/>
                  <a:gd name="connsiteY4" fmla="*/ 18189 h 18000"/>
                  <a:gd name="connsiteX5" fmla="*/ 31320 w 30857"/>
                  <a:gd name="connsiteY5" fmla="*/ 9206 h 18000"/>
                  <a:gd name="connsiteX6" fmla="*/ 15789 w 30857"/>
                  <a:gd name="connsiteY6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A0988251-4273-4292-A096-A0E0556BA947}"/>
                  </a:ext>
                </a:extLst>
              </p:cNvPr>
              <p:cNvSpPr/>
              <p:nvPr/>
            </p:nvSpPr>
            <p:spPr>
              <a:xfrm>
                <a:off x="6486309" y="1672029"/>
                <a:ext cx="30857" cy="18000"/>
              </a:xfrm>
              <a:custGeom>
                <a:avLst/>
                <a:gdLst>
                  <a:gd name="connsiteX0" fmla="*/ 15823 w 30857"/>
                  <a:gd name="connsiteY0" fmla="*/ 18189 h 18000"/>
                  <a:gd name="connsiteX1" fmla="*/ 31354 w 30857"/>
                  <a:gd name="connsiteY1" fmla="*/ 9206 h 18000"/>
                  <a:gd name="connsiteX2" fmla="*/ 15823 w 30857"/>
                  <a:gd name="connsiteY2" fmla="*/ 257 h 18000"/>
                  <a:gd name="connsiteX3" fmla="*/ 257 w 30857"/>
                  <a:gd name="connsiteY3" fmla="*/ 9206 h 18000"/>
                  <a:gd name="connsiteX4" fmla="*/ 257 w 30857"/>
                  <a:gd name="connsiteY4" fmla="*/ 9206 h 18000"/>
                  <a:gd name="connsiteX5" fmla="*/ 257 w 30857"/>
                  <a:gd name="connsiteY5" fmla="*/ 9206 h 18000"/>
                  <a:gd name="connsiteX6" fmla="*/ 15823 w 30857"/>
                  <a:gd name="connsiteY6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15823" y="18189"/>
                    </a:move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823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19" name="Freeform: Shape 318">
                <a:extLst>
                  <a:ext uri="{FF2B5EF4-FFF2-40B4-BE49-F238E27FC236}">
                    <a16:creationId xmlns:a16="http://schemas.microsoft.com/office/drawing/2014/main" id="{2F056F19-B95E-4941-B1E1-4E200864BE0F}"/>
                  </a:ext>
                </a:extLst>
              </p:cNvPr>
              <p:cNvSpPr/>
              <p:nvPr/>
            </p:nvSpPr>
            <p:spPr>
              <a:xfrm>
                <a:off x="6463719" y="1215835"/>
                <a:ext cx="30857" cy="18000"/>
              </a:xfrm>
              <a:custGeom>
                <a:avLst/>
                <a:gdLst>
                  <a:gd name="connsiteX0" fmla="*/ 31372 w 30857"/>
                  <a:gd name="connsiteY0" fmla="*/ 9223 h 18000"/>
                  <a:gd name="connsiteX1" fmla="*/ 15833 w 30857"/>
                  <a:gd name="connsiteY1" fmla="*/ 260 h 18000"/>
                  <a:gd name="connsiteX2" fmla="*/ 260 w 30857"/>
                  <a:gd name="connsiteY2" fmla="*/ 9223 h 18000"/>
                  <a:gd name="connsiteX3" fmla="*/ 15833 w 30857"/>
                  <a:gd name="connsiteY3" fmla="*/ 18186 h 18000"/>
                  <a:gd name="connsiteX4" fmla="*/ 31372 w 30857"/>
                  <a:gd name="connsiteY4" fmla="*/ 9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72" y="9223"/>
                    </a:moveTo>
                    <a:lnTo>
                      <a:pt x="15833" y="260"/>
                    </a:lnTo>
                    <a:lnTo>
                      <a:pt x="260" y="9223"/>
                    </a:lnTo>
                    <a:lnTo>
                      <a:pt x="15833" y="18186"/>
                    </a:lnTo>
                    <a:lnTo>
                      <a:pt x="31372" y="9223"/>
                    </a:lnTo>
                  </a:path>
                </a:pathLst>
              </a:custGeom>
              <a:solidFill>
                <a:srgbClr val="969A9E"/>
              </a:solidFill>
              <a:ln w="12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0" name="Freeform: Shape 319">
                <a:extLst>
                  <a:ext uri="{FF2B5EF4-FFF2-40B4-BE49-F238E27FC236}">
                    <a16:creationId xmlns:a16="http://schemas.microsoft.com/office/drawing/2014/main" id="{DEEE4058-046A-47B5-B003-9523F5036C5A}"/>
                  </a:ext>
                </a:extLst>
              </p:cNvPr>
              <p:cNvSpPr/>
              <p:nvPr/>
            </p:nvSpPr>
            <p:spPr>
              <a:xfrm>
                <a:off x="6489141" y="1196534"/>
                <a:ext cx="28286" cy="10286"/>
              </a:xfrm>
              <a:custGeom>
                <a:avLst/>
                <a:gdLst>
                  <a:gd name="connsiteX0" fmla="*/ 28532 w 28285"/>
                  <a:gd name="connsiteY0" fmla="*/ 1678 h 10285"/>
                  <a:gd name="connsiteX1" fmla="*/ 27560 w 28285"/>
                  <a:gd name="connsiteY1" fmla="*/ 1157 h 10285"/>
                  <a:gd name="connsiteX2" fmla="*/ 27247 w 28285"/>
                  <a:gd name="connsiteY2" fmla="*/ 1088 h 10285"/>
                  <a:gd name="connsiteX3" fmla="*/ 260 w 28285"/>
                  <a:gd name="connsiteY3" fmla="*/ 3345 h 10285"/>
                  <a:gd name="connsiteX4" fmla="*/ 260 w 28285"/>
                  <a:gd name="connsiteY4" fmla="*/ 3345 h 10285"/>
                  <a:gd name="connsiteX5" fmla="*/ 13007 w 28285"/>
                  <a:gd name="connsiteY5" fmla="*/ 10674 h 10285"/>
                  <a:gd name="connsiteX6" fmla="*/ 28532 w 28285"/>
                  <a:gd name="connsiteY6" fmla="*/ 1678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285" h="10285">
                    <a:moveTo>
                      <a:pt x="28532" y="1678"/>
                    </a:moveTo>
                    <a:lnTo>
                      <a:pt x="27560" y="1157"/>
                    </a:lnTo>
                    <a:cubicBezTo>
                      <a:pt x="27455" y="1122"/>
                      <a:pt x="27351" y="1088"/>
                      <a:pt x="27247" y="1088"/>
                    </a:cubicBezTo>
                    <a:cubicBezTo>
                      <a:pt x="17557" y="-614"/>
                      <a:pt x="8422" y="393"/>
                      <a:pt x="260" y="3345"/>
                    </a:cubicBezTo>
                    <a:lnTo>
                      <a:pt x="260" y="3345"/>
                    </a:lnTo>
                    <a:lnTo>
                      <a:pt x="13007" y="10674"/>
                    </a:lnTo>
                    <a:lnTo>
                      <a:pt x="28532" y="1678"/>
                    </a:lnTo>
                  </a:path>
                </a:pathLst>
              </a:custGeom>
              <a:solidFill>
                <a:srgbClr val="969A9E"/>
              </a:solidFill>
              <a:ln w="12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1" name="Freeform: Shape 320">
                <a:extLst>
                  <a:ext uri="{FF2B5EF4-FFF2-40B4-BE49-F238E27FC236}">
                    <a16:creationId xmlns:a16="http://schemas.microsoft.com/office/drawing/2014/main" id="{C45DC7AA-9FA9-49CF-9130-8D8B481742F7}"/>
                  </a:ext>
                </a:extLst>
              </p:cNvPr>
              <p:cNvSpPr/>
              <p:nvPr/>
            </p:nvSpPr>
            <p:spPr>
              <a:xfrm>
                <a:off x="6465737" y="1269515"/>
                <a:ext cx="28286" cy="18000"/>
              </a:xfrm>
              <a:custGeom>
                <a:avLst/>
                <a:gdLst>
                  <a:gd name="connsiteX0" fmla="*/ 257 w 28285"/>
                  <a:gd name="connsiteY0" fmla="*/ 8074 h 18000"/>
                  <a:gd name="connsiteX1" fmla="*/ 9103 w 28285"/>
                  <a:gd name="connsiteY1" fmla="*/ 15480 h 18000"/>
                  <a:gd name="connsiteX2" fmla="*/ 13800 w 28285"/>
                  <a:gd name="connsiteY2" fmla="*/ 18189 h 18000"/>
                  <a:gd name="connsiteX3" fmla="*/ 29331 w 28285"/>
                  <a:gd name="connsiteY3" fmla="*/ 9240 h 18000"/>
                  <a:gd name="connsiteX4" fmla="*/ 13800 w 28285"/>
                  <a:gd name="connsiteY4" fmla="*/ 257 h 18000"/>
                  <a:gd name="connsiteX5" fmla="*/ 257 w 28285"/>
                  <a:gd name="connsiteY5" fmla="*/ 8074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85" h="18000">
                    <a:moveTo>
                      <a:pt x="257" y="8074"/>
                    </a:moveTo>
                    <a:cubicBezTo>
                      <a:pt x="2760" y="10714"/>
                      <a:pt x="5708" y="13183"/>
                      <a:pt x="9103" y="15480"/>
                    </a:cubicBezTo>
                    <a:lnTo>
                      <a:pt x="13800" y="18189"/>
                    </a:lnTo>
                    <a:lnTo>
                      <a:pt x="29331" y="9240"/>
                    </a:lnTo>
                    <a:lnTo>
                      <a:pt x="13800" y="257"/>
                    </a:lnTo>
                    <a:lnTo>
                      <a:pt x="257" y="8074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4408E37B-E2F8-487F-A69D-0E1D93EAA152}"/>
                  </a:ext>
                </a:extLst>
              </p:cNvPr>
              <p:cNvSpPr/>
              <p:nvPr/>
            </p:nvSpPr>
            <p:spPr>
              <a:xfrm>
                <a:off x="6463714" y="1323172"/>
                <a:ext cx="30857" cy="18000"/>
              </a:xfrm>
              <a:custGeom>
                <a:avLst/>
                <a:gdLst>
                  <a:gd name="connsiteX0" fmla="*/ 15823 w 30857"/>
                  <a:gd name="connsiteY0" fmla="*/ 18189 h 18000"/>
                  <a:gd name="connsiteX1" fmla="*/ 31354 w 30857"/>
                  <a:gd name="connsiteY1" fmla="*/ 9240 h 18000"/>
                  <a:gd name="connsiteX2" fmla="*/ 15823 w 30857"/>
                  <a:gd name="connsiteY2" fmla="*/ 257 h 18000"/>
                  <a:gd name="connsiteX3" fmla="*/ 257 w 30857"/>
                  <a:gd name="connsiteY3" fmla="*/ 9240 h 18000"/>
                  <a:gd name="connsiteX4" fmla="*/ 15823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823" y="18189"/>
                    </a:moveTo>
                    <a:lnTo>
                      <a:pt x="31354" y="9240"/>
                    </a:lnTo>
                    <a:lnTo>
                      <a:pt x="15823" y="257"/>
                    </a:lnTo>
                    <a:lnTo>
                      <a:pt x="257" y="9240"/>
                    </a:lnTo>
                    <a:lnTo>
                      <a:pt x="15823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FA388E6D-387B-415C-B7A7-2099A5E5B87F}"/>
                  </a:ext>
                </a:extLst>
              </p:cNvPr>
              <p:cNvSpPr/>
              <p:nvPr/>
            </p:nvSpPr>
            <p:spPr>
              <a:xfrm>
                <a:off x="6463714" y="1376863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823 w 30857"/>
                  <a:gd name="connsiteY1" fmla="*/ 18189 h 18000"/>
                  <a:gd name="connsiteX2" fmla="*/ 31354 w 30857"/>
                  <a:gd name="connsiteY2" fmla="*/ 9206 h 18000"/>
                  <a:gd name="connsiteX3" fmla="*/ 15823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823" y="18189"/>
                    </a:ln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0155F780-69E7-4AA5-B530-F1FB6321B1A7}"/>
                  </a:ext>
                </a:extLst>
              </p:cNvPr>
              <p:cNvSpPr/>
              <p:nvPr/>
            </p:nvSpPr>
            <p:spPr>
              <a:xfrm>
                <a:off x="6463714" y="143052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823 w 30857"/>
                  <a:gd name="connsiteY1" fmla="*/ 18189 h 18000"/>
                  <a:gd name="connsiteX2" fmla="*/ 31354 w 30857"/>
                  <a:gd name="connsiteY2" fmla="*/ 9206 h 18000"/>
                  <a:gd name="connsiteX3" fmla="*/ 15823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823" y="18189"/>
                    </a:ln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5" name="Freeform: Shape 324">
                <a:extLst>
                  <a:ext uri="{FF2B5EF4-FFF2-40B4-BE49-F238E27FC236}">
                    <a16:creationId xmlns:a16="http://schemas.microsoft.com/office/drawing/2014/main" id="{2887317E-B126-4BAD-9085-38D7219DBB71}"/>
                  </a:ext>
                </a:extLst>
              </p:cNvPr>
              <p:cNvSpPr/>
              <p:nvPr/>
            </p:nvSpPr>
            <p:spPr>
              <a:xfrm>
                <a:off x="6441120" y="1403674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8040 w 30857"/>
                  <a:gd name="connsiteY1" fmla="*/ 4749 h 18000"/>
                  <a:gd name="connsiteX2" fmla="*/ 6292 w 30857"/>
                  <a:gd name="connsiteY2" fmla="*/ 5743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189 h 18000"/>
                  <a:gd name="connsiteX6" fmla="*/ 31354 w 30857"/>
                  <a:gd name="connsiteY6" fmla="*/ 9240 h 18000"/>
                  <a:gd name="connsiteX7" fmla="*/ 31354 w 30857"/>
                  <a:gd name="connsiteY7" fmla="*/ 9240 h 18000"/>
                  <a:gd name="connsiteX8" fmla="*/ 31354 w 30857"/>
                  <a:gd name="connsiteY8" fmla="*/ 9240 h 18000"/>
                  <a:gd name="connsiteX9" fmla="*/ 23571 w 30857"/>
                  <a:gd name="connsiteY9" fmla="*/ 4749 h 18000"/>
                  <a:gd name="connsiteX10" fmla="*/ 15789 w 30857"/>
                  <a:gd name="connsiteY10" fmla="*/ 257 h 18000"/>
                  <a:gd name="connsiteX11" fmla="*/ 15789 w 30857"/>
                  <a:gd name="connsiteY11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8040" y="4749"/>
                    </a:lnTo>
                    <a:lnTo>
                      <a:pt x="6292" y="5743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54" y="9240"/>
                    </a:lnTo>
                    <a:lnTo>
                      <a:pt x="31354" y="9240"/>
                    </a:lnTo>
                    <a:lnTo>
                      <a:pt x="31354" y="9240"/>
                    </a:lnTo>
                    <a:lnTo>
                      <a:pt x="23571" y="4749"/>
                    </a:lnTo>
                    <a:lnTo>
                      <a:pt x="15789" y="257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6" name="Freeform: Shape 325">
                <a:extLst>
                  <a:ext uri="{FF2B5EF4-FFF2-40B4-BE49-F238E27FC236}">
                    <a16:creationId xmlns:a16="http://schemas.microsoft.com/office/drawing/2014/main" id="{3F622CFC-2F1E-41AE-861E-ABBB2A6518CA}"/>
                  </a:ext>
                </a:extLst>
              </p:cNvPr>
              <p:cNvSpPr/>
              <p:nvPr/>
            </p:nvSpPr>
            <p:spPr>
              <a:xfrm>
                <a:off x="6463714" y="1591526"/>
                <a:ext cx="30857" cy="18000"/>
              </a:xfrm>
              <a:custGeom>
                <a:avLst/>
                <a:gdLst>
                  <a:gd name="connsiteX0" fmla="*/ 15823 w 30857"/>
                  <a:gd name="connsiteY0" fmla="*/ 18189 h 18000"/>
                  <a:gd name="connsiteX1" fmla="*/ 31354 w 30857"/>
                  <a:gd name="connsiteY1" fmla="*/ 9206 h 18000"/>
                  <a:gd name="connsiteX2" fmla="*/ 15823 w 30857"/>
                  <a:gd name="connsiteY2" fmla="*/ 257 h 18000"/>
                  <a:gd name="connsiteX3" fmla="*/ 257 w 30857"/>
                  <a:gd name="connsiteY3" fmla="*/ 9206 h 18000"/>
                  <a:gd name="connsiteX4" fmla="*/ 15823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823" y="18189"/>
                    </a:move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  <a:lnTo>
                      <a:pt x="15823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7" name="Freeform: Shape 326">
                <a:extLst>
                  <a:ext uri="{FF2B5EF4-FFF2-40B4-BE49-F238E27FC236}">
                    <a16:creationId xmlns:a16="http://schemas.microsoft.com/office/drawing/2014/main" id="{7015A9CB-A036-4DCB-90E7-A186F1E67BA4}"/>
                  </a:ext>
                </a:extLst>
              </p:cNvPr>
              <p:cNvSpPr/>
              <p:nvPr/>
            </p:nvSpPr>
            <p:spPr>
              <a:xfrm>
                <a:off x="6495805" y="1578120"/>
                <a:ext cx="12857" cy="2571"/>
              </a:xfrm>
              <a:custGeom>
                <a:avLst/>
                <a:gdLst>
                  <a:gd name="connsiteX0" fmla="*/ 14143 w 12857"/>
                  <a:gd name="connsiteY0" fmla="*/ 257 h 2571"/>
                  <a:gd name="connsiteX1" fmla="*/ 257 w 12857"/>
                  <a:gd name="connsiteY1" fmla="*/ 1252 h 2571"/>
                  <a:gd name="connsiteX2" fmla="*/ 6326 w 12857"/>
                  <a:gd name="connsiteY2" fmla="*/ 4749 h 2571"/>
                  <a:gd name="connsiteX3" fmla="*/ 14143 w 12857"/>
                  <a:gd name="connsiteY3" fmla="*/ 257 h 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7" h="2571">
                    <a:moveTo>
                      <a:pt x="14143" y="257"/>
                    </a:moveTo>
                    <a:cubicBezTo>
                      <a:pt x="9514" y="566"/>
                      <a:pt x="4886" y="875"/>
                      <a:pt x="257" y="1252"/>
                    </a:cubicBezTo>
                    <a:lnTo>
                      <a:pt x="6326" y="4749"/>
                    </a:lnTo>
                    <a:lnTo>
                      <a:pt x="14143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8" name="Freeform: Shape 327">
                <a:extLst>
                  <a:ext uri="{FF2B5EF4-FFF2-40B4-BE49-F238E27FC236}">
                    <a16:creationId xmlns:a16="http://schemas.microsoft.com/office/drawing/2014/main" id="{B3DD90D3-B133-4CD8-92BF-DA06280DAF59}"/>
                  </a:ext>
                </a:extLst>
              </p:cNvPr>
              <p:cNvSpPr/>
              <p:nvPr/>
            </p:nvSpPr>
            <p:spPr>
              <a:xfrm>
                <a:off x="6463714" y="1645183"/>
                <a:ext cx="30857" cy="18000"/>
              </a:xfrm>
              <a:custGeom>
                <a:avLst/>
                <a:gdLst>
                  <a:gd name="connsiteX0" fmla="*/ 31354 w 30857"/>
                  <a:gd name="connsiteY0" fmla="*/ 9240 h 18000"/>
                  <a:gd name="connsiteX1" fmla="*/ 15823 w 30857"/>
                  <a:gd name="connsiteY1" fmla="*/ 257 h 18000"/>
                  <a:gd name="connsiteX2" fmla="*/ 257 w 30857"/>
                  <a:gd name="connsiteY2" fmla="*/ 9240 h 18000"/>
                  <a:gd name="connsiteX3" fmla="*/ 15823 w 30857"/>
                  <a:gd name="connsiteY3" fmla="*/ 18189 h 18000"/>
                  <a:gd name="connsiteX4" fmla="*/ 31354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54" y="9240"/>
                    </a:moveTo>
                    <a:lnTo>
                      <a:pt x="15823" y="257"/>
                    </a:lnTo>
                    <a:lnTo>
                      <a:pt x="257" y="9240"/>
                    </a:lnTo>
                    <a:lnTo>
                      <a:pt x="15823" y="18189"/>
                    </a:lnTo>
                    <a:lnTo>
                      <a:pt x="31354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29" name="Freeform: Shape 328">
                <a:extLst>
                  <a:ext uri="{FF2B5EF4-FFF2-40B4-BE49-F238E27FC236}">
                    <a16:creationId xmlns:a16="http://schemas.microsoft.com/office/drawing/2014/main" id="{6B13EF04-6EC8-4616-8C8F-8F0D95F3D700}"/>
                  </a:ext>
                </a:extLst>
              </p:cNvPr>
              <p:cNvSpPr/>
              <p:nvPr/>
            </p:nvSpPr>
            <p:spPr>
              <a:xfrm>
                <a:off x="6441120" y="1618337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8040 w 30857"/>
                  <a:gd name="connsiteY1" fmla="*/ 4748 h 18000"/>
                  <a:gd name="connsiteX2" fmla="*/ 6292 w 30857"/>
                  <a:gd name="connsiteY2" fmla="*/ 5777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223 h 18000"/>
                  <a:gd name="connsiteX6" fmla="*/ 31354 w 30857"/>
                  <a:gd name="connsiteY6" fmla="*/ 9240 h 18000"/>
                  <a:gd name="connsiteX7" fmla="*/ 15789 w 30857"/>
                  <a:gd name="connsiteY7" fmla="*/ 257 h 18000"/>
                  <a:gd name="connsiteX8" fmla="*/ 15789 w 30857"/>
                  <a:gd name="connsiteY8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8040" y="4748"/>
                    </a:lnTo>
                    <a:lnTo>
                      <a:pt x="6292" y="5777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54" y="9240"/>
                    </a:lnTo>
                    <a:lnTo>
                      <a:pt x="15789" y="257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9598A046-2F7B-4A4C-9848-258767BCCFB5}"/>
                  </a:ext>
                </a:extLst>
              </p:cNvPr>
              <p:cNvSpPr/>
              <p:nvPr/>
            </p:nvSpPr>
            <p:spPr>
              <a:xfrm>
                <a:off x="6486309" y="1725686"/>
                <a:ext cx="30857" cy="12857"/>
              </a:xfrm>
              <a:custGeom>
                <a:avLst/>
                <a:gdLst>
                  <a:gd name="connsiteX0" fmla="*/ 25903 w 30857"/>
                  <a:gd name="connsiteY0" fmla="*/ 12394 h 12857"/>
                  <a:gd name="connsiteX1" fmla="*/ 31354 w 30857"/>
                  <a:gd name="connsiteY1" fmla="*/ 9240 h 12857"/>
                  <a:gd name="connsiteX2" fmla="*/ 15823 w 30857"/>
                  <a:gd name="connsiteY2" fmla="*/ 257 h 12857"/>
                  <a:gd name="connsiteX3" fmla="*/ 257 w 30857"/>
                  <a:gd name="connsiteY3" fmla="*/ 9240 h 12857"/>
                  <a:gd name="connsiteX4" fmla="*/ 8623 w 30857"/>
                  <a:gd name="connsiteY4" fmla="*/ 14040 h 12857"/>
                  <a:gd name="connsiteX5" fmla="*/ 25903 w 30857"/>
                  <a:gd name="connsiteY5" fmla="*/ 12394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2857">
                    <a:moveTo>
                      <a:pt x="25903" y="12394"/>
                    </a:moveTo>
                    <a:lnTo>
                      <a:pt x="31354" y="9240"/>
                    </a:lnTo>
                    <a:lnTo>
                      <a:pt x="15823" y="257"/>
                    </a:lnTo>
                    <a:lnTo>
                      <a:pt x="257" y="9240"/>
                    </a:lnTo>
                    <a:lnTo>
                      <a:pt x="8623" y="14040"/>
                    </a:lnTo>
                    <a:cubicBezTo>
                      <a:pt x="14383" y="13526"/>
                      <a:pt x="20143" y="13046"/>
                      <a:pt x="25903" y="12394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:a16="http://schemas.microsoft.com/office/drawing/2014/main" id="{40C28321-71CE-412A-AC32-A201228D5A97}"/>
                  </a:ext>
                </a:extLst>
              </p:cNvPr>
              <p:cNvSpPr/>
              <p:nvPr/>
            </p:nvSpPr>
            <p:spPr>
              <a:xfrm>
                <a:off x="6463714" y="1698840"/>
                <a:ext cx="30857" cy="18000"/>
              </a:xfrm>
              <a:custGeom>
                <a:avLst/>
                <a:gdLst>
                  <a:gd name="connsiteX0" fmla="*/ 31354 w 30857"/>
                  <a:gd name="connsiteY0" fmla="*/ 9240 h 18000"/>
                  <a:gd name="connsiteX1" fmla="*/ 15823 w 30857"/>
                  <a:gd name="connsiteY1" fmla="*/ 257 h 18000"/>
                  <a:gd name="connsiteX2" fmla="*/ 257 w 30857"/>
                  <a:gd name="connsiteY2" fmla="*/ 9240 h 18000"/>
                  <a:gd name="connsiteX3" fmla="*/ 15823 w 30857"/>
                  <a:gd name="connsiteY3" fmla="*/ 18223 h 18000"/>
                  <a:gd name="connsiteX4" fmla="*/ 31354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54" y="9240"/>
                    </a:moveTo>
                    <a:lnTo>
                      <a:pt x="15823" y="257"/>
                    </a:lnTo>
                    <a:lnTo>
                      <a:pt x="257" y="9240"/>
                    </a:lnTo>
                    <a:lnTo>
                      <a:pt x="15823" y="18223"/>
                    </a:lnTo>
                    <a:lnTo>
                      <a:pt x="31354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2" name="Freeform: Shape 331">
                <a:extLst>
                  <a:ext uri="{FF2B5EF4-FFF2-40B4-BE49-F238E27FC236}">
                    <a16:creationId xmlns:a16="http://schemas.microsoft.com/office/drawing/2014/main" id="{C76D0735-E9D5-46BF-99A8-F0FA46284505}"/>
                  </a:ext>
                </a:extLst>
              </p:cNvPr>
              <p:cNvSpPr/>
              <p:nvPr/>
            </p:nvSpPr>
            <p:spPr>
              <a:xfrm>
                <a:off x="6453874" y="1242662"/>
                <a:ext cx="18000" cy="18000"/>
              </a:xfrm>
              <a:custGeom>
                <a:avLst/>
                <a:gdLst>
                  <a:gd name="connsiteX0" fmla="*/ 3037 w 18000"/>
                  <a:gd name="connsiteY0" fmla="*/ 18203 h 18000"/>
                  <a:gd name="connsiteX1" fmla="*/ 18605 w 18000"/>
                  <a:gd name="connsiteY1" fmla="*/ 9214 h 18000"/>
                  <a:gd name="connsiteX2" fmla="*/ 3037 w 18000"/>
                  <a:gd name="connsiteY2" fmla="*/ 258 h 18000"/>
                  <a:gd name="connsiteX3" fmla="*/ 3037 w 18000"/>
                  <a:gd name="connsiteY3" fmla="*/ 258 h 18000"/>
                  <a:gd name="connsiteX4" fmla="*/ 419 w 18000"/>
                  <a:gd name="connsiteY4" fmla="*/ 1808 h 18000"/>
                  <a:gd name="connsiteX5" fmla="*/ 1935 w 18000"/>
                  <a:gd name="connsiteY5" fmla="*/ 17549 h 18000"/>
                  <a:gd name="connsiteX6" fmla="*/ 3037 w 18000"/>
                  <a:gd name="connsiteY6" fmla="*/ 1820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00" h="18000">
                    <a:moveTo>
                      <a:pt x="3037" y="18203"/>
                    </a:moveTo>
                    <a:lnTo>
                      <a:pt x="18605" y="9214"/>
                    </a:lnTo>
                    <a:lnTo>
                      <a:pt x="3037" y="258"/>
                    </a:lnTo>
                    <a:lnTo>
                      <a:pt x="3037" y="258"/>
                    </a:lnTo>
                    <a:lnTo>
                      <a:pt x="419" y="1808"/>
                    </a:lnTo>
                    <a:cubicBezTo>
                      <a:pt x="-29" y="7078"/>
                      <a:pt x="454" y="12382"/>
                      <a:pt x="1935" y="17549"/>
                    </a:cubicBezTo>
                    <a:lnTo>
                      <a:pt x="3037" y="18203"/>
                    </a:lnTo>
                  </a:path>
                </a:pathLst>
              </a:custGeom>
              <a:solidFill>
                <a:srgbClr val="969A9E"/>
              </a:solidFill>
              <a:ln w="12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3" name="Freeform: Shape 332">
                <a:extLst>
                  <a:ext uri="{FF2B5EF4-FFF2-40B4-BE49-F238E27FC236}">
                    <a16:creationId xmlns:a16="http://schemas.microsoft.com/office/drawing/2014/main" id="{8678791D-8C55-4CA3-85D6-F5E71AEEFBC0}"/>
                  </a:ext>
                </a:extLst>
              </p:cNvPr>
              <p:cNvSpPr/>
              <p:nvPr/>
            </p:nvSpPr>
            <p:spPr>
              <a:xfrm>
                <a:off x="6441120" y="1350017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06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54 w 30857"/>
                  <a:gd name="connsiteY4" fmla="*/ 9240 h 18000"/>
                  <a:gd name="connsiteX5" fmla="*/ 31354 w 30857"/>
                  <a:gd name="connsiteY5" fmla="*/ 9206 h 18000"/>
                  <a:gd name="connsiteX6" fmla="*/ 31354 w 30857"/>
                  <a:gd name="connsiteY6" fmla="*/ 9206 h 18000"/>
                  <a:gd name="connsiteX7" fmla="*/ 15789 w 30857"/>
                  <a:gd name="connsiteY7" fmla="*/ 257 h 18000"/>
                  <a:gd name="connsiteX8" fmla="*/ 15789 w 30857"/>
                  <a:gd name="connsiteY8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54" y="9240"/>
                    </a:lnTo>
                    <a:lnTo>
                      <a:pt x="31354" y="9206"/>
                    </a:lnTo>
                    <a:lnTo>
                      <a:pt x="31354" y="9206"/>
                    </a:lnTo>
                    <a:lnTo>
                      <a:pt x="15789" y="257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4" name="Freeform: Shape 333">
                <a:extLst>
                  <a:ext uri="{FF2B5EF4-FFF2-40B4-BE49-F238E27FC236}">
                    <a16:creationId xmlns:a16="http://schemas.microsoft.com/office/drawing/2014/main" id="{10CB0F4C-D8F8-4322-A34B-CA426FB1E36E}"/>
                  </a:ext>
                </a:extLst>
              </p:cNvPr>
              <p:cNvSpPr/>
              <p:nvPr/>
            </p:nvSpPr>
            <p:spPr>
              <a:xfrm>
                <a:off x="6424526" y="1323172"/>
                <a:ext cx="23143" cy="18000"/>
              </a:xfrm>
              <a:custGeom>
                <a:avLst/>
                <a:gdLst>
                  <a:gd name="connsiteX0" fmla="*/ 25320 w 23142"/>
                  <a:gd name="connsiteY0" fmla="*/ 9240 h 18000"/>
                  <a:gd name="connsiteX1" fmla="*/ 9789 w 23142"/>
                  <a:gd name="connsiteY1" fmla="*/ 257 h 18000"/>
                  <a:gd name="connsiteX2" fmla="*/ 5846 w 23142"/>
                  <a:gd name="connsiteY2" fmla="*/ 2554 h 18000"/>
                  <a:gd name="connsiteX3" fmla="*/ 257 w 23142"/>
                  <a:gd name="connsiteY3" fmla="*/ 12703 h 18000"/>
                  <a:gd name="connsiteX4" fmla="*/ 9789 w 23142"/>
                  <a:gd name="connsiteY4" fmla="*/ 18189 h 18000"/>
                  <a:gd name="connsiteX5" fmla="*/ 25320 w 23142"/>
                  <a:gd name="connsiteY5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142" h="18000">
                    <a:moveTo>
                      <a:pt x="25320" y="9240"/>
                    </a:moveTo>
                    <a:lnTo>
                      <a:pt x="9789" y="257"/>
                    </a:lnTo>
                    <a:lnTo>
                      <a:pt x="5846" y="2554"/>
                    </a:lnTo>
                    <a:cubicBezTo>
                      <a:pt x="3377" y="5743"/>
                      <a:pt x="1526" y="9137"/>
                      <a:pt x="257" y="12703"/>
                    </a:cubicBezTo>
                    <a:lnTo>
                      <a:pt x="9789" y="18189"/>
                    </a:lnTo>
                    <a:lnTo>
                      <a:pt x="25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5" name="Freeform: Shape 334">
                <a:extLst>
                  <a:ext uri="{FF2B5EF4-FFF2-40B4-BE49-F238E27FC236}">
                    <a16:creationId xmlns:a16="http://schemas.microsoft.com/office/drawing/2014/main" id="{B31F43D5-E762-4A1E-9798-1C7FC08229DE}"/>
                  </a:ext>
                </a:extLst>
              </p:cNvPr>
              <p:cNvSpPr/>
              <p:nvPr/>
            </p:nvSpPr>
            <p:spPr>
              <a:xfrm>
                <a:off x="6450205" y="1302052"/>
                <a:ext cx="20571" cy="10286"/>
              </a:xfrm>
              <a:custGeom>
                <a:avLst/>
                <a:gdLst>
                  <a:gd name="connsiteX0" fmla="*/ 22269 w 20571"/>
                  <a:gd name="connsiteY0" fmla="*/ 3514 h 10285"/>
                  <a:gd name="connsiteX1" fmla="*/ 16611 w 20571"/>
                  <a:gd name="connsiteY1" fmla="*/ 257 h 10285"/>
                  <a:gd name="connsiteX2" fmla="*/ 257 w 20571"/>
                  <a:gd name="connsiteY2" fmla="*/ 8760 h 10285"/>
                  <a:gd name="connsiteX3" fmla="*/ 6703 w 20571"/>
                  <a:gd name="connsiteY3" fmla="*/ 12497 h 10285"/>
                  <a:gd name="connsiteX4" fmla="*/ 22269 w 20571"/>
                  <a:gd name="connsiteY4" fmla="*/ 3514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71" h="10285">
                    <a:moveTo>
                      <a:pt x="22269" y="3514"/>
                    </a:moveTo>
                    <a:lnTo>
                      <a:pt x="16611" y="257"/>
                    </a:lnTo>
                    <a:cubicBezTo>
                      <a:pt x="11297" y="3274"/>
                      <a:pt x="5846" y="6086"/>
                      <a:pt x="257" y="8760"/>
                    </a:cubicBezTo>
                    <a:lnTo>
                      <a:pt x="6703" y="12497"/>
                    </a:lnTo>
                    <a:lnTo>
                      <a:pt x="22269" y="3514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:a16="http://schemas.microsoft.com/office/drawing/2014/main" id="{FF967D9A-E9EA-438B-9A7A-C6D496EDCE76}"/>
                  </a:ext>
                </a:extLst>
              </p:cNvPr>
              <p:cNvSpPr/>
              <p:nvPr/>
            </p:nvSpPr>
            <p:spPr>
              <a:xfrm>
                <a:off x="6431828" y="1376863"/>
                <a:ext cx="18000" cy="18000"/>
              </a:xfrm>
              <a:custGeom>
                <a:avLst/>
                <a:gdLst>
                  <a:gd name="connsiteX0" fmla="*/ 257 w 18000"/>
                  <a:gd name="connsiteY0" fmla="*/ 1526 h 18000"/>
                  <a:gd name="connsiteX1" fmla="*/ 10920 w 18000"/>
                  <a:gd name="connsiteY1" fmla="*/ 13286 h 18000"/>
                  <a:gd name="connsiteX2" fmla="*/ 2931 w 18000"/>
                  <a:gd name="connsiteY2" fmla="*/ 16440 h 18000"/>
                  <a:gd name="connsiteX3" fmla="*/ 1148 w 18000"/>
                  <a:gd name="connsiteY3" fmla="*/ 17400 h 18000"/>
                  <a:gd name="connsiteX4" fmla="*/ 2486 w 18000"/>
                  <a:gd name="connsiteY4" fmla="*/ 18189 h 18000"/>
                  <a:gd name="connsiteX5" fmla="*/ 18017 w 18000"/>
                  <a:gd name="connsiteY5" fmla="*/ 9206 h 18000"/>
                  <a:gd name="connsiteX6" fmla="*/ 2486 w 18000"/>
                  <a:gd name="connsiteY6" fmla="*/ 257 h 18000"/>
                  <a:gd name="connsiteX7" fmla="*/ 257 w 18000"/>
                  <a:gd name="connsiteY7" fmla="*/ 152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00" h="18000">
                    <a:moveTo>
                      <a:pt x="257" y="1526"/>
                    </a:moveTo>
                    <a:cubicBezTo>
                      <a:pt x="3240" y="5880"/>
                      <a:pt x="6806" y="9857"/>
                      <a:pt x="10920" y="13286"/>
                    </a:cubicBezTo>
                    <a:cubicBezTo>
                      <a:pt x="8246" y="14075"/>
                      <a:pt x="5571" y="15103"/>
                      <a:pt x="2931" y="16440"/>
                    </a:cubicBezTo>
                    <a:cubicBezTo>
                      <a:pt x="2348" y="16749"/>
                      <a:pt x="1731" y="17092"/>
                      <a:pt x="1148" y="17400"/>
                    </a:cubicBezTo>
                    <a:lnTo>
                      <a:pt x="2486" y="18189"/>
                    </a:lnTo>
                    <a:lnTo>
                      <a:pt x="18017" y="9206"/>
                    </a:lnTo>
                    <a:lnTo>
                      <a:pt x="2486" y="257"/>
                    </a:lnTo>
                    <a:lnTo>
                      <a:pt x="257" y="152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EC7B44D6-CD1A-4FF7-913A-AE263C321750}"/>
                  </a:ext>
                </a:extLst>
              </p:cNvPr>
              <p:cNvSpPr/>
              <p:nvPr/>
            </p:nvSpPr>
            <p:spPr>
              <a:xfrm>
                <a:off x="6441120" y="1457366"/>
                <a:ext cx="30857" cy="18000"/>
              </a:xfrm>
              <a:custGeom>
                <a:avLst/>
                <a:gdLst>
                  <a:gd name="connsiteX0" fmla="*/ 6292 w 30857"/>
                  <a:gd name="connsiteY0" fmla="*/ 5743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54 w 30857"/>
                  <a:gd name="connsiteY4" fmla="*/ 9206 h 18000"/>
                  <a:gd name="connsiteX5" fmla="*/ 31354 w 30857"/>
                  <a:gd name="connsiteY5" fmla="*/ 9206 h 18000"/>
                  <a:gd name="connsiteX6" fmla="*/ 31354 w 30857"/>
                  <a:gd name="connsiteY6" fmla="*/ 9206 h 18000"/>
                  <a:gd name="connsiteX7" fmla="*/ 23571 w 30857"/>
                  <a:gd name="connsiteY7" fmla="*/ 4714 h 18000"/>
                  <a:gd name="connsiteX8" fmla="*/ 15789 w 30857"/>
                  <a:gd name="connsiteY8" fmla="*/ 257 h 18000"/>
                  <a:gd name="connsiteX9" fmla="*/ 15789 w 30857"/>
                  <a:gd name="connsiteY9" fmla="*/ 257 h 18000"/>
                  <a:gd name="connsiteX10" fmla="*/ 8040 w 30857"/>
                  <a:gd name="connsiteY10" fmla="*/ 4714 h 18000"/>
                  <a:gd name="connsiteX11" fmla="*/ 6292 w 30857"/>
                  <a:gd name="connsiteY11" fmla="*/ 574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857" h="18000">
                    <a:moveTo>
                      <a:pt x="6292" y="5743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54" y="9206"/>
                    </a:lnTo>
                    <a:lnTo>
                      <a:pt x="31354" y="9206"/>
                    </a:lnTo>
                    <a:lnTo>
                      <a:pt x="31354" y="9206"/>
                    </a:lnTo>
                    <a:lnTo>
                      <a:pt x="23571" y="4714"/>
                    </a:lnTo>
                    <a:lnTo>
                      <a:pt x="15789" y="257"/>
                    </a:lnTo>
                    <a:lnTo>
                      <a:pt x="15789" y="257"/>
                    </a:lnTo>
                    <a:lnTo>
                      <a:pt x="8040" y="4714"/>
                    </a:lnTo>
                    <a:lnTo>
                      <a:pt x="6292" y="574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4479942F-ABBD-46E3-990F-17E40F0D357C}"/>
                  </a:ext>
                </a:extLst>
              </p:cNvPr>
              <p:cNvSpPr/>
              <p:nvPr/>
            </p:nvSpPr>
            <p:spPr>
              <a:xfrm>
                <a:off x="6418526" y="1430520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31320 w 30857"/>
                  <a:gd name="connsiteY1" fmla="*/ 9206 h 18000"/>
                  <a:gd name="connsiteX2" fmla="*/ 15789 w 30857"/>
                  <a:gd name="connsiteY2" fmla="*/ 257 h 18000"/>
                  <a:gd name="connsiteX3" fmla="*/ 257 w 30857"/>
                  <a:gd name="connsiteY3" fmla="*/ 9206 h 18000"/>
                  <a:gd name="connsiteX4" fmla="*/ 15789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39" name="Freeform: Shape 338">
                <a:extLst>
                  <a:ext uri="{FF2B5EF4-FFF2-40B4-BE49-F238E27FC236}">
                    <a16:creationId xmlns:a16="http://schemas.microsoft.com/office/drawing/2014/main" id="{813C2B46-5549-49CA-8F07-BCC7759AB0D9}"/>
                  </a:ext>
                </a:extLst>
              </p:cNvPr>
              <p:cNvSpPr/>
              <p:nvPr/>
            </p:nvSpPr>
            <p:spPr>
              <a:xfrm>
                <a:off x="6418526" y="1484177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0" name="Freeform: Shape 339">
                <a:extLst>
                  <a:ext uri="{FF2B5EF4-FFF2-40B4-BE49-F238E27FC236}">
                    <a16:creationId xmlns:a16="http://schemas.microsoft.com/office/drawing/2014/main" id="{2F40F420-E2D7-4348-A0DD-75E16FFA92C5}"/>
                  </a:ext>
                </a:extLst>
              </p:cNvPr>
              <p:cNvSpPr/>
              <p:nvPr/>
            </p:nvSpPr>
            <p:spPr>
              <a:xfrm>
                <a:off x="6418526" y="1591526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1" name="Freeform: Shape 340">
                <a:extLst>
                  <a:ext uri="{FF2B5EF4-FFF2-40B4-BE49-F238E27FC236}">
                    <a16:creationId xmlns:a16="http://schemas.microsoft.com/office/drawing/2014/main" id="{5117F0CF-1C45-4C5D-A4D0-20DFA4E4124D}"/>
                  </a:ext>
                </a:extLst>
              </p:cNvPr>
              <p:cNvSpPr/>
              <p:nvPr/>
            </p:nvSpPr>
            <p:spPr>
              <a:xfrm>
                <a:off x="6418526" y="164518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81B885B8-1F2A-466F-A5F6-C831EDA47A1F}"/>
                  </a:ext>
                </a:extLst>
              </p:cNvPr>
              <p:cNvSpPr/>
              <p:nvPr/>
            </p:nvSpPr>
            <p:spPr>
              <a:xfrm>
                <a:off x="6441120" y="1725686"/>
                <a:ext cx="30857" cy="15429"/>
              </a:xfrm>
              <a:custGeom>
                <a:avLst/>
                <a:gdLst>
                  <a:gd name="connsiteX0" fmla="*/ 15789 w 30857"/>
                  <a:gd name="connsiteY0" fmla="*/ 257 h 15428"/>
                  <a:gd name="connsiteX1" fmla="*/ 15789 w 30857"/>
                  <a:gd name="connsiteY1" fmla="*/ 257 h 15428"/>
                  <a:gd name="connsiteX2" fmla="*/ 257 w 30857"/>
                  <a:gd name="connsiteY2" fmla="*/ 9240 h 15428"/>
                  <a:gd name="connsiteX3" fmla="*/ 13594 w 30857"/>
                  <a:gd name="connsiteY3" fmla="*/ 16920 h 15428"/>
                  <a:gd name="connsiteX4" fmla="*/ 18429 w 30857"/>
                  <a:gd name="connsiteY4" fmla="*/ 16680 h 15428"/>
                  <a:gd name="connsiteX5" fmla="*/ 31354 w 30857"/>
                  <a:gd name="connsiteY5" fmla="*/ 9240 h 15428"/>
                  <a:gd name="connsiteX6" fmla="*/ 15789 w 30857"/>
                  <a:gd name="connsiteY6" fmla="*/ 257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5428">
                    <a:moveTo>
                      <a:pt x="15789" y="257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3594" y="16920"/>
                    </a:lnTo>
                    <a:cubicBezTo>
                      <a:pt x="15206" y="16852"/>
                      <a:pt x="16817" y="16748"/>
                      <a:pt x="18429" y="16680"/>
                    </a:cubicBezTo>
                    <a:lnTo>
                      <a:pt x="31354" y="9240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3" name="Freeform: Shape 342">
                <a:extLst>
                  <a:ext uri="{FF2B5EF4-FFF2-40B4-BE49-F238E27FC236}">
                    <a16:creationId xmlns:a16="http://schemas.microsoft.com/office/drawing/2014/main" id="{15D15402-7179-49BE-ADFD-B0FD9AC07DB7}"/>
                  </a:ext>
                </a:extLst>
              </p:cNvPr>
              <p:cNvSpPr/>
              <p:nvPr/>
            </p:nvSpPr>
            <p:spPr>
              <a:xfrm>
                <a:off x="6418526" y="1698840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4" name="Freeform: Shape 343">
                <a:extLst>
                  <a:ext uri="{FF2B5EF4-FFF2-40B4-BE49-F238E27FC236}">
                    <a16:creationId xmlns:a16="http://schemas.microsoft.com/office/drawing/2014/main" id="{EC003E8A-B317-42D5-9B28-1C42C9CBDF9D}"/>
                  </a:ext>
                </a:extLst>
              </p:cNvPr>
              <p:cNvSpPr/>
              <p:nvPr/>
            </p:nvSpPr>
            <p:spPr>
              <a:xfrm>
                <a:off x="6441120" y="1672029"/>
                <a:ext cx="30857" cy="18000"/>
              </a:xfrm>
              <a:custGeom>
                <a:avLst/>
                <a:gdLst>
                  <a:gd name="connsiteX0" fmla="*/ 31354 w 30857"/>
                  <a:gd name="connsiteY0" fmla="*/ 9206 h 18000"/>
                  <a:gd name="connsiteX1" fmla="*/ 15789 w 30857"/>
                  <a:gd name="connsiteY1" fmla="*/ 257 h 18000"/>
                  <a:gd name="connsiteX2" fmla="*/ 15789 w 30857"/>
                  <a:gd name="connsiteY2" fmla="*/ 257 h 18000"/>
                  <a:gd name="connsiteX3" fmla="*/ 257 w 30857"/>
                  <a:gd name="connsiteY3" fmla="*/ 9206 h 18000"/>
                  <a:gd name="connsiteX4" fmla="*/ 257 w 30857"/>
                  <a:gd name="connsiteY4" fmla="*/ 9206 h 18000"/>
                  <a:gd name="connsiteX5" fmla="*/ 15789 w 30857"/>
                  <a:gd name="connsiteY5" fmla="*/ 18189 h 18000"/>
                  <a:gd name="connsiteX6" fmla="*/ 31354 w 30857"/>
                  <a:gd name="connsiteY6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31354" y="9206"/>
                    </a:moveTo>
                    <a:lnTo>
                      <a:pt x="15789" y="257"/>
                    </a:lnTo>
                    <a:lnTo>
                      <a:pt x="15789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54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5" name="Freeform: Shape 344">
                <a:extLst>
                  <a:ext uri="{FF2B5EF4-FFF2-40B4-BE49-F238E27FC236}">
                    <a16:creationId xmlns:a16="http://schemas.microsoft.com/office/drawing/2014/main" id="{6520366F-A3FE-416E-B36B-57D0DDA1EB94}"/>
                  </a:ext>
                </a:extLst>
              </p:cNvPr>
              <p:cNvSpPr/>
              <p:nvPr/>
            </p:nvSpPr>
            <p:spPr>
              <a:xfrm>
                <a:off x="6422846" y="1356566"/>
                <a:ext cx="2571" cy="2571"/>
              </a:xfrm>
              <a:custGeom>
                <a:avLst/>
                <a:gdLst>
                  <a:gd name="connsiteX0" fmla="*/ 4406 w 2571"/>
                  <a:gd name="connsiteY0" fmla="*/ 2691 h 2571"/>
                  <a:gd name="connsiteX1" fmla="*/ 4406 w 2571"/>
                  <a:gd name="connsiteY1" fmla="*/ 2657 h 2571"/>
                  <a:gd name="connsiteX2" fmla="*/ 257 w 2571"/>
                  <a:gd name="connsiteY2" fmla="*/ 257 h 2571"/>
                  <a:gd name="connsiteX3" fmla="*/ 257 w 2571"/>
                  <a:gd name="connsiteY3" fmla="*/ 257 h 2571"/>
                  <a:gd name="connsiteX4" fmla="*/ 1114 w 2571"/>
                  <a:gd name="connsiteY4" fmla="*/ 4577 h 2571"/>
                  <a:gd name="connsiteX5" fmla="*/ 4406 w 2571"/>
                  <a:gd name="connsiteY5" fmla="*/ 2691 h 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71" h="2571">
                    <a:moveTo>
                      <a:pt x="4406" y="2691"/>
                    </a:moveTo>
                    <a:lnTo>
                      <a:pt x="4406" y="2657"/>
                    </a:lnTo>
                    <a:lnTo>
                      <a:pt x="257" y="257"/>
                    </a:lnTo>
                    <a:lnTo>
                      <a:pt x="257" y="257"/>
                    </a:lnTo>
                    <a:cubicBezTo>
                      <a:pt x="497" y="1697"/>
                      <a:pt x="737" y="3137"/>
                      <a:pt x="1114" y="4577"/>
                    </a:cubicBezTo>
                    <a:lnTo>
                      <a:pt x="4406" y="2691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6" name="Freeform: Shape 345">
                <a:extLst>
                  <a:ext uri="{FF2B5EF4-FFF2-40B4-BE49-F238E27FC236}">
                    <a16:creationId xmlns:a16="http://schemas.microsoft.com/office/drawing/2014/main" id="{6971A5A2-58AF-43A8-99C7-4294F64954D9}"/>
                  </a:ext>
                </a:extLst>
              </p:cNvPr>
              <p:cNvSpPr/>
              <p:nvPr/>
            </p:nvSpPr>
            <p:spPr>
              <a:xfrm>
                <a:off x="6350743" y="1457366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  <a:gd name="connsiteX5" fmla="*/ 31320 w 30857"/>
                  <a:gd name="connsiteY5" fmla="*/ 9206 h 18000"/>
                  <a:gd name="connsiteX6" fmla="*/ 23571 w 30857"/>
                  <a:gd name="connsiteY6" fmla="*/ 4714 h 18000"/>
                  <a:gd name="connsiteX7" fmla="*/ 15789 w 30857"/>
                  <a:gd name="connsiteY7" fmla="*/ 257 h 18000"/>
                  <a:gd name="connsiteX8" fmla="*/ 8040 w 30857"/>
                  <a:gd name="connsiteY8" fmla="*/ 4714 h 18000"/>
                  <a:gd name="connsiteX9" fmla="*/ 257 w 30857"/>
                  <a:gd name="connsiteY9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23571" y="4714"/>
                    </a:lnTo>
                    <a:lnTo>
                      <a:pt x="15789" y="257"/>
                    </a:lnTo>
                    <a:lnTo>
                      <a:pt x="8040" y="4714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id="{DA9C337E-95A9-4FE3-819D-BAF90333B0E3}"/>
                  </a:ext>
                </a:extLst>
              </p:cNvPr>
              <p:cNvSpPr/>
              <p:nvPr/>
            </p:nvSpPr>
            <p:spPr>
              <a:xfrm>
                <a:off x="6373337" y="1430520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EABBB3BD-11CF-4591-AC82-5B64D10768F8}"/>
                  </a:ext>
                </a:extLst>
              </p:cNvPr>
              <p:cNvSpPr/>
              <p:nvPr/>
            </p:nvSpPr>
            <p:spPr>
              <a:xfrm>
                <a:off x="6397166" y="1404566"/>
                <a:ext cx="28286" cy="15429"/>
              </a:xfrm>
              <a:custGeom>
                <a:avLst/>
                <a:gdLst>
                  <a:gd name="connsiteX0" fmla="*/ 30086 w 28285"/>
                  <a:gd name="connsiteY0" fmla="*/ 8348 h 15428"/>
                  <a:gd name="connsiteX1" fmla="*/ 30086 w 28285"/>
                  <a:gd name="connsiteY1" fmla="*/ 8348 h 15428"/>
                  <a:gd name="connsiteX2" fmla="*/ 30086 w 28285"/>
                  <a:gd name="connsiteY2" fmla="*/ 8348 h 15428"/>
                  <a:gd name="connsiteX3" fmla="*/ 22337 w 28285"/>
                  <a:gd name="connsiteY3" fmla="*/ 3857 h 15428"/>
                  <a:gd name="connsiteX4" fmla="*/ 16063 w 28285"/>
                  <a:gd name="connsiteY4" fmla="*/ 257 h 15428"/>
                  <a:gd name="connsiteX5" fmla="*/ 257 w 28285"/>
                  <a:gd name="connsiteY5" fmla="*/ 9068 h 15428"/>
                  <a:gd name="connsiteX6" fmla="*/ 14554 w 28285"/>
                  <a:gd name="connsiteY6" fmla="*/ 17297 h 15428"/>
                  <a:gd name="connsiteX7" fmla="*/ 30086 w 28285"/>
                  <a:gd name="connsiteY7" fmla="*/ 8348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285" h="15428">
                    <a:moveTo>
                      <a:pt x="30086" y="8348"/>
                    </a:moveTo>
                    <a:lnTo>
                      <a:pt x="30086" y="8348"/>
                    </a:lnTo>
                    <a:lnTo>
                      <a:pt x="30086" y="8348"/>
                    </a:lnTo>
                    <a:lnTo>
                      <a:pt x="22337" y="3857"/>
                    </a:lnTo>
                    <a:lnTo>
                      <a:pt x="16063" y="257"/>
                    </a:lnTo>
                    <a:cubicBezTo>
                      <a:pt x="10783" y="3137"/>
                      <a:pt x="5503" y="6086"/>
                      <a:pt x="257" y="9068"/>
                    </a:cubicBezTo>
                    <a:lnTo>
                      <a:pt x="14554" y="17297"/>
                    </a:lnTo>
                    <a:lnTo>
                      <a:pt x="30086" y="83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BF80F53B-B7B2-45BA-88EA-A449CA648954}"/>
                  </a:ext>
                </a:extLst>
              </p:cNvPr>
              <p:cNvSpPr/>
              <p:nvPr/>
            </p:nvSpPr>
            <p:spPr>
              <a:xfrm>
                <a:off x="6373337" y="1484177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38D44928-1385-4A14-ABA7-30A988757DEA}"/>
                  </a:ext>
                </a:extLst>
              </p:cNvPr>
              <p:cNvSpPr/>
              <p:nvPr/>
            </p:nvSpPr>
            <p:spPr>
              <a:xfrm>
                <a:off x="6395931" y="1457366"/>
                <a:ext cx="30857" cy="18000"/>
              </a:xfrm>
              <a:custGeom>
                <a:avLst/>
                <a:gdLst>
                  <a:gd name="connsiteX0" fmla="*/ 8040 w 30857"/>
                  <a:gd name="connsiteY0" fmla="*/ 4714 h 18000"/>
                  <a:gd name="connsiteX1" fmla="*/ 6292 w 30857"/>
                  <a:gd name="connsiteY1" fmla="*/ 5743 h 18000"/>
                  <a:gd name="connsiteX2" fmla="*/ 257 w 30857"/>
                  <a:gd name="connsiteY2" fmla="*/ 9206 h 18000"/>
                  <a:gd name="connsiteX3" fmla="*/ 257 w 30857"/>
                  <a:gd name="connsiteY3" fmla="*/ 9206 h 18000"/>
                  <a:gd name="connsiteX4" fmla="*/ 15789 w 30857"/>
                  <a:gd name="connsiteY4" fmla="*/ 18189 h 18000"/>
                  <a:gd name="connsiteX5" fmla="*/ 31320 w 30857"/>
                  <a:gd name="connsiteY5" fmla="*/ 9206 h 18000"/>
                  <a:gd name="connsiteX6" fmla="*/ 31320 w 30857"/>
                  <a:gd name="connsiteY6" fmla="*/ 9206 h 18000"/>
                  <a:gd name="connsiteX7" fmla="*/ 31320 w 30857"/>
                  <a:gd name="connsiteY7" fmla="*/ 9206 h 18000"/>
                  <a:gd name="connsiteX8" fmla="*/ 23571 w 30857"/>
                  <a:gd name="connsiteY8" fmla="*/ 4714 h 18000"/>
                  <a:gd name="connsiteX9" fmla="*/ 15789 w 30857"/>
                  <a:gd name="connsiteY9" fmla="*/ 257 h 18000"/>
                  <a:gd name="connsiteX10" fmla="*/ 8040 w 30857"/>
                  <a:gd name="connsiteY10" fmla="*/ 4714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857" h="18000">
                    <a:moveTo>
                      <a:pt x="8040" y="4714"/>
                    </a:moveTo>
                    <a:lnTo>
                      <a:pt x="6292" y="5743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23571" y="4714"/>
                    </a:lnTo>
                    <a:lnTo>
                      <a:pt x="15789" y="257"/>
                    </a:lnTo>
                    <a:lnTo>
                      <a:pt x="8040" y="4714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id="{E03F69CA-C8E1-4790-BFD7-4EB35B5E9786}"/>
                  </a:ext>
                </a:extLst>
              </p:cNvPr>
              <p:cNvSpPr/>
              <p:nvPr/>
            </p:nvSpPr>
            <p:spPr>
              <a:xfrm>
                <a:off x="6395931" y="1511023"/>
                <a:ext cx="23143" cy="12857"/>
              </a:xfrm>
              <a:custGeom>
                <a:avLst/>
                <a:gdLst>
                  <a:gd name="connsiteX0" fmla="*/ 8040 w 23142"/>
                  <a:gd name="connsiteY0" fmla="*/ 4748 h 12857"/>
                  <a:gd name="connsiteX1" fmla="*/ 6292 w 23142"/>
                  <a:gd name="connsiteY1" fmla="*/ 5743 h 12857"/>
                  <a:gd name="connsiteX2" fmla="*/ 257 w 23142"/>
                  <a:gd name="connsiteY2" fmla="*/ 9240 h 12857"/>
                  <a:gd name="connsiteX3" fmla="*/ 257 w 23142"/>
                  <a:gd name="connsiteY3" fmla="*/ 9240 h 12857"/>
                  <a:gd name="connsiteX4" fmla="*/ 8623 w 23142"/>
                  <a:gd name="connsiteY4" fmla="*/ 14040 h 12857"/>
                  <a:gd name="connsiteX5" fmla="*/ 24394 w 23142"/>
                  <a:gd name="connsiteY5" fmla="*/ 5194 h 12857"/>
                  <a:gd name="connsiteX6" fmla="*/ 23571 w 23142"/>
                  <a:gd name="connsiteY6" fmla="*/ 4748 h 12857"/>
                  <a:gd name="connsiteX7" fmla="*/ 15789 w 23142"/>
                  <a:gd name="connsiteY7" fmla="*/ 257 h 12857"/>
                  <a:gd name="connsiteX8" fmla="*/ 8040 w 23142"/>
                  <a:gd name="connsiteY8" fmla="*/ 4748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142" h="12857">
                    <a:moveTo>
                      <a:pt x="8040" y="4748"/>
                    </a:moveTo>
                    <a:lnTo>
                      <a:pt x="6292" y="5743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8623" y="14040"/>
                    </a:lnTo>
                    <a:cubicBezTo>
                      <a:pt x="13869" y="11091"/>
                      <a:pt x="19149" y="8177"/>
                      <a:pt x="24394" y="5194"/>
                    </a:cubicBezTo>
                    <a:lnTo>
                      <a:pt x="23571" y="4748"/>
                    </a:lnTo>
                    <a:lnTo>
                      <a:pt x="15789" y="257"/>
                    </a:lnTo>
                    <a:lnTo>
                      <a:pt x="8040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2" name="Freeform: Shape 351">
                <a:extLst>
                  <a:ext uri="{FF2B5EF4-FFF2-40B4-BE49-F238E27FC236}">
                    <a16:creationId xmlns:a16="http://schemas.microsoft.com/office/drawing/2014/main" id="{A82C0CB2-3D86-4C31-985D-32C082A2D39F}"/>
                  </a:ext>
                </a:extLst>
              </p:cNvPr>
              <p:cNvSpPr/>
              <p:nvPr/>
            </p:nvSpPr>
            <p:spPr>
              <a:xfrm>
                <a:off x="6373337" y="1594029"/>
                <a:ext cx="30857" cy="15429"/>
              </a:xfrm>
              <a:custGeom>
                <a:avLst/>
                <a:gdLst>
                  <a:gd name="connsiteX0" fmla="*/ 11434 w 30857"/>
                  <a:gd name="connsiteY0" fmla="*/ 257 h 15428"/>
                  <a:gd name="connsiteX1" fmla="*/ 257 w 30857"/>
                  <a:gd name="connsiteY1" fmla="*/ 6703 h 15428"/>
                  <a:gd name="connsiteX2" fmla="*/ 15789 w 30857"/>
                  <a:gd name="connsiteY2" fmla="*/ 15686 h 15428"/>
                  <a:gd name="connsiteX3" fmla="*/ 31320 w 30857"/>
                  <a:gd name="connsiteY3" fmla="*/ 6703 h 15428"/>
                  <a:gd name="connsiteX4" fmla="*/ 20691 w 30857"/>
                  <a:gd name="connsiteY4" fmla="*/ 566 h 15428"/>
                  <a:gd name="connsiteX5" fmla="*/ 11434 w 30857"/>
                  <a:gd name="connsiteY5" fmla="*/ 257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5428">
                    <a:moveTo>
                      <a:pt x="11434" y="257"/>
                    </a:moveTo>
                    <a:lnTo>
                      <a:pt x="257" y="6703"/>
                    </a:lnTo>
                    <a:lnTo>
                      <a:pt x="15789" y="15686"/>
                    </a:lnTo>
                    <a:lnTo>
                      <a:pt x="31320" y="6703"/>
                    </a:lnTo>
                    <a:lnTo>
                      <a:pt x="20691" y="566"/>
                    </a:lnTo>
                    <a:cubicBezTo>
                      <a:pt x="17400" y="840"/>
                      <a:pt x="14314" y="737"/>
                      <a:pt x="11434" y="257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3" name="Freeform: Shape 352">
                <a:extLst>
                  <a:ext uri="{FF2B5EF4-FFF2-40B4-BE49-F238E27FC236}">
                    <a16:creationId xmlns:a16="http://schemas.microsoft.com/office/drawing/2014/main" id="{254A7935-80F0-4B08-AD4C-7E01C3CA8837}"/>
                  </a:ext>
                </a:extLst>
              </p:cNvPr>
              <p:cNvSpPr/>
              <p:nvPr/>
            </p:nvSpPr>
            <p:spPr>
              <a:xfrm>
                <a:off x="6395931" y="1672029"/>
                <a:ext cx="30857" cy="18000"/>
              </a:xfrm>
              <a:custGeom>
                <a:avLst/>
                <a:gdLst>
                  <a:gd name="connsiteX0" fmla="*/ 10097 w 30857"/>
                  <a:gd name="connsiteY0" fmla="*/ 3548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  <a:gd name="connsiteX5" fmla="*/ 15789 w 30857"/>
                  <a:gd name="connsiteY5" fmla="*/ 257 h 18000"/>
                  <a:gd name="connsiteX6" fmla="*/ 10097 w 30857"/>
                  <a:gd name="connsiteY6" fmla="*/ 35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10097" y="3548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10097" y="35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4" name="Freeform: Shape 353">
                <a:extLst>
                  <a:ext uri="{FF2B5EF4-FFF2-40B4-BE49-F238E27FC236}">
                    <a16:creationId xmlns:a16="http://schemas.microsoft.com/office/drawing/2014/main" id="{91538DCB-E0A7-47CF-9E08-838BBB7E6AD5}"/>
                  </a:ext>
                </a:extLst>
              </p:cNvPr>
              <p:cNvSpPr/>
              <p:nvPr/>
            </p:nvSpPr>
            <p:spPr>
              <a:xfrm>
                <a:off x="6350743" y="1672029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  <a:gd name="connsiteX5" fmla="*/ 15789 w 30857"/>
                  <a:gd name="connsiteY5" fmla="*/ 257 h 18000"/>
                  <a:gd name="connsiteX6" fmla="*/ 257 w 30857"/>
                  <a:gd name="connsiteY6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5" name="Freeform: Shape 354">
                <a:extLst>
                  <a:ext uri="{FF2B5EF4-FFF2-40B4-BE49-F238E27FC236}">
                    <a16:creationId xmlns:a16="http://schemas.microsoft.com/office/drawing/2014/main" id="{F379A60A-537A-4490-9486-C4B96F416FBE}"/>
                  </a:ext>
                </a:extLst>
              </p:cNvPr>
              <p:cNvSpPr/>
              <p:nvPr/>
            </p:nvSpPr>
            <p:spPr>
              <a:xfrm>
                <a:off x="6373337" y="1645183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6" name="Freeform: Shape 355">
                <a:extLst>
                  <a:ext uri="{FF2B5EF4-FFF2-40B4-BE49-F238E27FC236}">
                    <a16:creationId xmlns:a16="http://schemas.microsoft.com/office/drawing/2014/main" id="{F91D4845-B36C-4FB8-A3F0-455B004CDC18}"/>
                  </a:ext>
                </a:extLst>
              </p:cNvPr>
              <p:cNvSpPr/>
              <p:nvPr/>
            </p:nvSpPr>
            <p:spPr>
              <a:xfrm>
                <a:off x="6395931" y="1618337"/>
                <a:ext cx="30857" cy="18000"/>
              </a:xfrm>
              <a:custGeom>
                <a:avLst/>
                <a:gdLst>
                  <a:gd name="connsiteX0" fmla="*/ 8040 w 30857"/>
                  <a:gd name="connsiteY0" fmla="*/ 4748 h 18000"/>
                  <a:gd name="connsiteX1" fmla="*/ 6292 w 30857"/>
                  <a:gd name="connsiteY1" fmla="*/ 5777 h 18000"/>
                  <a:gd name="connsiteX2" fmla="*/ 257 w 30857"/>
                  <a:gd name="connsiteY2" fmla="*/ 9240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  <a:gd name="connsiteX5" fmla="*/ 31320 w 30857"/>
                  <a:gd name="connsiteY5" fmla="*/ 9240 h 18000"/>
                  <a:gd name="connsiteX6" fmla="*/ 15789 w 30857"/>
                  <a:gd name="connsiteY6" fmla="*/ 257 h 18000"/>
                  <a:gd name="connsiteX7" fmla="*/ 8040 w 30857"/>
                  <a:gd name="connsiteY7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8040" y="4748"/>
                    </a:moveTo>
                    <a:lnTo>
                      <a:pt x="6292" y="5777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8040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7" name="Freeform: Shape 356">
                <a:extLst>
                  <a:ext uri="{FF2B5EF4-FFF2-40B4-BE49-F238E27FC236}">
                    <a16:creationId xmlns:a16="http://schemas.microsoft.com/office/drawing/2014/main" id="{F48A2653-77B0-483E-A91B-C602F8C36CA3}"/>
                  </a:ext>
                </a:extLst>
              </p:cNvPr>
              <p:cNvSpPr/>
              <p:nvPr/>
            </p:nvSpPr>
            <p:spPr>
              <a:xfrm>
                <a:off x="6395931" y="1725686"/>
                <a:ext cx="30857" cy="15429"/>
              </a:xfrm>
              <a:custGeom>
                <a:avLst/>
                <a:gdLst>
                  <a:gd name="connsiteX0" fmla="*/ 17606 w 30857"/>
                  <a:gd name="connsiteY0" fmla="*/ 17160 h 15428"/>
                  <a:gd name="connsiteX1" fmla="*/ 31320 w 30857"/>
                  <a:gd name="connsiteY1" fmla="*/ 9240 h 15428"/>
                  <a:gd name="connsiteX2" fmla="*/ 15789 w 30857"/>
                  <a:gd name="connsiteY2" fmla="*/ 257 h 15428"/>
                  <a:gd name="connsiteX3" fmla="*/ 257 w 30857"/>
                  <a:gd name="connsiteY3" fmla="*/ 9240 h 15428"/>
                  <a:gd name="connsiteX4" fmla="*/ 13800 w 30857"/>
                  <a:gd name="connsiteY4" fmla="*/ 17057 h 15428"/>
                  <a:gd name="connsiteX5" fmla="*/ 17606 w 30857"/>
                  <a:gd name="connsiteY5" fmla="*/ 17160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5428">
                    <a:moveTo>
                      <a:pt x="17606" y="17160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3800" y="17057"/>
                    </a:lnTo>
                    <a:cubicBezTo>
                      <a:pt x="15069" y="17091"/>
                      <a:pt x="16337" y="17126"/>
                      <a:pt x="17606" y="17160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8" name="Freeform: Shape 357">
                <a:extLst>
                  <a:ext uri="{FF2B5EF4-FFF2-40B4-BE49-F238E27FC236}">
                    <a16:creationId xmlns:a16="http://schemas.microsoft.com/office/drawing/2014/main" id="{9FCA1884-D63B-413C-AA4C-071DEABDAAD7}"/>
                  </a:ext>
                </a:extLst>
              </p:cNvPr>
              <p:cNvSpPr/>
              <p:nvPr/>
            </p:nvSpPr>
            <p:spPr>
              <a:xfrm>
                <a:off x="6373337" y="1698840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59" name="Freeform: Shape 358">
                <a:extLst>
                  <a:ext uri="{FF2B5EF4-FFF2-40B4-BE49-F238E27FC236}">
                    <a16:creationId xmlns:a16="http://schemas.microsoft.com/office/drawing/2014/main" id="{EA612486-62DA-4B0D-A47D-52DB5481AC29}"/>
                  </a:ext>
                </a:extLst>
              </p:cNvPr>
              <p:cNvSpPr/>
              <p:nvPr/>
            </p:nvSpPr>
            <p:spPr>
              <a:xfrm>
                <a:off x="6338914" y="1437069"/>
                <a:ext cx="20571" cy="10286"/>
              </a:xfrm>
              <a:custGeom>
                <a:avLst/>
                <a:gdLst>
                  <a:gd name="connsiteX0" fmla="*/ 20554 w 20571"/>
                  <a:gd name="connsiteY0" fmla="*/ 2657 h 10285"/>
                  <a:gd name="connsiteX1" fmla="*/ 16371 w 20571"/>
                  <a:gd name="connsiteY1" fmla="*/ 257 h 10285"/>
                  <a:gd name="connsiteX2" fmla="*/ 257 w 20571"/>
                  <a:gd name="connsiteY2" fmla="*/ 8897 h 10285"/>
                  <a:gd name="connsiteX3" fmla="*/ 5023 w 20571"/>
                  <a:gd name="connsiteY3" fmla="*/ 11640 h 10285"/>
                  <a:gd name="connsiteX4" fmla="*/ 20554 w 20571"/>
                  <a:gd name="connsiteY4" fmla="*/ 2657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71" h="10285">
                    <a:moveTo>
                      <a:pt x="20554" y="2657"/>
                    </a:moveTo>
                    <a:lnTo>
                      <a:pt x="16371" y="257"/>
                    </a:lnTo>
                    <a:cubicBezTo>
                      <a:pt x="11023" y="3171"/>
                      <a:pt x="5640" y="6051"/>
                      <a:pt x="257" y="8897"/>
                    </a:cubicBezTo>
                    <a:lnTo>
                      <a:pt x="5023" y="11640"/>
                    </a:lnTo>
                    <a:lnTo>
                      <a:pt x="20554" y="26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0" name="Freeform: Shape 359">
                <a:extLst>
                  <a:ext uri="{FF2B5EF4-FFF2-40B4-BE49-F238E27FC236}">
                    <a16:creationId xmlns:a16="http://schemas.microsoft.com/office/drawing/2014/main" id="{8692E7FE-E3CF-43E1-9406-1893C9CB71C7}"/>
                  </a:ext>
                </a:extLst>
              </p:cNvPr>
              <p:cNvSpPr/>
              <p:nvPr/>
            </p:nvSpPr>
            <p:spPr>
              <a:xfrm>
                <a:off x="6328148" y="1484177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1" name="Freeform: Shape 360">
                <a:extLst>
                  <a:ext uri="{FF2B5EF4-FFF2-40B4-BE49-F238E27FC236}">
                    <a16:creationId xmlns:a16="http://schemas.microsoft.com/office/drawing/2014/main" id="{16AC105A-BB89-4BC2-A078-E917C6FE00B2}"/>
                  </a:ext>
                </a:extLst>
              </p:cNvPr>
              <p:cNvSpPr/>
              <p:nvPr/>
            </p:nvSpPr>
            <p:spPr>
              <a:xfrm>
                <a:off x="6328148" y="1537834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223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2" name="Freeform: Shape 361">
                <a:extLst>
                  <a:ext uri="{FF2B5EF4-FFF2-40B4-BE49-F238E27FC236}">
                    <a16:creationId xmlns:a16="http://schemas.microsoft.com/office/drawing/2014/main" id="{206BAF7A-7E5B-4CF2-AED7-0818A75B22EA}"/>
                  </a:ext>
                </a:extLst>
              </p:cNvPr>
              <p:cNvSpPr/>
              <p:nvPr/>
            </p:nvSpPr>
            <p:spPr>
              <a:xfrm>
                <a:off x="6350743" y="1511023"/>
                <a:ext cx="30857" cy="18000"/>
              </a:xfrm>
              <a:custGeom>
                <a:avLst/>
                <a:gdLst>
                  <a:gd name="connsiteX0" fmla="*/ 8040 w 30857"/>
                  <a:gd name="connsiteY0" fmla="*/ 4748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257 w 30857"/>
                  <a:gd name="connsiteY3" fmla="*/ 9240 h 18000"/>
                  <a:gd name="connsiteX4" fmla="*/ 15789 w 30857"/>
                  <a:gd name="connsiteY4" fmla="*/ 18189 h 18000"/>
                  <a:gd name="connsiteX5" fmla="*/ 31320 w 30857"/>
                  <a:gd name="connsiteY5" fmla="*/ 9240 h 18000"/>
                  <a:gd name="connsiteX6" fmla="*/ 31320 w 30857"/>
                  <a:gd name="connsiteY6" fmla="*/ 9240 h 18000"/>
                  <a:gd name="connsiteX7" fmla="*/ 23571 w 30857"/>
                  <a:gd name="connsiteY7" fmla="*/ 4748 h 18000"/>
                  <a:gd name="connsiteX8" fmla="*/ 15789 w 30857"/>
                  <a:gd name="connsiteY8" fmla="*/ 257 h 18000"/>
                  <a:gd name="connsiteX9" fmla="*/ 8040 w 30857"/>
                  <a:gd name="connsiteY9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8040" y="4748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71" y="4748"/>
                    </a:lnTo>
                    <a:lnTo>
                      <a:pt x="15789" y="257"/>
                    </a:lnTo>
                    <a:lnTo>
                      <a:pt x="8040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3" name="Freeform: Shape 362">
                <a:extLst>
                  <a:ext uri="{FF2B5EF4-FFF2-40B4-BE49-F238E27FC236}">
                    <a16:creationId xmlns:a16="http://schemas.microsoft.com/office/drawing/2014/main" id="{5FCE5F98-62F3-477E-85AA-528E71A893DF}"/>
                  </a:ext>
                </a:extLst>
              </p:cNvPr>
              <p:cNvSpPr/>
              <p:nvPr/>
            </p:nvSpPr>
            <p:spPr>
              <a:xfrm>
                <a:off x="6335417" y="1594166"/>
                <a:ext cx="23143" cy="15429"/>
              </a:xfrm>
              <a:custGeom>
                <a:avLst/>
                <a:gdLst>
                  <a:gd name="connsiteX0" fmla="*/ 13114 w 23142"/>
                  <a:gd name="connsiteY0" fmla="*/ 257 h 15428"/>
                  <a:gd name="connsiteX1" fmla="*/ 257 w 23142"/>
                  <a:gd name="connsiteY1" fmla="*/ 10783 h 15428"/>
                  <a:gd name="connsiteX2" fmla="*/ 8520 w 23142"/>
                  <a:gd name="connsiteY2" fmla="*/ 15548 h 15428"/>
                  <a:gd name="connsiteX3" fmla="*/ 24052 w 23142"/>
                  <a:gd name="connsiteY3" fmla="*/ 6566 h 15428"/>
                  <a:gd name="connsiteX4" fmla="*/ 13114 w 23142"/>
                  <a:gd name="connsiteY4" fmla="*/ 257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142" h="15428">
                    <a:moveTo>
                      <a:pt x="13114" y="257"/>
                    </a:moveTo>
                    <a:cubicBezTo>
                      <a:pt x="8143" y="2794"/>
                      <a:pt x="3823" y="6394"/>
                      <a:pt x="257" y="10783"/>
                    </a:cubicBezTo>
                    <a:lnTo>
                      <a:pt x="8520" y="15548"/>
                    </a:lnTo>
                    <a:lnTo>
                      <a:pt x="24052" y="6566"/>
                    </a:lnTo>
                    <a:lnTo>
                      <a:pt x="13114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4" name="Freeform: Shape 363">
                <a:extLst>
                  <a:ext uri="{FF2B5EF4-FFF2-40B4-BE49-F238E27FC236}">
                    <a16:creationId xmlns:a16="http://schemas.microsoft.com/office/drawing/2014/main" id="{87903C31-4D53-41D9-8120-125DC42C5D91}"/>
                  </a:ext>
                </a:extLst>
              </p:cNvPr>
              <p:cNvSpPr/>
              <p:nvPr/>
            </p:nvSpPr>
            <p:spPr>
              <a:xfrm>
                <a:off x="6328148" y="1645183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31320 w 30857"/>
                  <a:gd name="connsiteY1" fmla="*/ 9240 h 18000"/>
                  <a:gd name="connsiteX2" fmla="*/ 15789 w 30857"/>
                  <a:gd name="connsiteY2" fmla="*/ 257 h 18000"/>
                  <a:gd name="connsiteX3" fmla="*/ 257 w 30857"/>
                  <a:gd name="connsiteY3" fmla="*/ 9240 h 18000"/>
                  <a:gd name="connsiteX4" fmla="*/ 15789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5" name="Freeform: Shape 364">
                <a:extLst>
                  <a:ext uri="{FF2B5EF4-FFF2-40B4-BE49-F238E27FC236}">
                    <a16:creationId xmlns:a16="http://schemas.microsoft.com/office/drawing/2014/main" id="{7D1BA037-8668-4311-9A87-EAECB0D8380B}"/>
                  </a:ext>
                </a:extLst>
              </p:cNvPr>
              <p:cNvSpPr/>
              <p:nvPr/>
            </p:nvSpPr>
            <p:spPr>
              <a:xfrm>
                <a:off x="6350743" y="1618337"/>
                <a:ext cx="30857" cy="18000"/>
              </a:xfrm>
              <a:custGeom>
                <a:avLst/>
                <a:gdLst>
                  <a:gd name="connsiteX0" fmla="*/ 8040 w 30857"/>
                  <a:gd name="connsiteY0" fmla="*/ 4748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  <a:gd name="connsiteX5" fmla="*/ 31320 w 30857"/>
                  <a:gd name="connsiteY5" fmla="*/ 9240 h 18000"/>
                  <a:gd name="connsiteX6" fmla="*/ 15789 w 30857"/>
                  <a:gd name="connsiteY6" fmla="*/ 257 h 18000"/>
                  <a:gd name="connsiteX7" fmla="*/ 8040 w 30857"/>
                  <a:gd name="connsiteY7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8040" y="4748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8040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6" name="Freeform: Shape 365">
                <a:extLst>
                  <a:ext uri="{FF2B5EF4-FFF2-40B4-BE49-F238E27FC236}">
                    <a16:creationId xmlns:a16="http://schemas.microsoft.com/office/drawing/2014/main" id="{FF3B1ED9-D231-4833-8559-3C0ED599BD4F}"/>
                  </a:ext>
                </a:extLst>
              </p:cNvPr>
              <p:cNvSpPr/>
              <p:nvPr/>
            </p:nvSpPr>
            <p:spPr>
              <a:xfrm>
                <a:off x="6350743" y="1725686"/>
                <a:ext cx="30857" cy="12857"/>
              </a:xfrm>
              <a:custGeom>
                <a:avLst/>
                <a:gdLst>
                  <a:gd name="connsiteX0" fmla="*/ 13046 w 30857"/>
                  <a:gd name="connsiteY0" fmla="*/ 13183 h 12857"/>
                  <a:gd name="connsiteX1" fmla="*/ 22543 w 30857"/>
                  <a:gd name="connsiteY1" fmla="*/ 14314 h 12857"/>
                  <a:gd name="connsiteX2" fmla="*/ 31320 w 30857"/>
                  <a:gd name="connsiteY2" fmla="*/ 9240 h 12857"/>
                  <a:gd name="connsiteX3" fmla="*/ 15789 w 30857"/>
                  <a:gd name="connsiteY3" fmla="*/ 257 h 12857"/>
                  <a:gd name="connsiteX4" fmla="*/ 257 w 30857"/>
                  <a:gd name="connsiteY4" fmla="*/ 9240 h 12857"/>
                  <a:gd name="connsiteX5" fmla="*/ 5263 w 30857"/>
                  <a:gd name="connsiteY5" fmla="*/ 12120 h 12857"/>
                  <a:gd name="connsiteX6" fmla="*/ 13046 w 30857"/>
                  <a:gd name="connsiteY6" fmla="*/ 13183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2857">
                    <a:moveTo>
                      <a:pt x="13046" y="13183"/>
                    </a:moveTo>
                    <a:cubicBezTo>
                      <a:pt x="16200" y="13629"/>
                      <a:pt x="19354" y="13937"/>
                      <a:pt x="22543" y="14314"/>
                    </a:cubicBez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5263" y="12120"/>
                    </a:lnTo>
                    <a:cubicBezTo>
                      <a:pt x="7869" y="12497"/>
                      <a:pt x="10440" y="12840"/>
                      <a:pt x="13046" y="13183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7" name="Freeform: Shape 366">
                <a:extLst>
                  <a:ext uri="{FF2B5EF4-FFF2-40B4-BE49-F238E27FC236}">
                    <a16:creationId xmlns:a16="http://schemas.microsoft.com/office/drawing/2014/main" id="{19CAEF5C-AEA0-4A4A-A20D-20BBBCBB5C97}"/>
                  </a:ext>
                </a:extLst>
              </p:cNvPr>
              <p:cNvSpPr/>
              <p:nvPr/>
            </p:nvSpPr>
            <p:spPr>
              <a:xfrm>
                <a:off x="6328148" y="1698840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8" name="Freeform: Shape 367">
                <a:extLst>
                  <a:ext uri="{FF2B5EF4-FFF2-40B4-BE49-F238E27FC236}">
                    <a16:creationId xmlns:a16="http://schemas.microsoft.com/office/drawing/2014/main" id="{344E5EE4-BEDA-402D-9A08-FF4C637E05C7}"/>
                  </a:ext>
                </a:extLst>
              </p:cNvPr>
              <p:cNvSpPr/>
              <p:nvPr/>
            </p:nvSpPr>
            <p:spPr>
              <a:xfrm>
                <a:off x="6282960" y="1484177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69" name="Freeform: Shape 368">
                <a:extLst>
                  <a:ext uri="{FF2B5EF4-FFF2-40B4-BE49-F238E27FC236}">
                    <a16:creationId xmlns:a16="http://schemas.microsoft.com/office/drawing/2014/main" id="{658FB7E8-E2E5-42BC-A4C7-8ADED88CEBB7}"/>
                  </a:ext>
                </a:extLst>
              </p:cNvPr>
              <p:cNvSpPr/>
              <p:nvPr/>
            </p:nvSpPr>
            <p:spPr>
              <a:xfrm>
                <a:off x="6305554" y="1457366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31320 w 30857"/>
                  <a:gd name="connsiteY3" fmla="*/ 9206 h 18000"/>
                  <a:gd name="connsiteX4" fmla="*/ 23571 w 30857"/>
                  <a:gd name="connsiteY4" fmla="*/ 4714 h 18000"/>
                  <a:gd name="connsiteX5" fmla="*/ 15789 w 30857"/>
                  <a:gd name="connsiteY5" fmla="*/ 257 h 18000"/>
                  <a:gd name="connsiteX6" fmla="*/ 8006 w 30857"/>
                  <a:gd name="connsiteY6" fmla="*/ 4714 h 18000"/>
                  <a:gd name="connsiteX7" fmla="*/ 257 w 30857"/>
                  <a:gd name="connsiteY7" fmla="*/ 9206 h 18000"/>
                  <a:gd name="connsiteX8" fmla="*/ 257 w 30857"/>
                  <a:gd name="connsiteY8" fmla="*/ 9206 h 18000"/>
                  <a:gd name="connsiteX9" fmla="*/ 257 w 30857"/>
                  <a:gd name="connsiteY9" fmla="*/ 9206 h 18000"/>
                  <a:gd name="connsiteX10" fmla="*/ 15789 w 30857"/>
                  <a:gd name="connsiteY10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23571" y="4714"/>
                    </a:lnTo>
                    <a:lnTo>
                      <a:pt x="15789" y="257"/>
                    </a:lnTo>
                    <a:lnTo>
                      <a:pt x="8006" y="4714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0" name="Freeform: Shape 369">
                <a:extLst>
                  <a:ext uri="{FF2B5EF4-FFF2-40B4-BE49-F238E27FC236}">
                    <a16:creationId xmlns:a16="http://schemas.microsoft.com/office/drawing/2014/main" id="{9AA3CA81-99A0-4968-B835-C2FCB40D26AE}"/>
                  </a:ext>
                </a:extLst>
              </p:cNvPr>
              <p:cNvSpPr/>
              <p:nvPr/>
            </p:nvSpPr>
            <p:spPr>
              <a:xfrm>
                <a:off x="6282960" y="1537834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223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1" name="Freeform: Shape 370">
                <a:extLst>
                  <a:ext uri="{FF2B5EF4-FFF2-40B4-BE49-F238E27FC236}">
                    <a16:creationId xmlns:a16="http://schemas.microsoft.com/office/drawing/2014/main" id="{1D095DCE-E117-44AA-BA2E-E41DCCEA90E4}"/>
                  </a:ext>
                </a:extLst>
              </p:cNvPr>
              <p:cNvSpPr/>
              <p:nvPr/>
            </p:nvSpPr>
            <p:spPr>
              <a:xfrm>
                <a:off x="6305554" y="1511023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31320 w 30857"/>
                  <a:gd name="connsiteY3" fmla="*/ 9240 h 18000"/>
                  <a:gd name="connsiteX4" fmla="*/ 23571 w 30857"/>
                  <a:gd name="connsiteY4" fmla="*/ 4748 h 18000"/>
                  <a:gd name="connsiteX5" fmla="*/ 15789 w 30857"/>
                  <a:gd name="connsiteY5" fmla="*/ 257 h 18000"/>
                  <a:gd name="connsiteX6" fmla="*/ 8006 w 30857"/>
                  <a:gd name="connsiteY6" fmla="*/ 4748 h 18000"/>
                  <a:gd name="connsiteX7" fmla="*/ 257 w 30857"/>
                  <a:gd name="connsiteY7" fmla="*/ 9240 h 18000"/>
                  <a:gd name="connsiteX8" fmla="*/ 257 w 30857"/>
                  <a:gd name="connsiteY8" fmla="*/ 9240 h 18000"/>
                  <a:gd name="connsiteX9" fmla="*/ 257 w 30857"/>
                  <a:gd name="connsiteY9" fmla="*/ 9240 h 18000"/>
                  <a:gd name="connsiteX10" fmla="*/ 15789 w 30857"/>
                  <a:gd name="connsiteY10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71" y="4748"/>
                    </a:ln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2" name="Freeform: Shape 371">
                <a:extLst>
                  <a:ext uri="{FF2B5EF4-FFF2-40B4-BE49-F238E27FC236}">
                    <a16:creationId xmlns:a16="http://schemas.microsoft.com/office/drawing/2014/main" id="{25E2E9E3-16F2-4D45-9D11-94A22D9F7269}"/>
                  </a:ext>
                </a:extLst>
              </p:cNvPr>
              <p:cNvSpPr/>
              <p:nvPr/>
            </p:nvSpPr>
            <p:spPr>
              <a:xfrm>
                <a:off x="6305554" y="1564680"/>
                <a:ext cx="20571" cy="10286"/>
              </a:xfrm>
              <a:custGeom>
                <a:avLst/>
                <a:gdLst>
                  <a:gd name="connsiteX0" fmla="*/ 4680 w 20571"/>
                  <a:gd name="connsiteY0" fmla="*/ 11777 h 10285"/>
                  <a:gd name="connsiteX1" fmla="*/ 20966 w 20571"/>
                  <a:gd name="connsiteY1" fmla="*/ 3240 h 10285"/>
                  <a:gd name="connsiteX2" fmla="*/ 15789 w 20571"/>
                  <a:gd name="connsiteY2" fmla="*/ 257 h 10285"/>
                  <a:gd name="connsiteX3" fmla="*/ 8006 w 20571"/>
                  <a:gd name="connsiteY3" fmla="*/ 4748 h 10285"/>
                  <a:gd name="connsiteX4" fmla="*/ 257 w 20571"/>
                  <a:gd name="connsiteY4" fmla="*/ 9240 h 10285"/>
                  <a:gd name="connsiteX5" fmla="*/ 257 w 20571"/>
                  <a:gd name="connsiteY5" fmla="*/ 9240 h 10285"/>
                  <a:gd name="connsiteX6" fmla="*/ 257 w 20571"/>
                  <a:gd name="connsiteY6" fmla="*/ 9240 h 10285"/>
                  <a:gd name="connsiteX7" fmla="*/ 4680 w 20571"/>
                  <a:gd name="connsiteY7" fmla="*/ 11777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71" h="10285">
                    <a:moveTo>
                      <a:pt x="4680" y="11777"/>
                    </a:moveTo>
                    <a:cubicBezTo>
                      <a:pt x="10097" y="8931"/>
                      <a:pt x="15548" y="6120"/>
                      <a:pt x="20966" y="3240"/>
                    </a:cubicBez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4680" y="1177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3" name="Freeform: Shape 372">
                <a:extLst>
                  <a:ext uri="{FF2B5EF4-FFF2-40B4-BE49-F238E27FC236}">
                    <a16:creationId xmlns:a16="http://schemas.microsoft.com/office/drawing/2014/main" id="{D9E58FF4-055F-4219-9905-880C8BE69731}"/>
                  </a:ext>
                </a:extLst>
              </p:cNvPr>
              <p:cNvSpPr/>
              <p:nvPr/>
            </p:nvSpPr>
            <p:spPr>
              <a:xfrm>
                <a:off x="6323863" y="1621457"/>
                <a:ext cx="12857" cy="12857"/>
              </a:xfrm>
              <a:custGeom>
                <a:avLst/>
                <a:gdLst>
                  <a:gd name="connsiteX0" fmla="*/ 257 w 12857"/>
                  <a:gd name="connsiteY0" fmla="*/ 13491 h 12857"/>
                  <a:gd name="connsiteX1" fmla="*/ 13011 w 12857"/>
                  <a:gd name="connsiteY1" fmla="*/ 6120 h 12857"/>
                  <a:gd name="connsiteX2" fmla="*/ 2829 w 12857"/>
                  <a:gd name="connsiteY2" fmla="*/ 257 h 12857"/>
                  <a:gd name="connsiteX3" fmla="*/ 257 w 12857"/>
                  <a:gd name="connsiteY3" fmla="*/ 13491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7" h="12857">
                    <a:moveTo>
                      <a:pt x="257" y="13491"/>
                    </a:moveTo>
                    <a:lnTo>
                      <a:pt x="13011" y="6120"/>
                    </a:lnTo>
                    <a:lnTo>
                      <a:pt x="2829" y="257"/>
                    </a:lnTo>
                    <a:cubicBezTo>
                      <a:pt x="1457" y="4509"/>
                      <a:pt x="600" y="8966"/>
                      <a:pt x="257" y="13491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4" name="Freeform: Shape 373">
                <a:extLst>
                  <a:ext uri="{FF2B5EF4-FFF2-40B4-BE49-F238E27FC236}">
                    <a16:creationId xmlns:a16="http://schemas.microsoft.com/office/drawing/2014/main" id="{09BF377F-6DE7-4EEA-81EA-7960E504C6FA}"/>
                  </a:ext>
                </a:extLst>
              </p:cNvPr>
              <p:cNvSpPr/>
              <p:nvPr/>
            </p:nvSpPr>
            <p:spPr>
              <a:xfrm>
                <a:off x="6315771" y="1725686"/>
                <a:ext cx="18000" cy="7714"/>
              </a:xfrm>
              <a:custGeom>
                <a:avLst/>
                <a:gdLst>
                  <a:gd name="connsiteX0" fmla="*/ 257 w 18000"/>
                  <a:gd name="connsiteY0" fmla="*/ 3309 h 7714"/>
                  <a:gd name="connsiteX1" fmla="*/ 20280 w 18000"/>
                  <a:gd name="connsiteY1" fmla="*/ 8760 h 7714"/>
                  <a:gd name="connsiteX2" fmla="*/ 5571 w 18000"/>
                  <a:gd name="connsiteY2" fmla="*/ 257 h 7714"/>
                  <a:gd name="connsiteX3" fmla="*/ 257 w 18000"/>
                  <a:gd name="connsiteY3" fmla="*/ 3309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00" h="7714">
                    <a:moveTo>
                      <a:pt x="257" y="3309"/>
                    </a:moveTo>
                    <a:cubicBezTo>
                      <a:pt x="6703" y="5606"/>
                      <a:pt x="13423" y="7354"/>
                      <a:pt x="20280" y="8760"/>
                    </a:cubicBezTo>
                    <a:lnTo>
                      <a:pt x="5571" y="257"/>
                    </a:lnTo>
                    <a:lnTo>
                      <a:pt x="257" y="330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5" name="Freeform: Shape 374">
                <a:extLst>
                  <a:ext uri="{FF2B5EF4-FFF2-40B4-BE49-F238E27FC236}">
                    <a16:creationId xmlns:a16="http://schemas.microsoft.com/office/drawing/2014/main" id="{61A243F5-49DF-4774-8806-3FAD17E40DF2}"/>
                  </a:ext>
                </a:extLst>
              </p:cNvPr>
              <p:cNvSpPr/>
              <p:nvPr/>
            </p:nvSpPr>
            <p:spPr>
              <a:xfrm>
                <a:off x="6283269" y="1698840"/>
                <a:ext cx="30857" cy="18000"/>
              </a:xfrm>
              <a:custGeom>
                <a:avLst/>
                <a:gdLst>
                  <a:gd name="connsiteX0" fmla="*/ 31011 w 30857"/>
                  <a:gd name="connsiteY0" fmla="*/ 9240 h 18000"/>
                  <a:gd name="connsiteX1" fmla="*/ 15480 w 30857"/>
                  <a:gd name="connsiteY1" fmla="*/ 257 h 18000"/>
                  <a:gd name="connsiteX2" fmla="*/ 257 w 30857"/>
                  <a:gd name="connsiteY2" fmla="*/ 9069 h 18000"/>
                  <a:gd name="connsiteX3" fmla="*/ 840 w 30857"/>
                  <a:gd name="connsiteY3" fmla="*/ 9754 h 18000"/>
                  <a:gd name="connsiteX4" fmla="*/ 15480 w 30857"/>
                  <a:gd name="connsiteY4" fmla="*/ 18223 h 18000"/>
                  <a:gd name="connsiteX5" fmla="*/ 31011 w 30857"/>
                  <a:gd name="connsiteY5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31011" y="9240"/>
                    </a:moveTo>
                    <a:lnTo>
                      <a:pt x="15480" y="257"/>
                    </a:lnTo>
                    <a:lnTo>
                      <a:pt x="257" y="9069"/>
                    </a:lnTo>
                    <a:cubicBezTo>
                      <a:pt x="429" y="9308"/>
                      <a:pt x="634" y="9514"/>
                      <a:pt x="840" y="9754"/>
                    </a:cubicBezTo>
                    <a:lnTo>
                      <a:pt x="15480" y="18223"/>
                    </a:lnTo>
                    <a:lnTo>
                      <a:pt x="31011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6" name="Freeform: Shape 375">
                <a:extLst>
                  <a:ext uri="{FF2B5EF4-FFF2-40B4-BE49-F238E27FC236}">
                    <a16:creationId xmlns:a16="http://schemas.microsoft.com/office/drawing/2014/main" id="{113D2FEF-8004-411A-BEF9-1E0A0D35CDD7}"/>
                  </a:ext>
                </a:extLst>
              </p:cNvPr>
              <p:cNvSpPr/>
              <p:nvPr/>
            </p:nvSpPr>
            <p:spPr>
              <a:xfrm>
                <a:off x="6305554" y="1672029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  <a:gd name="connsiteX5" fmla="*/ 257 w 30857"/>
                  <a:gd name="connsiteY5" fmla="*/ 9206 h 18000"/>
                  <a:gd name="connsiteX6" fmla="*/ 257 w 30857"/>
                  <a:gd name="connsiteY6" fmla="*/ 9206 h 18000"/>
                  <a:gd name="connsiteX7" fmla="*/ 15789 w 30857"/>
                  <a:gd name="connsiteY7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7" name="Freeform: Shape 376">
                <a:extLst>
                  <a:ext uri="{FF2B5EF4-FFF2-40B4-BE49-F238E27FC236}">
                    <a16:creationId xmlns:a16="http://schemas.microsoft.com/office/drawing/2014/main" id="{5043ADAB-221A-4D3D-B9F2-08E7BE51A069}"/>
                  </a:ext>
                </a:extLst>
              </p:cNvPr>
              <p:cNvSpPr/>
              <p:nvPr/>
            </p:nvSpPr>
            <p:spPr>
              <a:xfrm>
                <a:off x="6260366" y="1511023"/>
                <a:ext cx="30857" cy="18000"/>
              </a:xfrm>
              <a:custGeom>
                <a:avLst/>
                <a:gdLst>
                  <a:gd name="connsiteX0" fmla="*/ 23537 w 30857"/>
                  <a:gd name="connsiteY0" fmla="*/ 4748 h 18000"/>
                  <a:gd name="connsiteX1" fmla="*/ 15789 w 30857"/>
                  <a:gd name="connsiteY1" fmla="*/ 257 h 18000"/>
                  <a:gd name="connsiteX2" fmla="*/ 8006 w 30857"/>
                  <a:gd name="connsiteY2" fmla="*/ 4748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189 h 18000"/>
                  <a:gd name="connsiteX6" fmla="*/ 31320 w 30857"/>
                  <a:gd name="connsiteY6" fmla="*/ 9240 h 18000"/>
                  <a:gd name="connsiteX7" fmla="*/ 31320 w 30857"/>
                  <a:gd name="connsiteY7" fmla="*/ 9240 h 18000"/>
                  <a:gd name="connsiteX8" fmla="*/ 31320 w 30857"/>
                  <a:gd name="connsiteY8" fmla="*/ 9240 h 18000"/>
                  <a:gd name="connsiteX9" fmla="*/ 23537 w 30857"/>
                  <a:gd name="connsiteY9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23537" y="4748"/>
                    </a:move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37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8" name="Freeform: Shape 377">
                <a:extLst>
                  <a:ext uri="{FF2B5EF4-FFF2-40B4-BE49-F238E27FC236}">
                    <a16:creationId xmlns:a16="http://schemas.microsoft.com/office/drawing/2014/main" id="{C41C63A9-1F6B-4E85-B77C-46FA5CD10735}"/>
                  </a:ext>
                </a:extLst>
              </p:cNvPr>
              <p:cNvSpPr/>
              <p:nvPr/>
            </p:nvSpPr>
            <p:spPr>
              <a:xfrm>
                <a:off x="6237771" y="1484177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79" name="Freeform: Shape 378">
                <a:extLst>
                  <a:ext uri="{FF2B5EF4-FFF2-40B4-BE49-F238E27FC236}">
                    <a16:creationId xmlns:a16="http://schemas.microsoft.com/office/drawing/2014/main" id="{6250D455-9D70-4002-938B-9AEEFD2A5800}"/>
                  </a:ext>
                </a:extLst>
              </p:cNvPr>
              <p:cNvSpPr/>
              <p:nvPr/>
            </p:nvSpPr>
            <p:spPr>
              <a:xfrm>
                <a:off x="6275348" y="1473412"/>
                <a:ext cx="2571" cy="2571"/>
              </a:xfrm>
              <a:custGeom>
                <a:avLst/>
                <a:gdLst>
                  <a:gd name="connsiteX0" fmla="*/ 4063 w 2571"/>
                  <a:gd name="connsiteY0" fmla="*/ 257 h 0"/>
                  <a:gd name="connsiteX1" fmla="*/ 257 w 2571"/>
                  <a:gd name="connsiteY1" fmla="*/ 1834 h 0"/>
                  <a:gd name="connsiteX2" fmla="*/ 806 w 2571"/>
                  <a:gd name="connsiteY2" fmla="*/ 2143 h 0"/>
                  <a:gd name="connsiteX3" fmla="*/ 4063 w 2571"/>
                  <a:gd name="connsiteY3" fmla="*/ 257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71">
                    <a:moveTo>
                      <a:pt x="4063" y="257"/>
                    </a:moveTo>
                    <a:cubicBezTo>
                      <a:pt x="2794" y="771"/>
                      <a:pt x="1526" y="1286"/>
                      <a:pt x="257" y="1834"/>
                    </a:cubicBezTo>
                    <a:lnTo>
                      <a:pt x="806" y="2143"/>
                    </a:lnTo>
                    <a:lnTo>
                      <a:pt x="4063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0" name="Freeform: Shape 379">
                <a:extLst>
                  <a:ext uri="{FF2B5EF4-FFF2-40B4-BE49-F238E27FC236}">
                    <a16:creationId xmlns:a16="http://schemas.microsoft.com/office/drawing/2014/main" id="{3BB6863E-9C6D-49A5-9126-DAD4F84116EF}"/>
                  </a:ext>
                </a:extLst>
              </p:cNvPr>
              <p:cNvSpPr/>
              <p:nvPr/>
            </p:nvSpPr>
            <p:spPr>
              <a:xfrm>
                <a:off x="6260366" y="1564680"/>
                <a:ext cx="30857" cy="18000"/>
              </a:xfrm>
              <a:custGeom>
                <a:avLst/>
                <a:gdLst>
                  <a:gd name="connsiteX0" fmla="*/ 23537 w 30857"/>
                  <a:gd name="connsiteY0" fmla="*/ 4748 h 18000"/>
                  <a:gd name="connsiteX1" fmla="*/ 15789 w 30857"/>
                  <a:gd name="connsiteY1" fmla="*/ 257 h 18000"/>
                  <a:gd name="connsiteX2" fmla="*/ 8006 w 30857"/>
                  <a:gd name="connsiteY2" fmla="*/ 4748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189 h 18000"/>
                  <a:gd name="connsiteX6" fmla="*/ 31320 w 30857"/>
                  <a:gd name="connsiteY6" fmla="*/ 9240 h 18000"/>
                  <a:gd name="connsiteX7" fmla="*/ 31320 w 30857"/>
                  <a:gd name="connsiteY7" fmla="*/ 9240 h 18000"/>
                  <a:gd name="connsiteX8" fmla="*/ 31320 w 30857"/>
                  <a:gd name="connsiteY8" fmla="*/ 9240 h 18000"/>
                  <a:gd name="connsiteX9" fmla="*/ 23537 w 30857"/>
                  <a:gd name="connsiteY9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23537" y="4748"/>
                    </a:move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37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1" name="Freeform: Shape 380">
                <a:extLst>
                  <a:ext uri="{FF2B5EF4-FFF2-40B4-BE49-F238E27FC236}">
                    <a16:creationId xmlns:a16="http://schemas.microsoft.com/office/drawing/2014/main" id="{BD87F257-1495-4BFD-A895-539F74B4213F}"/>
                  </a:ext>
                </a:extLst>
              </p:cNvPr>
              <p:cNvSpPr/>
              <p:nvPr/>
            </p:nvSpPr>
            <p:spPr>
              <a:xfrm>
                <a:off x="6237771" y="1537834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223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2" name="Freeform: Shape 381">
                <a:extLst>
                  <a:ext uri="{FF2B5EF4-FFF2-40B4-BE49-F238E27FC236}">
                    <a16:creationId xmlns:a16="http://schemas.microsoft.com/office/drawing/2014/main" id="{A85277C0-B698-46AD-A359-FD1293D09E0A}"/>
                  </a:ext>
                </a:extLst>
              </p:cNvPr>
              <p:cNvSpPr/>
              <p:nvPr/>
            </p:nvSpPr>
            <p:spPr>
              <a:xfrm>
                <a:off x="6237771" y="1591526"/>
                <a:ext cx="28286" cy="15429"/>
              </a:xfrm>
              <a:custGeom>
                <a:avLst/>
                <a:gdLst>
                  <a:gd name="connsiteX0" fmla="*/ 257 w 28285"/>
                  <a:gd name="connsiteY0" fmla="*/ 9206 h 15428"/>
                  <a:gd name="connsiteX1" fmla="*/ 11914 w 28285"/>
                  <a:gd name="connsiteY1" fmla="*/ 15960 h 15428"/>
                  <a:gd name="connsiteX2" fmla="*/ 28509 w 28285"/>
                  <a:gd name="connsiteY2" fmla="*/ 7594 h 15428"/>
                  <a:gd name="connsiteX3" fmla="*/ 15789 w 28285"/>
                  <a:gd name="connsiteY3" fmla="*/ 257 h 15428"/>
                  <a:gd name="connsiteX4" fmla="*/ 257 w 28285"/>
                  <a:gd name="connsiteY4" fmla="*/ 9206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285" h="15428">
                    <a:moveTo>
                      <a:pt x="257" y="9206"/>
                    </a:moveTo>
                    <a:lnTo>
                      <a:pt x="11914" y="15960"/>
                    </a:lnTo>
                    <a:cubicBezTo>
                      <a:pt x="17434" y="13183"/>
                      <a:pt x="22954" y="10371"/>
                      <a:pt x="28509" y="7594"/>
                    </a:cubicBez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3" name="Freeform: Shape 382">
                <a:extLst>
                  <a:ext uri="{FF2B5EF4-FFF2-40B4-BE49-F238E27FC236}">
                    <a16:creationId xmlns:a16="http://schemas.microsoft.com/office/drawing/2014/main" id="{A72B3C9A-201E-4FEB-96CB-D4FFFB2F81B9}"/>
                  </a:ext>
                </a:extLst>
              </p:cNvPr>
              <p:cNvSpPr/>
              <p:nvPr/>
            </p:nvSpPr>
            <p:spPr>
              <a:xfrm>
                <a:off x="6274011" y="1674395"/>
                <a:ext cx="15429" cy="15429"/>
              </a:xfrm>
              <a:custGeom>
                <a:avLst/>
                <a:gdLst>
                  <a:gd name="connsiteX0" fmla="*/ 2143 w 15428"/>
                  <a:gd name="connsiteY0" fmla="*/ 15823 h 15428"/>
                  <a:gd name="connsiteX1" fmla="*/ 17674 w 15428"/>
                  <a:gd name="connsiteY1" fmla="*/ 6840 h 15428"/>
                  <a:gd name="connsiteX2" fmla="*/ 6257 w 15428"/>
                  <a:gd name="connsiteY2" fmla="*/ 257 h 15428"/>
                  <a:gd name="connsiteX3" fmla="*/ 257 w 15428"/>
                  <a:gd name="connsiteY3" fmla="*/ 14725 h 15428"/>
                  <a:gd name="connsiteX4" fmla="*/ 2143 w 15428"/>
                  <a:gd name="connsiteY4" fmla="*/ 15823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28" h="15428">
                    <a:moveTo>
                      <a:pt x="2143" y="15823"/>
                    </a:moveTo>
                    <a:lnTo>
                      <a:pt x="17674" y="6840"/>
                    </a:lnTo>
                    <a:lnTo>
                      <a:pt x="6257" y="257"/>
                    </a:lnTo>
                    <a:cubicBezTo>
                      <a:pt x="2554" y="4268"/>
                      <a:pt x="326" y="9411"/>
                      <a:pt x="257" y="14725"/>
                    </a:cubicBezTo>
                    <a:lnTo>
                      <a:pt x="2143" y="158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0C7CB272-C724-4781-AA8F-88B60A113525}"/>
                  </a:ext>
                </a:extLst>
              </p:cNvPr>
              <p:cNvSpPr/>
              <p:nvPr/>
            </p:nvSpPr>
            <p:spPr>
              <a:xfrm>
                <a:off x="6192583" y="1537834"/>
                <a:ext cx="30857" cy="18000"/>
              </a:xfrm>
              <a:custGeom>
                <a:avLst/>
                <a:gdLst>
                  <a:gd name="connsiteX0" fmla="*/ 15789 w 30857"/>
                  <a:gd name="connsiteY0" fmla="*/ 18223 h 18000"/>
                  <a:gd name="connsiteX1" fmla="*/ 31320 w 30857"/>
                  <a:gd name="connsiteY1" fmla="*/ 9240 h 18000"/>
                  <a:gd name="connsiteX2" fmla="*/ 15789 w 30857"/>
                  <a:gd name="connsiteY2" fmla="*/ 257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223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5" name="Freeform: Shape 384">
                <a:extLst>
                  <a:ext uri="{FF2B5EF4-FFF2-40B4-BE49-F238E27FC236}">
                    <a16:creationId xmlns:a16="http://schemas.microsoft.com/office/drawing/2014/main" id="{B8312058-46F0-41F2-BEFB-40AF8B4AD8FA}"/>
                  </a:ext>
                </a:extLst>
              </p:cNvPr>
              <p:cNvSpPr/>
              <p:nvPr/>
            </p:nvSpPr>
            <p:spPr>
              <a:xfrm>
                <a:off x="6215177" y="151102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31320 w 30857"/>
                  <a:gd name="connsiteY1" fmla="*/ 9240 h 18000"/>
                  <a:gd name="connsiteX2" fmla="*/ 31320 w 30857"/>
                  <a:gd name="connsiteY2" fmla="*/ 9240 h 18000"/>
                  <a:gd name="connsiteX3" fmla="*/ 23537 w 30857"/>
                  <a:gd name="connsiteY3" fmla="*/ 4748 h 18000"/>
                  <a:gd name="connsiteX4" fmla="*/ 15789 w 30857"/>
                  <a:gd name="connsiteY4" fmla="*/ 257 h 18000"/>
                  <a:gd name="connsiteX5" fmla="*/ 8006 w 30857"/>
                  <a:gd name="connsiteY5" fmla="*/ 4748 h 18000"/>
                  <a:gd name="connsiteX6" fmla="*/ 257 w 30857"/>
                  <a:gd name="connsiteY6" fmla="*/ 9240 h 18000"/>
                  <a:gd name="connsiteX7" fmla="*/ 257 w 30857"/>
                  <a:gd name="connsiteY7" fmla="*/ 9240 h 18000"/>
                  <a:gd name="connsiteX8" fmla="*/ 15789 w 30857"/>
                  <a:gd name="connsiteY8" fmla="*/ 18189 h 18000"/>
                  <a:gd name="connsiteX9" fmla="*/ 31320 w 30857"/>
                  <a:gd name="connsiteY9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37" y="4748"/>
                    </a:ln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6" name="Freeform: Shape 385">
                <a:extLst>
                  <a:ext uri="{FF2B5EF4-FFF2-40B4-BE49-F238E27FC236}">
                    <a16:creationId xmlns:a16="http://schemas.microsoft.com/office/drawing/2014/main" id="{58F3CF8E-2CDC-46E3-A4AB-EAE83428BCD5}"/>
                  </a:ext>
                </a:extLst>
              </p:cNvPr>
              <p:cNvSpPr/>
              <p:nvPr/>
            </p:nvSpPr>
            <p:spPr>
              <a:xfrm>
                <a:off x="6192583" y="1591526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7" name="Freeform: Shape 386">
                <a:extLst>
                  <a:ext uri="{FF2B5EF4-FFF2-40B4-BE49-F238E27FC236}">
                    <a16:creationId xmlns:a16="http://schemas.microsoft.com/office/drawing/2014/main" id="{0EA1ACEB-2D86-4416-B8A9-D679A665E26B}"/>
                  </a:ext>
                </a:extLst>
              </p:cNvPr>
              <p:cNvSpPr/>
              <p:nvPr/>
            </p:nvSpPr>
            <p:spPr>
              <a:xfrm>
                <a:off x="6215177" y="1564680"/>
                <a:ext cx="30857" cy="18000"/>
              </a:xfrm>
              <a:custGeom>
                <a:avLst/>
                <a:gdLst>
                  <a:gd name="connsiteX0" fmla="*/ 8006 w 30857"/>
                  <a:gd name="connsiteY0" fmla="*/ 4748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  <a:gd name="connsiteX5" fmla="*/ 31320 w 30857"/>
                  <a:gd name="connsiteY5" fmla="*/ 9240 h 18000"/>
                  <a:gd name="connsiteX6" fmla="*/ 31320 w 30857"/>
                  <a:gd name="connsiteY6" fmla="*/ 9240 h 18000"/>
                  <a:gd name="connsiteX7" fmla="*/ 23537 w 30857"/>
                  <a:gd name="connsiteY7" fmla="*/ 4748 h 18000"/>
                  <a:gd name="connsiteX8" fmla="*/ 15789 w 30857"/>
                  <a:gd name="connsiteY8" fmla="*/ 257 h 18000"/>
                  <a:gd name="connsiteX9" fmla="*/ 8006 w 30857"/>
                  <a:gd name="connsiteY9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8006" y="4748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37" y="4748"/>
                    </a:lnTo>
                    <a:lnTo>
                      <a:pt x="15789" y="257"/>
                    </a:lnTo>
                    <a:lnTo>
                      <a:pt x="8006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8" name="Freeform: Shape 387">
                <a:extLst>
                  <a:ext uri="{FF2B5EF4-FFF2-40B4-BE49-F238E27FC236}">
                    <a16:creationId xmlns:a16="http://schemas.microsoft.com/office/drawing/2014/main" id="{A8236654-5156-4BDF-BD2A-B120C8F97D90}"/>
                  </a:ext>
                </a:extLst>
              </p:cNvPr>
              <p:cNvSpPr/>
              <p:nvPr/>
            </p:nvSpPr>
            <p:spPr>
              <a:xfrm>
                <a:off x="6147360" y="1537834"/>
                <a:ext cx="30857" cy="18000"/>
              </a:xfrm>
              <a:custGeom>
                <a:avLst/>
                <a:gdLst>
                  <a:gd name="connsiteX0" fmla="*/ 31354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54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54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54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89" name="Freeform: Shape 388">
                <a:extLst>
                  <a:ext uri="{FF2B5EF4-FFF2-40B4-BE49-F238E27FC236}">
                    <a16:creationId xmlns:a16="http://schemas.microsoft.com/office/drawing/2014/main" id="{A11ADAD8-041A-44B8-BDAA-591BD775E674}"/>
                  </a:ext>
                </a:extLst>
              </p:cNvPr>
              <p:cNvSpPr/>
              <p:nvPr/>
            </p:nvSpPr>
            <p:spPr>
              <a:xfrm>
                <a:off x="6169954" y="1511572"/>
                <a:ext cx="30857" cy="15429"/>
              </a:xfrm>
              <a:custGeom>
                <a:avLst/>
                <a:gdLst>
                  <a:gd name="connsiteX0" fmla="*/ 15823 w 30857"/>
                  <a:gd name="connsiteY0" fmla="*/ 17640 h 15428"/>
                  <a:gd name="connsiteX1" fmla="*/ 31354 w 30857"/>
                  <a:gd name="connsiteY1" fmla="*/ 8691 h 15428"/>
                  <a:gd name="connsiteX2" fmla="*/ 31354 w 30857"/>
                  <a:gd name="connsiteY2" fmla="*/ 8691 h 15428"/>
                  <a:gd name="connsiteX3" fmla="*/ 31354 w 30857"/>
                  <a:gd name="connsiteY3" fmla="*/ 8691 h 15428"/>
                  <a:gd name="connsiteX4" fmla="*/ 23571 w 30857"/>
                  <a:gd name="connsiteY4" fmla="*/ 4200 h 15428"/>
                  <a:gd name="connsiteX5" fmla="*/ 16748 w 30857"/>
                  <a:gd name="connsiteY5" fmla="*/ 257 h 15428"/>
                  <a:gd name="connsiteX6" fmla="*/ 8657 w 30857"/>
                  <a:gd name="connsiteY6" fmla="*/ 3823 h 15428"/>
                  <a:gd name="connsiteX7" fmla="*/ 8040 w 30857"/>
                  <a:gd name="connsiteY7" fmla="*/ 4200 h 15428"/>
                  <a:gd name="connsiteX8" fmla="*/ 257 w 30857"/>
                  <a:gd name="connsiteY8" fmla="*/ 8691 h 15428"/>
                  <a:gd name="connsiteX9" fmla="*/ 257 w 30857"/>
                  <a:gd name="connsiteY9" fmla="*/ 8691 h 15428"/>
                  <a:gd name="connsiteX10" fmla="*/ 257 w 30857"/>
                  <a:gd name="connsiteY10" fmla="*/ 8691 h 15428"/>
                  <a:gd name="connsiteX11" fmla="*/ 15823 w 30857"/>
                  <a:gd name="connsiteY11" fmla="*/ 17640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857" h="15428">
                    <a:moveTo>
                      <a:pt x="15823" y="17640"/>
                    </a:moveTo>
                    <a:lnTo>
                      <a:pt x="31354" y="8691"/>
                    </a:lnTo>
                    <a:lnTo>
                      <a:pt x="31354" y="8691"/>
                    </a:lnTo>
                    <a:lnTo>
                      <a:pt x="31354" y="8691"/>
                    </a:lnTo>
                    <a:lnTo>
                      <a:pt x="23571" y="4200"/>
                    </a:lnTo>
                    <a:lnTo>
                      <a:pt x="16748" y="257"/>
                    </a:lnTo>
                    <a:cubicBezTo>
                      <a:pt x="14040" y="1423"/>
                      <a:pt x="11366" y="2623"/>
                      <a:pt x="8657" y="3823"/>
                    </a:cubicBezTo>
                    <a:lnTo>
                      <a:pt x="8040" y="4200"/>
                    </a:lnTo>
                    <a:lnTo>
                      <a:pt x="257" y="8691"/>
                    </a:lnTo>
                    <a:lnTo>
                      <a:pt x="257" y="8691"/>
                    </a:lnTo>
                    <a:lnTo>
                      <a:pt x="257" y="8691"/>
                    </a:lnTo>
                    <a:lnTo>
                      <a:pt x="15823" y="176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0" name="Freeform: Shape 389">
                <a:extLst>
                  <a:ext uri="{FF2B5EF4-FFF2-40B4-BE49-F238E27FC236}">
                    <a16:creationId xmlns:a16="http://schemas.microsoft.com/office/drawing/2014/main" id="{8DCECAA4-FF51-4466-A643-9A99795F2F71}"/>
                  </a:ext>
                </a:extLst>
              </p:cNvPr>
              <p:cNvSpPr/>
              <p:nvPr/>
            </p:nvSpPr>
            <p:spPr>
              <a:xfrm>
                <a:off x="6147360" y="1591526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54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54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1" name="Freeform: Shape 390">
                <a:extLst>
                  <a:ext uri="{FF2B5EF4-FFF2-40B4-BE49-F238E27FC236}">
                    <a16:creationId xmlns:a16="http://schemas.microsoft.com/office/drawing/2014/main" id="{0E00AA70-ADB9-4C85-9281-0B528DC9982A}"/>
                  </a:ext>
                </a:extLst>
              </p:cNvPr>
              <p:cNvSpPr/>
              <p:nvPr/>
            </p:nvSpPr>
            <p:spPr>
              <a:xfrm>
                <a:off x="6169954" y="1564680"/>
                <a:ext cx="30857" cy="18000"/>
              </a:xfrm>
              <a:custGeom>
                <a:avLst/>
                <a:gdLst>
                  <a:gd name="connsiteX0" fmla="*/ 31354 w 30857"/>
                  <a:gd name="connsiteY0" fmla="*/ 9240 h 18000"/>
                  <a:gd name="connsiteX1" fmla="*/ 31354 w 30857"/>
                  <a:gd name="connsiteY1" fmla="*/ 9240 h 18000"/>
                  <a:gd name="connsiteX2" fmla="*/ 31354 w 30857"/>
                  <a:gd name="connsiteY2" fmla="*/ 9240 h 18000"/>
                  <a:gd name="connsiteX3" fmla="*/ 23571 w 30857"/>
                  <a:gd name="connsiteY3" fmla="*/ 4748 h 18000"/>
                  <a:gd name="connsiteX4" fmla="*/ 15823 w 30857"/>
                  <a:gd name="connsiteY4" fmla="*/ 257 h 18000"/>
                  <a:gd name="connsiteX5" fmla="*/ 8040 w 30857"/>
                  <a:gd name="connsiteY5" fmla="*/ 4748 h 18000"/>
                  <a:gd name="connsiteX6" fmla="*/ 257 w 30857"/>
                  <a:gd name="connsiteY6" fmla="*/ 9240 h 18000"/>
                  <a:gd name="connsiteX7" fmla="*/ 257 w 30857"/>
                  <a:gd name="connsiteY7" fmla="*/ 9240 h 18000"/>
                  <a:gd name="connsiteX8" fmla="*/ 257 w 30857"/>
                  <a:gd name="connsiteY8" fmla="*/ 9240 h 18000"/>
                  <a:gd name="connsiteX9" fmla="*/ 15823 w 30857"/>
                  <a:gd name="connsiteY9" fmla="*/ 18189 h 18000"/>
                  <a:gd name="connsiteX10" fmla="*/ 31354 w 30857"/>
                  <a:gd name="connsiteY10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857" h="18000">
                    <a:moveTo>
                      <a:pt x="31354" y="9240"/>
                    </a:moveTo>
                    <a:lnTo>
                      <a:pt x="31354" y="9240"/>
                    </a:lnTo>
                    <a:lnTo>
                      <a:pt x="31354" y="9240"/>
                    </a:lnTo>
                    <a:lnTo>
                      <a:pt x="23571" y="4748"/>
                    </a:lnTo>
                    <a:lnTo>
                      <a:pt x="15823" y="257"/>
                    </a:ln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823" y="18189"/>
                    </a:lnTo>
                    <a:lnTo>
                      <a:pt x="31354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2" name="Freeform: Shape 391">
                <a:extLst>
                  <a:ext uri="{FF2B5EF4-FFF2-40B4-BE49-F238E27FC236}">
                    <a16:creationId xmlns:a16="http://schemas.microsoft.com/office/drawing/2014/main" id="{5501C565-103F-4663-AE65-9142186A7DAE}"/>
                  </a:ext>
                </a:extLst>
              </p:cNvPr>
              <p:cNvSpPr/>
              <p:nvPr/>
            </p:nvSpPr>
            <p:spPr>
              <a:xfrm>
                <a:off x="6147360" y="1645183"/>
                <a:ext cx="18000" cy="10286"/>
              </a:xfrm>
              <a:custGeom>
                <a:avLst/>
                <a:gdLst>
                  <a:gd name="connsiteX0" fmla="*/ 257 w 18000"/>
                  <a:gd name="connsiteY0" fmla="*/ 9240 h 10285"/>
                  <a:gd name="connsiteX1" fmla="*/ 2177 w 18000"/>
                  <a:gd name="connsiteY1" fmla="*/ 10337 h 10285"/>
                  <a:gd name="connsiteX2" fmla="*/ 19320 w 18000"/>
                  <a:gd name="connsiteY2" fmla="*/ 2280 h 10285"/>
                  <a:gd name="connsiteX3" fmla="*/ 15789 w 18000"/>
                  <a:gd name="connsiteY3" fmla="*/ 257 h 10285"/>
                  <a:gd name="connsiteX4" fmla="*/ 257 w 18000"/>
                  <a:gd name="connsiteY4" fmla="*/ 9240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00" h="10285">
                    <a:moveTo>
                      <a:pt x="257" y="9240"/>
                    </a:moveTo>
                    <a:lnTo>
                      <a:pt x="2177" y="10337"/>
                    </a:lnTo>
                    <a:cubicBezTo>
                      <a:pt x="7903" y="7697"/>
                      <a:pt x="13594" y="4954"/>
                      <a:pt x="19320" y="2280"/>
                    </a:cubicBez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64BD9964-6B03-41C6-A97C-1095099263F5}"/>
                  </a:ext>
                </a:extLst>
              </p:cNvPr>
              <p:cNvSpPr/>
              <p:nvPr/>
            </p:nvSpPr>
            <p:spPr>
              <a:xfrm>
                <a:off x="6169954" y="1618337"/>
                <a:ext cx="30857" cy="18000"/>
              </a:xfrm>
              <a:custGeom>
                <a:avLst/>
                <a:gdLst>
                  <a:gd name="connsiteX0" fmla="*/ 15823 w 30857"/>
                  <a:gd name="connsiteY0" fmla="*/ 18223 h 18000"/>
                  <a:gd name="connsiteX1" fmla="*/ 31354 w 30857"/>
                  <a:gd name="connsiteY1" fmla="*/ 9240 h 18000"/>
                  <a:gd name="connsiteX2" fmla="*/ 15823 w 30857"/>
                  <a:gd name="connsiteY2" fmla="*/ 257 h 18000"/>
                  <a:gd name="connsiteX3" fmla="*/ 8040 w 30857"/>
                  <a:gd name="connsiteY3" fmla="*/ 4748 h 18000"/>
                  <a:gd name="connsiteX4" fmla="*/ 257 w 30857"/>
                  <a:gd name="connsiteY4" fmla="*/ 9240 h 18000"/>
                  <a:gd name="connsiteX5" fmla="*/ 257 w 30857"/>
                  <a:gd name="connsiteY5" fmla="*/ 9240 h 18000"/>
                  <a:gd name="connsiteX6" fmla="*/ 257 w 30857"/>
                  <a:gd name="connsiteY6" fmla="*/ 9240 h 18000"/>
                  <a:gd name="connsiteX7" fmla="*/ 15823 w 30857"/>
                  <a:gd name="connsiteY7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823" y="18223"/>
                    </a:moveTo>
                    <a:lnTo>
                      <a:pt x="31354" y="9240"/>
                    </a:lnTo>
                    <a:lnTo>
                      <a:pt x="15823" y="257"/>
                    </a:ln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823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4" name="Freeform: Shape 393">
                <a:extLst>
                  <a:ext uri="{FF2B5EF4-FFF2-40B4-BE49-F238E27FC236}">
                    <a16:creationId xmlns:a16="http://schemas.microsoft.com/office/drawing/2014/main" id="{8193F28A-2980-416D-8771-6D2C2A829A13}"/>
                  </a:ext>
                </a:extLst>
              </p:cNvPr>
              <p:cNvSpPr/>
              <p:nvPr/>
            </p:nvSpPr>
            <p:spPr>
              <a:xfrm>
                <a:off x="6124766" y="1564680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54 w 30857"/>
                  <a:gd name="connsiteY4" fmla="*/ 9240 h 18000"/>
                  <a:gd name="connsiteX5" fmla="*/ 31354 w 30857"/>
                  <a:gd name="connsiteY5" fmla="*/ 9240 h 18000"/>
                  <a:gd name="connsiteX6" fmla="*/ 23571 w 30857"/>
                  <a:gd name="connsiteY6" fmla="*/ 4748 h 18000"/>
                  <a:gd name="connsiteX7" fmla="*/ 15789 w 30857"/>
                  <a:gd name="connsiteY7" fmla="*/ 257 h 18000"/>
                  <a:gd name="connsiteX8" fmla="*/ 8040 w 30857"/>
                  <a:gd name="connsiteY8" fmla="*/ 4748 h 18000"/>
                  <a:gd name="connsiteX9" fmla="*/ 257 w 30857"/>
                  <a:gd name="connsiteY9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54" y="9240"/>
                    </a:lnTo>
                    <a:lnTo>
                      <a:pt x="31354" y="9240"/>
                    </a:lnTo>
                    <a:lnTo>
                      <a:pt x="23571" y="4748"/>
                    </a:lnTo>
                    <a:lnTo>
                      <a:pt x="15789" y="257"/>
                    </a:lnTo>
                    <a:lnTo>
                      <a:pt x="8040" y="4748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5" name="Freeform: Shape 394">
                <a:extLst>
                  <a:ext uri="{FF2B5EF4-FFF2-40B4-BE49-F238E27FC236}">
                    <a16:creationId xmlns:a16="http://schemas.microsoft.com/office/drawing/2014/main" id="{D622A41C-69BF-477A-A77D-250EEDB179A6}"/>
                  </a:ext>
                </a:extLst>
              </p:cNvPr>
              <p:cNvSpPr/>
              <p:nvPr/>
            </p:nvSpPr>
            <p:spPr>
              <a:xfrm>
                <a:off x="6106663" y="1541057"/>
                <a:ext cx="25714" cy="12857"/>
              </a:xfrm>
              <a:custGeom>
                <a:avLst/>
                <a:gdLst>
                  <a:gd name="connsiteX0" fmla="*/ 26829 w 25714"/>
                  <a:gd name="connsiteY0" fmla="*/ 6017 h 12857"/>
                  <a:gd name="connsiteX1" fmla="*/ 16852 w 25714"/>
                  <a:gd name="connsiteY1" fmla="*/ 257 h 12857"/>
                  <a:gd name="connsiteX2" fmla="*/ 257 w 25714"/>
                  <a:gd name="connsiteY2" fmla="*/ 8589 h 12857"/>
                  <a:gd name="connsiteX3" fmla="*/ 11297 w 25714"/>
                  <a:gd name="connsiteY3" fmla="*/ 15000 h 12857"/>
                  <a:gd name="connsiteX4" fmla="*/ 26829 w 25714"/>
                  <a:gd name="connsiteY4" fmla="*/ 6017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714" h="12857">
                    <a:moveTo>
                      <a:pt x="26829" y="6017"/>
                    </a:moveTo>
                    <a:lnTo>
                      <a:pt x="16852" y="257"/>
                    </a:lnTo>
                    <a:cubicBezTo>
                      <a:pt x="11297" y="3034"/>
                      <a:pt x="5777" y="5777"/>
                      <a:pt x="257" y="8589"/>
                    </a:cubicBezTo>
                    <a:lnTo>
                      <a:pt x="11297" y="15000"/>
                    </a:lnTo>
                    <a:lnTo>
                      <a:pt x="26829" y="601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6" name="Freeform: Shape 395">
                <a:extLst>
                  <a:ext uri="{FF2B5EF4-FFF2-40B4-BE49-F238E27FC236}">
                    <a16:creationId xmlns:a16="http://schemas.microsoft.com/office/drawing/2014/main" id="{951C2667-9075-42E1-B3C1-5FC7B472D959}"/>
                  </a:ext>
                </a:extLst>
              </p:cNvPr>
              <p:cNvSpPr/>
              <p:nvPr/>
            </p:nvSpPr>
            <p:spPr>
              <a:xfrm>
                <a:off x="6102171" y="1591526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7" name="Freeform: Shape 396">
                <a:extLst>
                  <a:ext uri="{FF2B5EF4-FFF2-40B4-BE49-F238E27FC236}">
                    <a16:creationId xmlns:a16="http://schemas.microsoft.com/office/drawing/2014/main" id="{3D5DF77A-6AD8-4761-81E3-14A922516D39}"/>
                  </a:ext>
                </a:extLst>
              </p:cNvPr>
              <p:cNvSpPr/>
              <p:nvPr/>
            </p:nvSpPr>
            <p:spPr>
              <a:xfrm>
                <a:off x="6102171" y="1645183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D8004855-5781-4207-90D3-A2C570F5C1B6}"/>
                  </a:ext>
                </a:extLst>
              </p:cNvPr>
              <p:cNvSpPr/>
              <p:nvPr/>
            </p:nvSpPr>
            <p:spPr>
              <a:xfrm>
                <a:off x="6124766" y="1618337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8040 w 30857"/>
                  <a:gd name="connsiteY1" fmla="*/ 4748 h 18000"/>
                  <a:gd name="connsiteX2" fmla="*/ 257 w 30857"/>
                  <a:gd name="connsiteY2" fmla="*/ 9240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223 h 18000"/>
                  <a:gd name="connsiteX6" fmla="*/ 31354 w 30857"/>
                  <a:gd name="connsiteY6" fmla="*/ 9240 h 18000"/>
                  <a:gd name="connsiteX7" fmla="*/ 15789 w 30857"/>
                  <a:gd name="connsiteY7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54" y="9240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399" name="Freeform: Shape 398">
                <a:extLst>
                  <a:ext uri="{FF2B5EF4-FFF2-40B4-BE49-F238E27FC236}">
                    <a16:creationId xmlns:a16="http://schemas.microsoft.com/office/drawing/2014/main" id="{ECC221FB-177D-426E-B86F-F8361361A591}"/>
                  </a:ext>
                </a:extLst>
              </p:cNvPr>
              <p:cNvSpPr/>
              <p:nvPr/>
            </p:nvSpPr>
            <p:spPr>
              <a:xfrm>
                <a:off x="6056986" y="1591526"/>
                <a:ext cx="30857" cy="18000"/>
              </a:xfrm>
              <a:custGeom>
                <a:avLst/>
                <a:gdLst>
                  <a:gd name="connsiteX0" fmla="*/ 15792 w 30857"/>
                  <a:gd name="connsiteY0" fmla="*/ 18189 h 18000"/>
                  <a:gd name="connsiteX1" fmla="*/ 31327 w 30857"/>
                  <a:gd name="connsiteY1" fmla="*/ 9206 h 18000"/>
                  <a:gd name="connsiteX2" fmla="*/ 15792 w 30857"/>
                  <a:gd name="connsiteY2" fmla="*/ 257 h 18000"/>
                  <a:gd name="connsiteX3" fmla="*/ 257 w 30857"/>
                  <a:gd name="connsiteY3" fmla="*/ 9206 h 18000"/>
                  <a:gd name="connsiteX4" fmla="*/ 15792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2" y="18189"/>
                    </a:moveTo>
                    <a:lnTo>
                      <a:pt x="31327" y="9206"/>
                    </a:lnTo>
                    <a:lnTo>
                      <a:pt x="15792" y="257"/>
                    </a:lnTo>
                    <a:lnTo>
                      <a:pt x="257" y="9206"/>
                    </a:lnTo>
                    <a:lnTo>
                      <a:pt x="15792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0" name="Freeform: Shape 399">
                <a:extLst>
                  <a:ext uri="{FF2B5EF4-FFF2-40B4-BE49-F238E27FC236}">
                    <a16:creationId xmlns:a16="http://schemas.microsoft.com/office/drawing/2014/main" id="{95864713-6EB1-433E-8C8E-F0AFEC3B4B30}"/>
                  </a:ext>
                </a:extLst>
              </p:cNvPr>
              <p:cNvSpPr/>
              <p:nvPr/>
            </p:nvSpPr>
            <p:spPr>
              <a:xfrm>
                <a:off x="6079584" y="1564680"/>
                <a:ext cx="30857" cy="18000"/>
              </a:xfrm>
              <a:custGeom>
                <a:avLst/>
                <a:gdLst>
                  <a:gd name="connsiteX0" fmla="*/ 31313 w 30857"/>
                  <a:gd name="connsiteY0" fmla="*/ 9240 h 18000"/>
                  <a:gd name="connsiteX1" fmla="*/ 31313 w 30857"/>
                  <a:gd name="connsiteY1" fmla="*/ 9240 h 18000"/>
                  <a:gd name="connsiteX2" fmla="*/ 23564 w 30857"/>
                  <a:gd name="connsiteY2" fmla="*/ 4748 h 18000"/>
                  <a:gd name="connsiteX3" fmla="*/ 15789 w 30857"/>
                  <a:gd name="connsiteY3" fmla="*/ 257 h 18000"/>
                  <a:gd name="connsiteX4" fmla="*/ 8023 w 30857"/>
                  <a:gd name="connsiteY4" fmla="*/ 4748 h 18000"/>
                  <a:gd name="connsiteX5" fmla="*/ 257 w 30857"/>
                  <a:gd name="connsiteY5" fmla="*/ 9240 h 18000"/>
                  <a:gd name="connsiteX6" fmla="*/ 257 w 30857"/>
                  <a:gd name="connsiteY6" fmla="*/ 9240 h 18000"/>
                  <a:gd name="connsiteX7" fmla="*/ 15789 w 30857"/>
                  <a:gd name="connsiteY7" fmla="*/ 18189 h 18000"/>
                  <a:gd name="connsiteX8" fmla="*/ 31313 w 30857"/>
                  <a:gd name="connsiteY8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857" h="18000">
                    <a:moveTo>
                      <a:pt x="31313" y="9240"/>
                    </a:moveTo>
                    <a:lnTo>
                      <a:pt x="31313" y="9240"/>
                    </a:lnTo>
                    <a:lnTo>
                      <a:pt x="23564" y="4748"/>
                    </a:lnTo>
                    <a:lnTo>
                      <a:pt x="15789" y="257"/>
                    </a:lnTo>
                    <a:lnTo>
                      <a:pt x="8023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13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1" name="Freeform: Shape 400">
                <a:extLst>
                  <a:ext uri="{FF2B5EF4-FFF2-40B4-BE49-F238E27FC236}">
                    <a16:creationId xmlns:a16="http://schemas.microsoft.com/office/drawing/2014/main" id="{5DBAADB1-78FC-4FDC-AE05-E7D7FAC0E66C}"/>
                  </a:ext>
                </a:extLst>
              </p:cNvPr>
              <p:cNvSpPr/>
              <p:nvPr/>
            </p:nvSpPr>
            <p:spPr>
              <a:xfrm>
                <a:off x="6056986" y="1645183"/>
                <a:ext cx="30857" cy="18000"/>
              </a:xfrm>
              <a:custGeom>
                <a:avLst/>
                <a:gdLst>
                  <a:gd name="connsiteX0" fmla="*/ 15792 w 30857"/>
                  <a:gd name="connsiteY0" fmla="*/ 257 h 18000"/>
                  <a:gd name="connsiteX1" fmla="*/ 257 w 30857"/>
                  <a:gd name="connsiteY1" fmla="*/ 9240 h 18000"/>
                  <a:gd name="connsiteX2" fmla="*/ 15792 w 30857"/>
                  <a:gd name="connsiteY2" fmla="*/ 18189 h 18000"/>
                  <a:gd name="connsiteX3" fmla="*/ 31327 w 30857"/>
                  <a:gd name="connsiteY3" fmla="*/ 9240 h 18000"/>
                  <a:gd name="connsiteX4" fmla="*/ 15792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2" y="257"/>
                    </a:moveTo>
                    <a:lnTo>
                      <a:pt x="257" y="9240"/>
                    </a:lnTo>
                    <a:lnTo>
                      <a:pt x="15792" y="18189"/>
                    </a:lnTo>
                    <a:lnTo>
                      <a:pt x="31327" y="9240"/>
                    </a:lnTo>
                    <a:lnTo>
                      <a:pt x="15792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2" name="Freeform: Shape 401">
                <a:extLst>
                  <a:ext uri="{FF2B5EF4-FFF2-40B4-BE49-F238E27FC236}">
                    <a16:creationId xmlns:a16="http://schemas.microsoft.com/office/drawing/2014/main" id="{86C3E6BA-55A7-4A34-9A1A-4B0FEFCB5EDC}"/>
                  </a:ext>
                </a:extLst>
              </p:cNvPr>
              <p:cNvSpPr/>
              <p:nvPr/>
            </p:nvSpPr>
            <p:spPr>
              <a:xfrm>
                <a:off x="6079584" y="1618337"/>
                <a:ext cx="30857" cy="18000"/>
              </a:xfrm>
              <a:custGeom>
                <a:avLst/>
                <a:gdLst>
                  <a:gd name="connsiteX0" fmla="*/ 8023 w 30857"/>
                  <a:gd name="connsiteY0" fmla="*/ 4748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13 w 30857"/>
                  <a:gd name="connsiteY4" fmla="*/ 9240 h 18000"/>
                  <a:gd name="connsiteX5" fmla="*/ 15789 w 30857"/>
                  <a:gd name="connsiteY5" fmla="*/ 257 h 18000"/>
                  <a:gd name="connsiteX6" fmla="*/ 8023 w 30857"/>
                  <a:gd name="connsiteY6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8023" y="4748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13" y="9240"/>
                    </a:lnTo>
                    <a:lnTo>
                      <a:pt x="15789" y="257"/>
                    </a:lnTo>
                    <a:lnTo>
                      <a:pt x="8023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93B81E2A-37E4-4705-B6D3-CF1F4C7E3460}"/>
                  </a:ext>
                </a:extLst>
              </p:cNvPr>
              <p:cNvSpPr/>
              <p:nvPr/>
            </p:nvSpPr>
            <p:spPr>
              <a:xfrm>
                <a:off x="6079584" y="1672029"/>
                <a:ext cx="23143" cy="10286"/>
              </a:xfrm>
              <a:custGeom>
                <a:avLst/>
                <a:gdLst>
                  <a:gd name="connsiteX0" fmla="*/ 257 w 23142"/>
                  <a:gd name="connsiteY0" fmla="*/ 9206 h 10285"/>
                  <a:gd name="connsiteX1" fmla="*/ 257 w 23142"/>
                  <a:gd name="connsiteY1" fmla="*/ 9206 h 10285"/>
                  <a:gd name="connsiteX2" fmla="*/ 5239 w 23142"/>
                  <a:gd name="connsiteY2" fmla="*/ 12086 h 10285"/>
                  <a:gd name="connsiteX3" fmla="*/ 23702 w 23142"/>
                  <a:gd name="connsiteY3" fmla="*/ 4817 h 10285"/>
                  <a:gd name="connsiteX4" fmla="*/ 15789 w 23142"/>
                  <a:gd name="connsiteY4" fmla="*/ 257 h 10285"/>
                  <a:gd name="connsiteX5" fmla="*/ 257 w 23142"/>
                  <a:gd name="connsiteY5" fmla="*/ 9206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142" h="10285">
                    <a:moveTo>
                      <a:pt x="257" y="9206"/>
                    </a:moveTo>
                    <a:lnTo>
                      <a:pt x="257" y="9206"/>
                    </a:lnTo>
                    <a:lnTo>
                      <a:pt x="5239" y="12086"/>
                    </a:lnTo>
                    <a:cubicBezTo>
                      <a:pt x="11462" y="9857"/>
                      <a:pt x="17633" y="7423"/>
                      <a:pt x="23702" y="4817"/>
                    </a:cubicBez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54885771-E604-4AA1-B572-7119819BD263}"/>
                  </a:ext>
                </a:extLst>
              </p:cNvPr>
              <p:cNvSpPr/>
              <p:nvPr/>
            </p:nvSpPr>
            <p:spPr>
              <a:xfrm>
                <a:off x="6011791" y="1591526"/>
                <a:ext cx="30857" cy="18000"/>
              </a:xfrm>
              <a:custGeom>
                <a:avLst/>
                <a:gdLst>
                  <a:gd name="connsiteX0" fmla="*/ 31330 w 30857"/>
                  <a:gd name="connsiteY0" fmla="*/ 9206 h 18000"/>
                  <a:gd name="connsiteX1" fmla="*/ 15792 w 30857"/>
                  <a:gd name="connsiteY1" fmla="*/ 257 h 18000"/>
                  <a:gd name="connsiteX2" fmla="*/ 257 w 30857"/>
                  <a:gd name="connsiteY2" fmla="*/ 9206 h 18000"/>
                  <a:gd name="connsiteX3" fmla="*/ 15792 w 30857"/>
                  <a:gd name="connsiteY3" fmla="*/ 18189 h 18000"/>
                  <a:gd name="connsiteX4" fmla="*/ 3133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30" y="9206"/>
                    </a:moveTo>
                    <a:lnTo>
                      <a:pt x="15792" y="257"/>
                    </a:lnTo>
                    <a:lnTo>
                      <a:pt x="257" y="9206"/>
                    </a:lnTo>
                    <a:lnTo>
                      <a:pt x="15792" y="18189"/>
                    </a:lnTo>
                    <a:lnTo>
                      <a:pt x="3133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6AE9602B-40EB-4E56-8792-A0492D12B601}"/>
                  </a:ext>
                </a:extLst>
              </p:cNvPr>
              <p:cNvSpPr/>
              <p:nvPr/>
            </p:nvSpPr>
            <p:spPr>
              <a:xfrm>
                <a:off x="6046100" y="1572052"/>
                <a:ext cx="18000" cy="10286"/>
              </a:xfrm>
              <a:custGeom>
                <a:avLst/>
                <a:gdLst>
                  <a:gd name="connsiteX0" fmla="*/ 19615 w 18000"/>
                  <a:gd name="connsiteY0" fmla="*/ 1868 h 10285"/>
                  <a:gd name="connsiteX1" fmla="*/ 19615 w 18000"/>
                  <a:gd name="connsiteY1" fmla="*/ 1868 h 10285"/>
                  <a:gd name="connsiteX2" fmla="*/ 19615 w 18000"/>
                  <a:gd name="connsiteY2" fmla="*/ 1868 h 10285"/>
                  <a:gd name="connsiteX3" fmla="*/ 16824 w 18000"/>
                  <a:gd name="connsiteY3" fmla="*/ 257 h 10285"/>
                  <a:gd name="connsiteX4" fmla="*/ 257 w 18000"/>
                  <a:gd name="connsiteY4" fmla="*/ 8623 h 10285"/>
                  <a:gd name="connsiteX5" fmla="*/ 4080 w 18000"/>
                  <a:gd name="connsiteY5" fmla="*/ 10817 h 10285"/>
                  <a:gd name="connsiteX6" fmla="*/ 19615 w 18000"/>
                  <a:gd name="connsiteY6" fmla="*/ 1868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00" h="10285">
                    <a:moveTo>
                      <a:pt x="19615" y="1868"/>
                    </a:moveTo>
                    <a:lnTo>
                      <a:pt x="19615" y="1868"/>
                    </a:lnTo>
                    <a:lnTo>
                      <a:pt x="19615" y="1868"/>
                    </a:lnTo>
                    <a:lnTo>
                      <a:pt x="16824" y="257"/>
                    </a:lnTo>
                    <a:cubicBezTo>
                      <a:pt x="11452" y="3000"/>
                      <a:pt x="5911" y="5777"/>
                      <a:pt x="257" y="8623"/>
                    </a:cubicBezTo>
                    <a:lnTo>
                      <a:pt x="4080" y="10817"/>
                    </a:lnTo>
                    <a:lnTo>
                      <a:pt x="19615" y="186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90F114DC-F0B7-4F90-B62D-483DA30D21F2}"/>
                  </a:ext>
                </a:extLst>
              </p:cNvPr>
              <p:cNvSpPr/>
              <p:nvPr/>
            </p:nvSpPr>
            <p:spPr>
              <a:xfrm>
                <a:off x="6011791" y="1645183"/>
                <a:ext cx="30857" cy="18000"/>
              </a:xfrm>
              <a:custGeom>
                <a:avLst/>
                <a:gdLst>
                  <a:gd name="connsiteX0" fmla="*/ 15792 w 30857"/>
                  <a:gd name="connsiteY0" fmla="*/ 257 h 18000"/>
                  <a:gd name="connsiteX1" fmla="*/ 257 w 30857"/>
                  <a:gd name="connsiteY1" fmla="*/ 9240 h 18000"/>
                  <a:gd name="connsiteX2" fmla="*/ 15792 w 30857"/>
                  <a:gd name="connsiteY2" fmla="*/ 18189 h 18000"/>
                  <a:gd name="connsiteX3" fmla="*/ 31330 w 30857"/>
                  <a:gd name="connsiteY3" fmla="*/ 9240 h 18000"/>
                  <a:gd name="connsiteX4" fmla="*/ 15792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2" y="257"/>
                    </a:moveTo>
                    <a:lnTo>
                      <a:pt x="257" y="9240"/>
                    </a:lnTo>
                    <a:lnTo>
                      <a:pt x="15792" y="18189"/>
                    </a:lnTo>
                    <a:lnTo>
                      <a:pt x="31330" y="9240"/>
                    </a:lnTo>
                    <a:lnTo>
                      <a:pt x="15792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747BAB32-1127-4AAE-BC41-E41DFB511FD8}"/>
                  </a:ext>
                </a:extLst>
              </p:cNvPr>
              <p:cNvSpPr/>
              <p:nvPr/>
            </p:nvSpPr>
            <p:spPr>
              <a:xfrm>
                <a:off x="6034388" y="1618337"/>
                <a:ext cx="30857" cy="18000"/>
              </a:xfrm>
              <a:custGeom>
                <a:avLst/>
                <a:gdLst>
                  <a:gd name="connsiteX0" fmla="*/ 8026 w 30857"/>
                  <a:gd name="connsiteY0" fmla="*/ 4748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15792 w 30857"/>
                  <a:gd name="connsiteY3" fmla="*/ 18223 h 18000"/>
                  <a:gd name="connsiteX4" fmla="*/ 31327 w 30857"/>
                  <a:gd name="connsiteY4" fmla="*/ 9240 h 18000"/>
                  <a:gd name="connsiteX5" fmla="*/ 15792 w 30857"/>
                  <a:gd name="connsiteY5" fmla="*/ 257 h 18000"/>
                  <a:gd name="connsiteX6" fmla="*/ 8026 w 30857"/>
                  <a:gd name="connsiteY6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8026" y="4748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15792" y="18223"/>
                    </a:lnTo>
                    <a:lnTo>
                      <a:pt x="31327" y="9240"/>
                    </a:lnTo>
                    <a:lnTo>
                      <a:pt x="15792" y="257"/>
                    </a:lnTo>
                    <a:lnTo>
                      <a:pt x="8026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D55F7273-D4D6-4757-A442-DE1CC4F91E8D}"/>
                  </a:ext>
                </a:extLst>
              </p:cNvPr>
              <p:cNvSpPr/>
              <p:nvPr/>
            </p:nvSpPr>
            <p:spPr>
              <a:xfrm>
                <a:off x="6034388" y="1672029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15792 w 30857"/>
                  <a:gd name="connsiteY2" fmla="*/ 18189 h 18000"/>
                  <a:gd name="connsiteX3" fmla="*/ 31327 w 30857"/>
                  <a:gd name="connsiteY3" fmla="*/ 9206 h 18000"/>
                  <a:gd name="connsiteX4" fmla="*/ 15792 w 30857"/>
                  <a:gd name="connsiteY4" fmla="*/ 257 h 18000"/>
                  <a:gd name="connsiteX5" fmla="*/ 257 w 30857"/>
                  <a:gd name="connsiteY5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15792" y="18189"/>
                    </a:lnTo>
                    <a:lnTo>
                      <a:pt x="31327" y="9206"/>
                    </a:lnTo>
                    <a:lnTo>
                      <a:pt x="15792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8FFB5CC4-DA50-4EBF-B52B-5EA6CD50537C}"/>
                  </a:ext>
                </a:extLst>
              </p:cNvPr>
              <p:cNvSpPr/>
              <p:nvPr/>
            </p:nvSpPr>
            <p:spPr>
              <a:xfrm>
                <a:off x="5989193" y="1672029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15795 w 30857"/>
                  <a:gd name="connsiteY3" fmla="*/ 18189 h 18000"/>
                  <a:gd name="connsiteX4" fmla="*/ 31330 w 30857"/>
                  <a:gd name="connsiteY4" fmla="*/ 9206 h 18000"/>
                  <a:gd name="connsiteX5" fmla="*/ 15795 w 30857"/>
                  <a:gd name="connsiteY5" fmla="*/ 257 h 18000"/>
                  <a:gd name="connsiteX6" fmla="*/ 257 w 30857"/>
                  <a:gd name="connsiteY6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15795" y="18189"/>
                    </a:lnTo>
                    <a:lnTo>
                      <a:pt x="31330" y="9206"/>
                    </a:lnTo>
                    <a:lnTo>
                      <a:pt x="15795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3211D361-D101-49DE-97D9-74B0446ECFF8}"/>
                  </a:ext>
                </a:extLst>
              </p:cNvPr>
              <p:cNvSpPr/>
              <p:nvPr/>
            </p:nvSpPr>
            <p:spPr>
              <a:xfrm>
                <a:off x="5966595" y="1645183"/>
                <a:ext cx="30857" cy="18000"/>
              </a:xfrm>
              <a:custGeom>
                <a:avLst/>
                <a:gdLst>
                  <a:gd name="connsiteX0" fmla="*/ 15795 w 30857"/>
                  <a:gd name="connsiteY0" fmla="*/ 257 h 18000"/>
                  <a:gd name="connsiteX1" fmla="*/ 257 w 30857"/>
                  <a:gd name="connsiteY1" fmla="*/ 9240 h 18000"/>
                  <a:gd name="connsiteX2" fmla="*/ 15795 w 30857"/>
                  <a:gd name="connsiteY2" fmla="*/ 18189 h 18000"/>
                  <a:gd name="connsiteX3" fmla="*/ 31330 w 30857"/>
                  <a:gd name="connsiteY3" fmla="*/ 9240 h 18000"/>
                  <a:gd name="connsiteX4" fmla="*/ 15795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5" y="257"/>
                    </a:moveTo>
                    <a:lnTo>
                      <a:pt x="257" y="9240"/>
                    </a:lnTo>
                    <a:lnTo>
                      <a:pt x="15795" y="18189"/>
                    </a:lnTo>
                    <a:lnTo>
                      <a:pt x="31330" y="9240"/>
                    </a:lnTo>
                    <a:lnTo>
                      <a:pt x="15795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519B66AC-27AC-4917-AD9E-DDE84BAA35E5}"/>
                  </a:ext>
                </a:extLst>
              </p:cNvPr>
              <p:cNvSpPr/>
              <p:nvPr/>
            </p:nvSpPr>
            <p:spPr>
              <a:xfrm>
                <a:off x="5989193" y="1618337"/>
                <a:ext cx="30857" cy="18000"/>
              </a:xfrm>
              <a:custGeom>
                <a:avLst/>
                <a:gdLst>
                  <a:gd name="connsiteX0" fmla="*/ 15795 w 30857"/>
                  <a:gd name="connsiteY0" fmla="*/ 18223 h 18000"/>
                  <a:gd name="connsiteX1" fmla="*/ 31330 w 30857"/>
                  <a:gd name="connsiteY1" fmla="*/ 9240 h 18000"/>
                  <a:gd name="connsiteX2" fmla="*/ 15795 w 30857"/>
                  <a:gd name="connsiteY2" fmla="*/ 257 h 18000"/>
                  <a:gd name="connsiteX3" fmla="*/ 8026 w 30857"/>
                  <a:gd name="connsiteY3" fmla="*/ 4748 h 18000"/>
                  <a:gd name="connsiteX4" fmla="*/ 257 w 30857"/>
                  <a:gd name="connsiteY4" fmla="*/ 9240 h 18000"/>
                  <a:gd name="connsiteX5" fmla="*/ 257 w 30857"/>
                  <a:gd name="connsiteY5" fmla="*/ 9240 h 18000"/>
                  <a:gd name="connsiteX6" fmla="*/ 257 w 30857"/>
                  <a:gd name="connsiteY6" fmla="*/ 9240 h 18000"/>
                  <a:gd name="connsiteX7" fmla="*/ 15795 w 30857"/>
                  <a:gd name="connsiteY7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795" y="18223"/>
                    </a:moveTo>
                    <a:lnTo>
                      <a:pt x="31330" y="9240"/>
                    </a:lnTo>
                    <a:lnTo>
                      <a:pt x="15795" y="257"/>
                    </a:lnTo>
                    <a:lnTo>
                      <a:pt x="802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95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5D5A1375-7EAB-4DD9-A82B-CC65CAAD7E7A}"/>
                  </a:ext>
                </a:extLst>
              </p:cNvPr>
              <p:cNvSpPr/>
              <p:nvPr/>
            </p:nvSpPr>
            <p:spPr>
              <a:xfrm>
                <a:off x="5947076" y="1672029"/>
                <a:ext cx="28286" cy="15429"/>
              </a:xfrm>
              <a:custGeom>
                <a:avLst/>
                <a:gdLst>
                  <a:gd name="connsiteX0" fmla="*/ 257 w 28285"/>
                  <a:gd name="connsiteY0" fmla="*/ 7457 h 15428"/>
                  <a:gd name="connsiteX1" fmla="*/ 257 w 28285"/>
                  <a:gd name="connsiteY1" fmla="*/ 7457 h 15428"/>
                  <a:gd name="connsiteX2" fmla="*/ 14205 w 28285"/>
                  <a:gd name="connsiteY2" fmla="*/ 17331 h 15428"/>
                  <a:gd name="connsiteX3" fmla="*/ 28252 w 28285"/>
                  <a:gd name="connsiteY3" fmla="*/ 9206 h 15428"/>
                  <a:gd name="connsiteX4" fmla="*/ 12717 w 28285"/>
                  <a:gd name="connsiteY4" fmla="*/ 257 h 15428"/>
                  <a:gd name="connsiteX5" fmla="*/ 257 w 28285"/>
                  <a:gd name="connsiteY5" fmla="*/ 7457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85" h="15428">
                    <a:moveTo>
                      <a:pt x="257" y="7457"/>
                    </a:moveTo>
                    <a:lnTo>
                      <a:pt x="257" y="7457"/>
                    </a:lnTo>
                    <a:cubicBezTo>
                      <a:pt x="3230" y="12154"/>
                      <a:pt x="7913" y="15754"/>
                      <a:pt x="14205" y="17331"/>
                    </a:cubicBezTo>
                    <a:lnTo>
                      <a:pt x="28252" y="9206"/>
                    </a:lnTo>
                    <a:lnTo>
                      <a:pt x="12717" y="257"/>
                    </a:lnTo>
                    <a:lnTo>
                      <a:pt x="257" y="74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1E4D9219-48C9-40A6-995A-1BE41CEB399E}"/>
                  </a:ext>
                </a:extLst>
              </p:cNvPr>
              <p:cNvSpPr/>
              <p:nvPr/>
            </p:nvSpPr>
            <p:spPr>
              <a:xfrm>
                <a:off x="5944059" y="1651080"/>
                <a:ext cx="7714" cy="7714"/>
              </a:xfrm>
              <a:custGeom>
                <a:avLst/>
                <a:gdLst>
                  <a:gd name="connsiteX0" fmla="*/ 3353 w 7714"/>
                  <a:gd name="connsiteY0" fmla="*/ 257 h 7714"/>
                  <a:gd name="connsiteX1" fmla="*/ 257 w 7714"/>
                  <a:gd name="connsiteY1" fmla="*/ 8211 h 7714"/>
                  <a:gd name="connsiteX2" fmla="*/ 8671 w 7714"/>
                  <a:gd name="connsiteY2" fmla="*/ 3343 h 7714"/>
                  <a:gd name="connsiteX3" fmla="*/ 3353 w 7714"/>
                  <a:gd name="connsiteY3" fmla="*/ 25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4" h="7714">
                    <a:moveTo>
                      <a:pt x="3353" y="257"/>
                    </a:moveTo>
                    <a:cubicBezTo>
                      <a:pt x="1906" y="2794"/>
                      <a:pt x="898" y="5468"/>
                      <a:pt x="257" y="8211"/>
                    </a:cubicBezTo>
                    <a:lnTo>
                      <a:pt x="8671" y="3343"/>
                    </a:lnTo>
                    <a:lnTo>
                      <a:pt x="3353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258FA4D5-FBFC-4E64-9EDE-F7A0F4B56E59}"/>
                  </a:ext>
                </a:extLst>
              </p:cNvPr>
              <p:cNvSpPr/>
              <p:nvPr/>
            </p:nvSpPr>
            <p:spPr>
              <a:xfrm>
                <a:off x="5959454" y="1625263"/>
                <a:ext cx="15429" cy="10286"/>
              </a:xfrm>
              <a:custGeom>
                <a:avLst/>
                <a:gdLst>
                  <a:gd name="connsiteX0" fmla="*/ 15874 w 15428"/>
                  <a:gd name="connsiteY0" fmla="*/ 2314 h 10285"/>
                  <a:gd name="connsiteX1" fmla="*/ 12312 w 15428"/>
                  <a:gd name="connsiteY1" fmla="*/ 257 h 10285"/>
                  <a:gd name="connsiteX2" fmla="*/ 257 w 15428"/>
                  <a:gd name="connsiteY2" fmla="*/ 11229 h 10285"/>
                  <a:gd name="connsiteX3" fmla="*/ 340 w 15428"/>
                  <a:gd name="connsiteY3" fmla="*/ 11297 h 10285"/>
                  <a:gd name="connsiteX4" fmla="*/ 15874 w 15428"/>
                  <a:gd name="connsiteY4" fmla="*/ 2314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28" h="10285">
                    <a:moveTo>
                      <a:pt x="15874" y="2314"/>
                    </a:moveTo>
                    <a:lnTo>
                      <a:pt x="12312" y="257"/>
                    </a:lnTo>
                    <a:cubicBezTo>
                      <a:pt x="8064" y="3754"/>
                      <a:pt x="4029" y="7423"/>
                      <a:pt x="257" y="11229"/>
                    </a:cubicBezTo>
                    <a:lnTo>
                      <a:pt x="340" y="11297"/>
                    </a:lnTo>
                    <a:lnTo>
                      <a:pt x="15874" y="2314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BBD5FB29-8038-4CC0-9697-348B72489624}"/>
                  </a:ext>
                </a:extLst>
              </p:cNvPr>
              <p:cNvSpPr/>
              <p:nvPr/>
            </p:nvSpPr>
            <p:spPr>
              <a:xfrm>
                <a:off x="5426292" y="929106"/>
                <a:ext cx="342000" cy="231429"/>
              </a:xfrm>
              <a:custGeom>
                <a:avLst/>
                <a:gdLst>
                  <a:gd name="connsiteX0" fmla="*/ 74837 w 342000"/>
                  <a:gd name="connsiteY0" fmla="*/ 232684 h 231428"/>
                  <a:gd name="connsiteX1" fmla="*/ 67592 w 342000"/>
                  <a:gd name="connsiteY1" fmla="*/ 229702 h 231428"/>
                  <a:gd name="connsiteX2" fmla="*/ 3313 w 342000"/>
                  <a:gd name="connsiteY2" fmla="*/ 165874 h 231428"/>
                  <a:gd name="connsiteX3" fmla="*/ 3258 w 342000"/>
                  <a:gd name="connsiteY3" fmla="*/ 151362 h 231428"/>
                  <a:gd name="connsiteX4" fmla="*/ 17802 w 342000"/>
                  <a:gd name="connsiteY4" fmla="*/ 151290 h 231428"/>
                  <a:gd name="connsiteX5" fmla="*/ 71753 w 342000"/>
                  <a:gd name="connsiteY5" fmla="*/ 204825 h 231428"/>
                  <a:gd name="connsiteX6" fmla="*/ 130576 w 342000"/>
                  <a:gd name="connsiteY6" fmla="*/ 80188 h 231428"/>
                  <a:gd name="connsiteX7" fmla="*/ 138094 w 342000"/>
                  <a:gd name="connsiteY7" fmla="*/ 74441 h 231428"/>
                  <a:gd name="connsiteX8" fmla="*/ 147121 w 342000"/>
                  <a:gd name="connsiteY8" fmla="*/ 77278 h 231428"/>
                  <a:gd name="connsiteX9" fmla="*/ 201071 w 342000"/>
                  <a:gd name="connsiteY9" fmla="*/ 130814 h 231428"/>
                  <a:gd name="connsiteX10" fmla="*/ 259898 w 342000"/>
                  <a:gd name="connsiteY10" fmla="*/ 6176 h 231428"/>
                  <a:gd name="connsiteX11" fmla="*/ 267416 w 342000"/>
                  <a:gd name="connsiteY11" fmla="*/ 430 h 231428"/>
                  <a:gd name="connsiteX12" fmla="*/ 276446 w 342000"/>
                  <a:gd name="connsiteY12" fmla="*/ 3267 h 231428"/>
                  <a:gd name="connsiteX13" fmla="*/ 340732 w 342000"/>
                  <a:gd name="connsiteY13" fmla="*/ 67058 h 231428"/>
                  <a:gd name="connsiteX14" fmla="*/ 340787 w 342000"/>
                  <a:gd name="connsiteY14" fmla="*/ 81606 h 231428"/>
                  <a:gd name="connsiteX15" fmla="*/ 326239 w 342000"/>
                  <a:gd name="connsiteY15" fmla="*/ 81679 h 231428"/>
                  <a:gd name="connsiteX16" fmla="*/ 272285 w 342000"/>
                  <a:gd name="connsiteY16" fmla="*/ 28107 h 231428"/>
                  <a:gd name="connsiteX17" fmla="*/ 213458 w 342000"/>
                  <a:gd name="connsiteY17" fmla="*/ 152781 h 231428"/>
                  <a:gd name="connsiteX18" fmla="*/ 205937 w 342000"/>
                  <a:gd name="connsiteY18" fmla="*/ 158527 h 231428"/>
                  <a:gd name="connsiteX19" fmla="*/ 196914 w 342000"/>
                  <a:gd name="connsiteY19" fmla="*/ 155690 h 231428"/>
                  <a:gd name="connsiteX20" fmla="*/ 142964 w 342000"/>
                  <a:gd name="connsiteY20" fmla="*/ 102118 h 231428"/>
                  <a:gd name="connsiteX21" fmla="*/ 84140 w 342000"/>
                  <a:gd name="connsiteY21" fmla="*/ 226792 h 231428"/>
                  <a:gd name="connsiteX22" fmla="*/ 76619 w 342000"/>
                  <a:gd name="connsiteY22" fmla="*/ 232538 h 231428"/>
                  <a:gd name="connsiteX23" fmla="*/ 74837 w 342000"/>
                  <a:gd name="connsiteY23" fmla="*/ 232684 h 23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42000" h="231428">
                    <a:moveTo>
                      <a:pt x="74837" y="232684"/>
                    </a:moveTo>
                    <a:cubicBezTo>
                      <a:pt x="72145" y="232684"/>
                      <a:pt x="69534" y="231629"/>
                      <a:pt x="67592" y="229702"/>
                    </a:cubicBezTo>
                    <a:lnTo>
                      <a:pt x="3313" y="165874"/>
                    </a:lnTo>
                    <a:cubicBezTo>
                      <a:pt x="-721" y="161873"/>
                      <a:pt x="-742" y="155363"/>
                      <a:pt x="3258" y="151362"/>
                    </a:cubicBezTo>
                    <a:cubicBezTo>
                      <a:pt x="7259" y="147325"/>
                      <a:pt x="13776" y="147289"/>
                      <a:pt x="17802" y="151290"/>
                    </a:cubicBezTo>
                    <a:lnTo>
                      <a:pt x="71753" y="204825"/>
                    </a:lnTo>
                    <a:lnTo>
                      <a:pt x="130576" y="80188"/>
                    </a:lnTo>
                    <a:cubicBezTo>
                      <a:pt x="132002" y="77169"/>
                      <a:pt x="134802" y="75023"/>
                      <a:pt x="138094" y="74441"/>
                    </a:cubicBezTo>
                    <a:cubicBezTo>
                      <a:pt x="141389" y="73859"/>
                      <a:pt x="144757" y="74914"/>
                      <a:pt x="147121" y="77278"/>
                    </a:cubicBezTo>
                    <a:lnTo>
                      <a:pt x="201071" y="130814"/>
                    </a:lnTo>
                    <a:lnTo>
                      <a:pt x="259898" y="6176"/>
                    </a:lnTo>
                    <a:cubicBezTo>
                      <a:pt x="261324" y="3157"/>
                      <a:pt x="264124" y="1012"/>
                      <a:pt x="267416" y="430"/>
                    </a:cubicBezTo>
                    <a:cubicBezTo>
                      <a:pt x="270714" y="-152"/>
                      <a:pt x="274071" y="903"/>
                      <a:pt x="276446" y="3267"/>
                    </a:cubicBezTo>
                    <a:lnTo>
                      <a:pt x="340732" y="67058"/>
                    </a:lnTo>
                    <a:cubicBezTo>
                      <a:pt x="344766" y="71059"/>
                      <a:pt x="344791" y="77569"/>
                      <a:pt x="340787" y="81606"/>
                    </a:cubicBezTo>
                    <a:cubicBezTo>
                      <a:pt x="336786" y="85643"/>
                      <a:pt x="330273" y="85679"/>
                      <a:pt x="326239" y="81679"/>
                    </a:cubicBezTo>
                    <a:lnTo>
                      <a:pt x="272285" y="28107"/>
                    </a:lnTo>
                    <a:lnTo>
                      <a:pt x="213458" y="152781"/>
                    </a:lnTo>
                    <a:cubicBezTo>
                      <a:pt x="212032" y="155799"/>
                      <a:pt x="209228" y="157945"/>
                      <a:pt x="205937" y="158527"/>
                    </a:cubicBezTo>
                    <a:cubicBezTo>
                      <a:pt x="202664" y="159109"/>
                      <a:pt x="199281" y="158054"/>
                      <a:pt x="196914" y="155690"/>
                    </a:cubicBezTo>
                    <a:lnTo>
                      <a:pt x="142964" y="102118"/>
                    </a:lnTo>
                    <a:lnTo>
                      <a:pt x="84140" y="226792"/>
                    </a:lnTo>
                    <a:cubicBezTo>
                      <a:pt x="82711" y="229811"/>
                      <a:pt x="79910" y="231957"/>
                      <a:pt x="76619" y="232538"/>
                    </a:cubicBezTo>
                    <a:cubicBezTo>
                      <a:pt x="76026" y="232647"/>
                      <a:pt x="75429" y="232684"/>
                      <a:pt x="74837" y="232684"/>
                    </a:cubicBezTo>
                  </a:path>
                </a:pathLst>
              </a:custGeom>
              <a:solidFill>
                <a:srgbClr val="3A3A3A"/>
              </a:solidFill>
              <a:ln w="134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328ABF85-D491-4F75-8BCA-12B00C971DE6}"/>
                  </a:ext>
                </a:extLst>
              </p:cNvPr>
              <p:cNvSpPr/>
              <p:nvPr/>
            </p:nvSpPr>
            <p:spPr>
              <a:xfrm>
                <a:off x="6614571" y="1745983"/>
                <a:ext cx="131143" cy="131143"/>
              </a:xfrm>
              <a:custGeom>
                <a:avLst/>
                <a:gdLst>
                  <a:gd name="connsiteX0" fmla="*/ 132394 w 131142"/>
                  <a:gd name="connsiteY0" fmla="*/ 66291 h 131142"/>
                  <a:gd name="connsiteX1" fmla="*/ 66326 w 131142"/>
                  <a:gd name="connsiteY1" fmla="*/ 257 h 131142"/>
                  <a:gd name="connsiteX2" fmla="*/ 257 w 131142"/>
                  <a:gd name="connsiteY2" fmla="*/ 66291 h 131142"/>
                  <a:gd name="connsiteX3" fmla="*/ 66326 w 131142"/>
                  <a:gd name="connsiteY3" fmla="*/ 132360 h 131142"/>
                  <a:gd name="connsiteX4" fmla="*/ 132394 w 131142"/>
                  <a:gd name="connsiteY4" fmla="*/ 66291 h 13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142" h="131142">
                    <a:moveTo>
                      <a:pt x="132394" y="66291"/>
                    </a:moveTo>
                    <a:cubicBezTo>
                      <a:pt x="132394" y="29811"/>
                      <a:pt x="102806" y="257"/>
                      <a:pt x="66326" y="257"/>
                    </a:cubicBezTo>
                    <a:cubicBezTo>
                      <a:pt x="29846" y="257"/>
                      <a:pt x="257" y="29811"/>
                      <a:pt x="257" y="66291"/>
                    </a:cubicBezTo>
                    <a:cubicBezTo>
                      <a:pt x="257" y="102771"/>
                      <a:pt x="29846" y="132360"/>
                      <a:pt x="66326" y="132360"/>
                    </a:cubicBezTo>
                    <a:cubicBezTo>
                      <a:pt x="102806" y="132360"/>
                      <a:pt x="132394" y="102771"/>
                      <a:pt x="132394" y="66291"/>
                    </a:cubicBez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935DE27A-AA40-4EDE-8A5B-8132F5FE8AE3}"/>
                  </a:ext>
                </a:extLst>
              </p:cNvPr>
              <p:cNvSpPr/>
              <p:nvPr/>
            </p:nvSpPr>
            <p:spPr>
              <a:xfrm>
                <a:off x="6604286" y="1735697"/>
                <a:ext cx="151714" cy="151714"/>
              </a:xfrm>
              <a:custGeom>
                <a:avLst/>
                <a:gdLst>
                  <a:gd name="connsiteX0" fmla="*/ 76611 w 151714"/>
                  <a:gd name="connsiteY0" fmla="*/ 20829 h 151714"/>
                  <a:gd name="connsiteX1" fmla="*/ 20829 w 151714"/>
                  <a:gd name="connsiteY1" fmla="*/ 76577 h 151714"/>
                  <a:gd name="connsiteX2" fmla="*/ 76611 w 151714"/>
                  <a:gd name="connsiteY2" fmla="*/ 132360 h 151714"/>
                  <a:gd name="connsiteX3" fmla="*/ 132394 w 151714"/>
                  <a:gd name="connsiteY3" fmla="*/ 76577 h 151714"/>
                  <a:gd name="connsiteX4" fmla="*/ 76611 w 151714"/>
                  <a:gd name="connsiteY4" fmla="*/ 20829 h 151714"/>
                  <a:gd name="connsiteX5" fmla="*/ 76611 w 151714"/>
                  <a:gd name="connsiteY5" fmla="*/ 152931 h 151714"/>
                  <a:gd name="connsiteX6" fmla="*/ 257 w 151714"/>
                  <a:gd name="connsiteY6" fmla="*/ 76577 h 151714"/>
                  <a:gd name="connsiteX7" fmla="*/ 76611 w 151714"/>
                  <a:gd name="connsiteY7" fmla="*/ 257 h 151714"/>
                  <a:gd name="connsiteX8" fmla="*/ 152966 w 151714"/>
                  <a:gd name="connsiteY8" fmla="*/ 76577 h 151714"/>
                  <a:gd name="connsiteX9" fmla="*/ 76611 w 151714"/>
                  <a:gd name="connsiteY9" fmla="*/ 152931 h 151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1714" h="151714">
                    <a:moveTo>
                      <a:pt x="76611" y="20829"/>
                    </a:moveTo>
                    <a:cubicBezTo>
                      <a:pt x="45857" y="20829"/>
                      <a:pt x="20829" y="45823"/>
                      <a:pt x="20829" y="76577"/>
                    </a:cubicBezTo>
                    <a:cubicBezTo>
                      <a:pt x="20829" y="107366"/>
                      <a:pt x="45857" y="132360"/>
                      <a:pt x="76611" y="132360"/>
                    </a:cubicBezTo>
                    <a:cubicBezTo>
                      <a:pt x="107366" y="132360"/>
                      <a:pt x="132394" y="107366"/>
                      <a:pt x="132394" y="76577"/>
                    </a:cubicBezTo>
                    <a:cubicBezTo>
                      <a:pt x="132394" y="45823"/>
                      <a:pt x="107366" y="20829"/>
                      <a:pt x="76611" y="20829"/>
                    </a:cubicBezTo>
                    <a:close/>
                    <a:moveTo>
                      <a:pt x="76611" y="152931"/>
                    </a:moveTo>
                    <a:cubicBezTo>
                      <a:pt x="34509" y="152931"/>
                      <a:pt x="257" y="118680"/>
                      <a:pt x="257" y="76577"/>
                    </a:cubicBezTo>
                    <a:cubicBezTo>
                      <a:pt x="257" y="34508"/>
                      <a:pt x="34509" y="257"/>
                      <a:pt x="76611" y="257"/>
                    </a:cubicBezTo>
                    <a:cubicBezTo>
                      <a:pt x="118714" y="257"/>
                      <a:pt x="152966" y="34508"/>
                      <a:pt x="152966" y="76577"/>
                    </a:cubicBezTo>
                    <a:cubicBezTo>
                      <a:pt x="152966" y="118680"/>
                      <a:pt x="118714" y="152931"/>
                      <a:pt x="76611" y="152931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431B1745-D37C-4BFB-AE2D-D6DD80BB0039}"/>
                  </a:ext>
                </a:extLst>
              </p:cNvPr>
              <p:cNvSpPr/>
              <p:nvPr/>
            </p:nvSpPr>
            <p:spPr>
              <a:xfrm>
                <a:off x="5661504" y="1452566"/>
                <a:ext cx="285429" cy="218571"/>
              </a:xfrm>
              <a:custGeom>
                <a:avLst/>
                <a:gdLst>
                  <a:gd name="connsiteX0" fmla="*/ 257 w 285428"/>
                  <a:gd name="connsiteY0" fmla="*/ 257 h 218571"/>
                  <a:gd name="connsiteX1" fmla="*/ 257 w 285428"/>
                  <a:gd name="connsiteY1" fmla="*/ 55457 h 218571"/>
                  <a:gd name="connsiteX2" fmla="*/ 286306 w 285428"/>
                  <a:gd name="connsiteY2" fmla="*/ 220611 h 218571"/>
                  <a:gd name="connsiteX3" fmla="*/ 286306 w 285428"/>
                  <a:gd name="connsiteY3" fmla="*/ 165411 h 218571"/>
                  <a:gd name="connsiteX4" fmla="*/ 257 w 285428"/>
                  <a:gd name="connsiteY4" fmla="*/ 257 h 218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428" h="218571">
                    <a:moveTo>
                      <a:pt x="257" y="257"/>
                    </a:moveTo>
                    <a:lnTo>
                      <a:pt x="257" y="55457"/>
                    </a:lnTo>
                    <a:lnTo>
                      <a:pt x="286306" y="220611"/>
                    </a:lnTo>
                    <a:lnTo>
                      <a:pt x="286306" y="165411"/>
                    </a:lnTo>
                    <a:lnTo>
                      <a:pt x="257" y="257"/>
                    </a:ln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3A41FB9C-FF4B-4089-8D8B-1373849E2153}"/>
                  </a:ext>
                </a:extLst>
              </p:cNvPr>
              <p:cNvSpPr/>
              <p:nvPr/>
            </p:nvSpPr>
            <p:spPr>
              <a:xfrm>
                <a:off x="5661504" y="1398977"/>
                <a:ext cx="285429" cy="218571"/>
              </a:xfrm>
              <a:custGeom>
                <a:avLst/>
                <a:gdLst>
                  <a:gd name="connsiteX0" fmla="*/ 257 w 285428"/>
                  <a:gd name="connsiteY0" fmla="*/ 257 h 218571"/>
                  <a:gd name="connsiteX1" fmla="*/ 257 w 285428"/>
                  <a:gd name="connsiteY1" fmla="*/ 53846 h 218571"/>
                  <a:gd name="connsiteX2" fmla="*/ 286306 w 285428"/>
                  <a:gd name="connsiteY2" fmla="*/ 219000 h 218571"/>
                  <a:gd name="connsiteX3" fmla="*/ 286306 w 285428"/>
                  <a:gd name="connsiteY3" fmla="*/ 165411 h 218571"/>
                  <a:gd name="connsiteX4" fmla="*/ 257 w 285428"/>
                  <a:gd name="connsiteY4" fmla="*/ 257 h 218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428" h="218571">
                    <a:moveTo>
                      <a:pt x="257" y="257"/>
                    </a:moveTo>
                    <a:lnTo>
                      <a:pt x="257" y="53846"/>
                    </a:lnTo>
                    <a:lnTo>
                      <a:pt x="286306" y="219000"/>
                    </a:lnTo>
                    <a:lnTo>
                      <a:pt x="286306" y="165411"/>
                    </a:lnTo>
                    <a:lnTo>
                      <a:pt x="257" y="257"/>
                    </a:ln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6374E944-BC28-442E-BD36-A1F1C7ACD197}"/>
                  </a:ext>
                </a:extLst>
              </p:cNvPr>
              <p:cNvSpPr/>
              <p:nvPr/>
            </p:nvSpPr>
            <p:spPr>
              <a:xfrm>
                <a:off x="5661504" y="1343400"/>
                <a:ext cx="285429" cy="221143"/>
              </a:xfrm>
              <a:custGeom>
                <a:avLst/>
                <a:gdLst>
                  <a:gd name="connsiteX0" fmla="*/ 257 w 285428"/>
                  <a:gd name="connsiteY0" fmla="*/ 257 h 221142"/>
                  <a:gd name="connsiteX1" fmla="*/ 257 w 285428"/>
                  <a:gd name="connsiteY1" fmla="*/ 55834 h 221142"/>
                  <a:gd name="connsiteX2" fmla="*/ 286306 w 285428"/>
                  <a:gd name="connsiteY2" fmla="*/ 220989 h 221142"/>
                  <a:gd name="connsiteX3" fmla="*/ 286306 w 285428"/>
                  <a:gd name="connsiteY3" fmla="*/ 165411 h 221142"/>
                  <a:gd name="connsiteX4" fmla="*/ 257 w 285428"/>
                  <a:gd name="connsiteY4" fmla="*/ 257 h 22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428" h="221142">
                    <a:moveTo>
                      <a:pt x="257" y="257"/>
                    </a:moveTo>
                    <a:lnTo>
                      <a:pt x="257" y="55834"/>
                    </a:lnTo>
                    <a:lnTo>
                      <a:pt x="286306" y="220989"/>
                    </a:lnTo>
                    <a:lnTo>
                      <a:pt x="286306" y="165411"/>
                    </a:lnTo>
                    <a:lnTo>
                      <a:pt x="257" y="257"/>
                    </a:ln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0E79F87F-CA34-41A1-8E2A-F5A195AC7C00}"/>
                  </a:ext>
                </a:extLst>
              </p:cNvPr>
              <p:cNvSpPr/>
              <p:nvPr/>
            </p:nvSpPr>
            <p:spPr>
              <a:xfrm>
                <a:off x="5661501" y="991835"/>
                <a:ext cx="894857" cy="516857"/>
              </a:xfrm>
              <a:custGeom>
                <a:avLst/>
                <a:gdLst>
                  <a:gd name="connsiteX0" fmla="*/ 379479 w 894857"/>
                  <a:gd name="connsiteY0" fmla="*/ 297984 h 516857"/>
                  <a:gd name="connsiteX1" fmla="*/ 379479 w 894857"/>
                  <a:gd name="connsiteY1" fmla="*/ 219219 h 516857"/>
                  <a:gd name="connsiteX2" fmla="*/ 515990 w 894857"/>
                  <a:gd name="connsiteY2" fmla="*/ 219219 h 516857"/>
                  <a:gd name="connsiteX3" fmla="*/ 515990 w 894857"/>
                  <a:gd name="connsiteY3" fmla="*/ 297984 h 516857"/>
                  <a:gd name="connsiteX4" fmla="*/ 379479 w 894857"/>
                  <a:gd name="connsiteY4" fmla="*/ 297984 h 516857"/>
                  <a:gd name="connsiteX5" fmla="*/ 270 w 894857"/>
                  <a:gd name="connsiteY5" fmla="*/ 351812 h 516857"/>
                  <a:gd name="connsiteX6" fmla="*/ 286322 w 894857"/>
                  <a:gd name="connsiteY6" fmla="*/ 516969 h 516857"/>
                  <a:gd name="connsiteX7" fmla="*/ 895279 w 894857"/>
                  <a:gd name="connsiteY7" fmla="*/ 165426 h 516857"/>
                  <a:gd name="connsiteX8" fmla="*/ 609187 w 894857"/>
                  <a:gd name="connsiteY8" fmla="*/ 270 h 516857"/>
                  <a:gd name="connsiteX9" fmla="*/ 270 w 894857"/>
                  <a:gd name="connsiteY9" fmla="*/ 351812 h 51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94857" h="516857">
                    <a:moveTo>
                      <a:pt x="379479" y="297984"/>
                    </a:moveTo>
                    <a:cubicBezTo>
                      <a:pt x="341835" y="276250"/>
                      <a:pt x="341835" y="240916"/>
                      <a:pt x="379479" y="219219"/>
                    </a:cubicBezTo>
                    <a:cubicBezTo>
                      <a:pt x="417217" y="197414"/>
                      <a:pt x="478346" y="197414"/>
                      <a:pt x="515990" y="219219"/>
                    </a:cubicBezTo>
                    <a:cubicBezTo>
                      <a:pt x="553670" y="240916"/>
                      <a:pt x="553670" y="276250"/>
                      <a:pt x="515990" y="297984"/>
                    </a:cubicBezTo>
                    <a:cubicBezTo>
                      <a:pt x="478346" y="319789"/>
                      <a:pt x="417217" y="319789"/>
                      <a:pt x="379479" y="297984"/>
                    </a:cubicBezTo>
                    <a:close/>
                    <a:moveTo>
                      <a:pt x="270" y="351812"/>
                    </a:moveTo>
                    <a:lnTo>
                      <a:pt x="286322" y="516969"/>
                    </a:lnTo>
                    <a:lnTo>
                      <a:pt x="895279" y="165426"/>
                    </a:lnTo>
                    <a:lnTo>
                      <a:pt x="609187" y="270"/>
                    </a:lnTo>
                    <a:lnTo>
                      <a:pt x="270" y="351812"/>
                    </a:lnTo>
                  </a:path>
                </a:pathLst>
              </a:custGeom>
              <a:solidFill>
                <a:srgbClr val="FFFFFF"/>
              </a:solidFill>
              <a:ln w="13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15E582A6-59DC-4150-896C-9AFA383888FB}"/>
                  </a:ext>
                </a:extLst>
              </p:cNvPr>
              <p:cNvSpPr/>
              <p:nvPr/>
            </p:nvSpPr>
            <p:spPr>
              <a:xfrm>
                <a:off x="5947558" y="1266191"/>
                <a:ext cx="609429" cy="406286"/>
              </a:xfrm>
              <a:custGeom>
                <a:avLst/>
                <a:gdLst>
                  <a:gd name="connsiteX0" fmla="*/ 257 w 609428"/>
                  <a:gd name="connsiteY0" fmla="*/ 351785 h 406285"/>
                  <a:gd name="connsiteX1" fmla="*/ 257 w 609428"/>
                  <a:gd name="connsiteY1" fmla="*/ 406972 h 406285"/>
                  <a:gd name="connsiteX2" fmla="*/ 609194 w 609428"/>
                  <a:gd name="connsiteY2" fmla="*/ 55444 h 406285"/>
                  <a:gd name="connsiteX3" fmla="*/ 609194 w 609428"/>
                  <a:gd name="connsiteY3" fmla="*/ 257 h 406285"/>
                  <a:gd name="connsiteX4" fmla="*/ 257 w 609428"/>
                  <a:gd name="connsiteY4" fmla="*/ 351785 h 40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428" h="406285">
                    <a:moveTo>
                      <a:pt x="257" y="351785"/>
                    </a:moveTo>
                    <a:lnTo>
                      <a:pt x="257" y="406972"/>
                    </a:lnTo>
                    <a:lnTo>
                      <a:pt x="609194" y="55444"/>
                    </a:lnTo>
                    <a:lnTo>
                      <a:pt x="609194" y="257"/>
                    </a:lnTo>
                    <a:lnTo>
                      <a:pt x="257" y="351785"/>
                    </a:lnTo>
                  </a:path>
                </a:pathLst>
              </a:custGeom>
              <a:solidFill>
                <a:schemeClr val="bg2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0ED86017-1D37-42E9-9D7B-19D7F87A6071}"/>
                  </a:ext>
                </a:extLst>
              </p:cNvPr>
              <p:cNvSpPr/>
              <p:nvPr/>
            </p:nvSpPr>
            <p:spPr>
              <a:xfrm>
                <a:off x="5947551" y="1212594"/>
                <a:ext cx="609429" cy="403714"/>
              </a:xfrm>
              <a:custGeom>
                <a:avLst/>
                <a:gdLst>
                  <a:gd name="connsiteX0" fmla="*/ 260 w 609428"/>
                  <a:gd name="connsiteY0" fmla="*/ 351799 h 403714"/>
                  <a:gd name="connsiteX1" fmla="*/ 260 w 609428"/>
                  <a:gd name="connsiteY1" fmla="*/ 405402 h 403714"/>
                  <a:gd name="connsiteX2" fmla="*/ 609195 w 609428"/>
                  <a:gd name="connsiteY2" fmla="*/ 53863 h 403714"/>
                  <a:gd name="connsiteX3" fmla="*/ 609195 w 609428"/>
                  <a:gd name="connsiteY3" fmla="*/ 260 h 403714"/>
                  <a:gd name="connsiteX4" fmla="*/ 260 w 609428"/>
                  <a:gd name="connsiteY4" fmla="*/ 351799 h 40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428" h="403714">
                    <a:moveTo>
                      <a:pt x="260" y="351799"/>
                    </a:moveTo>
                    <a:lnTo>
                      <a:pt x="260" y="405402"/>
                    </a:lnTo>
                    <a:lnTo>
                      <a:pt x="609195" y="53863"/>
                    </a:lnTo>
                    <a:lnTo>
                      <a:pt x="609195" y="260"/>
                    </a:lnTo>
                    <a:lnTo>
                      <a:pt x="260" y="351799"/>
                    </a:lnTo>
                  </a:path>
                </a:pathLst>
              </a:custGeom>
              <a:solidFill>
                <a:schemeClr val="bg2"/>
              </a:solidFill>
              <a:ln w="1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5E906750-147B-4048-A9A9-46EF99B7486A}"/>
                  </a:ext>
                </a:extLst>
              </p:cNvPr>
              <p:cNvSpPr/>
              <p:nvPr/>
            </p:nvSpPr>
            <p:spPr>
              <a:xfrm>
                <a:off x="5947534" y="1157041"/>
                <a:ext cx="609429" cy="406286"/>
              </a:xfrm>
              <a:custGeom>
                <a:avLst/>
                <a:gdLst>
                  <a:gd name="connsiteX0" fmla="*/ 262 w 609428"/>
                  <a:gd name="connsiteY0" fmla="*/ 351799 h 406285"/>
                  <a:gd name="connsiteX1" fmla="*/ 262 w 609428"/>
                  <a:gd name="connsiteY1" fmla="*/ 407364 h 406285"/>
                  <a:gd name="connsiteX2" fmla="*/ 609204 w 609428"/>
                  <a:gd name="connsiteY2" fmla="*/ 55827 h 406285"/>
                  <a:gd name="connsiteX3" fmla="*/ 609204 w 609428"/>
                  <a:gd name="connsiteY3" fmla="*/ 262 h 406285"/>
                  <a:gd name="connsiteX4" fmla="*/ 262 w 609428"/>
                  <a:gd name="connsiteY4" fmla="*/ 351799 h 40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428" h="406285">
                    <a:moveTo>
                      <a:pt x="262" y="351799"/>
                    </a:moveTo>
                    <a:lnTo>
                      <a:pt x="262" y="407364"/>
                    </a:lnTo>
                    <a:lnTo>
                      <a:pt x="609204" y="55827"/>
                    </a:lnTo>
                    <a:lnTo>
                      <a:pt x="609204" y="262"/>
                    </a:lnTo>
                    <a:lnTo>
                      <a:pt x="262" y="351799"/>
                    </a:lnTo>
                  </a:path>
                </a:pathLst>
              </a:custGeom>
              <a:solidFill>
                <a:schemeClr val="bg2"/>
              </a:solidFill>
              <a:ln w="12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5" name="Freeform: Shape 424">
                <a:extLst>
                  <a:ext uri="{FF2B5EF4-FFF2-40B4-BE49-F238E27FC236}">
                    <a16:creationId xmlns:a16="http://schemas.microsoft.com/office/drawing/2014/main" id="{ADDA9A82-7018-4E6E-8672-3696EB513EB8}"/>
                  </a:ext>
                </a:extLst>
              </p:cNvPr>
              <p:cNvSpPr/>
              <p:nvPr/>
            </p:nvSpPr>
            <p:spPr>
              <a:xfrm>
                <a:off x="6012480" y="1194451"/>
                <a:ext cx="192857" cy="110571"/>
              </a:xfrm>
              <a:custGeom>
                <a:avLst/>
                <a:gdLst>
                  <a:gd name="connsiteX0" fmla="*/ 28497 w 192857"/>
                  <a:gd name="connsiteY0" fmla="*/ 16586 h 110571"/>
                  <a:gd name="connsiteX1" fmla="*/ 28497 w 192857"/>
                  <a:gd name="connsiteY1" fmla="*/ 95380 h 110571"/>
                  <a:gd name="connsiteX2" fmla="*/ 165020 w 192857"/>
                  <a:gd name="connsiteY2" fmla="*/ 95380 h 110571"/>
                  <a:gd name="connsiteX3" fmla="*/ 165020 w 192857"/>
                  <a:gd name="connsiteY3" fmla="*/ 16586 h 110571"/>
                  <a:gd name="connsiteX4" fmla="*/ 28497 w 192857"/>
                  <a:gd name="connsiteY4" fmla="*/ 16586 h 110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857" h="110571">
                    <a:moveTo>
                      <a:pt x="28497" y="16586"/>
                    </a:moveTo>
                    <a:cubicBezTo>
                      <a:pt x="-9151" y="38319"/>
                      <a:pt x="-9151" y="73648"/>
                      <a:pt x="28497" y="95380"/>
                    </a:cubicBezTo>
                    <a:cubicBezTo>
                      <a:pt x="66232" y="117183"/>
                      <a:pt x="127361" y="117183"/>
                      <a:pt x="165020" y="95380"/>
                    </a:cubicBezTo>
                    <a:cubicBezTo>
                      <a:pt x="202678" y="73648"/>
                      <a:pt x="202678" y="38319"/>
                      <a:pt x="165020" y="16586"/>
                    </a:cubicBezTo>
                    <a:cubicBezTo>
                      <a:pt x="127361" y="-5181"/>
                      <a:pt x="66232" y="-5181"/>
                      <a:pt x="28497" y="16586"/>
                    </a:cubicBezTo>
                  </a:path>
                </a:pathLst>
              </a:custGeom>
              <a:solidFill>
                <a:srgbClr val="E4E4EF"/>
              </a:solidFill>
              <a:ln w="1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6" name="Freeform: Shape 425">
                <a:extLst>
                  <a:ext uri="{FF2B5EF4-FFF2-40B4-BE49-F238E27FC236}">
                    <a16:creationId xmlns:a16="http://schemas.microsoft.com/office/drawing/2014/main" id="{EA578ABC-4C85-4788-802C-E2C50D335956}"/>
                  </a:ext>
                </a:extLst>
              </p:cNvPr>
              <p:cNvSpPr/>
              <p:nvPr/>
            </p:nvSpPr>
            <p:spPr>
              <a:xfrm>
                <a:off x="6198461" y="1034663"/>
                <a:ext cx="141429" cy="56571"/>
              </a:xfrm>
              <a:custGeom>
                <a:avLst/>
                <a:gdLst>
                  <a:gd name="connsiteX0" fmla="*/ 10566 w 141428"/>
                  <a:gd name="connsiteY0" fmla="*/ 56458 h 56571"/>
                  <a:gd name="connsiteX1" fmla="*/ 1653 w 141428"/>
                  <a:gd name="connsiteY1" fmla="*/ 51315 h 56571"/>
                  <a:gd name="connsiteX2" fmla="*/ 5422 w 141428"/>
                  <a:gd name="connsiteY2" fmla="*/ 37240 h 56571"/>
                  <a:gd name="connsiteX3" fmla="*/ 67060 w 141428"/>
                  <a:gd name="connsiteY3" fmla="*/ 1661 h 56571"/>
                  <a:gd name="connsiteX4" fmla="*/ 77348 w 141428"/>
                  <a:gd name="connsiteY4" fmla="*/ 1661 h 56571"/>
                  <a:gd name="connsiteX5" fmla="*/ 137861 w 141428"/>
                  <a:gd name="connsiteY5" fmla="*/ 36669 h 56571"/>
                  <a:gd name="connsiteX6" fmla="*/ 141648 w 141428"/>
                  <a:gd name="connsiteY6" fmla="*/ 50707 h 56571"/>
                  <a:gd name="connsiteX7" fmla="*/ 127573 w 141428"/>
                  <a:gd name="connsiteY7" fmla="*/ 54458 h 56571"/>
                  <a:gd name="connsiteX8" fmla="*/ 72204 w 141428"/>
                  <a:gd name="connsiteY8" fmla="*/ 22415 h 56571"/>
                  <a:gd name="connsiteX9" fmla="*/ 15707 w 141428"/>
                  <a:gd name="connsiteY9" fmla="*/ 55065 h 56571"/>
                  <a:gd name="connsiteX10" fmla="*/ 10566 w 141428"/>
                  <a:gd name="connsiteY10" fmla="*/ 56458 h 56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1428" h="56571">
                    <a:moveTo>
                      <a:pt x="10566" y="56458"/>
                    </a:moveTo>
                    <a:cubicBezTo>
                      <a:pt x="7001" y="56458"/>
                      <a:pt x="3536" y="54601"/>
                      <a:pt x="1653" y="51315"/>
                    </a:cubicBezTo>
                    <a:cubicBezTo>
                      <a:pt x="-1194" y="46385"/>
                      <a:pt x="485" y="40098"/>
                      <a:pt x="5422" y="37240"/>
                    </a:cubicBezTo>
                    <a:lnTo>
                      <a:pt x="67060" y="1661"/>
                    </a:lnTo>
                    <a:cubicBezTo>
                      <a:pt x="70239" y="-196"/>
                      <a:pt x="74169" y="-196"/>
                      <a:pt x="77348" y="1661"/>
                    </a:cubicBezTo>
                    <a:lnTo>
                      <a:pt x="137861" y="36669"/>
                    </a:lnTo>
                    <a:cubicBezTo>
                      <a:pt x="142791" y="39490"/>
                      <a:pt x="144470" y="45813"/>
                      <a:pt x="141648" y="50707"/>
                    </a:cubicBezTo>
                    <a:cubicBezTo>
                      <a:pt x="138790" y="55637"/>
                      <a:pt x="132503" y="57316"/>
                      <a:pt x="127573" y="54458"/>
                    </a:cubicBezTo>
                    <a:lnTo>
                      <a:pt x="72204" y="22415"/>
                    </a:lnTo>
                    <a:lnTo>
                      <a:pt x="15707" y="55065"/>
                    </a:lnTo>
                    <a:cubicBezTo>
                      <a:pt x="14063" y="55994"/>
                      <a:pt x="12313" y="56458"/>
                      <a:pt x="10566" y="56458"/>
                    </a:cubicBezTo>
                  </a:path>
                </a:pathLst>
              </a:custGeom>
              <a:solidFill>
                <a:srgbClr val="3A3A3A"/>
              </a:solidFill>
              <a:ln w="13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7" name="Freeform: Shape 426">
                <a:extLst>
                  <a:ext uri="{FF2B5EF4-FFF2-40B4-BE49-F238E27FC236}">
                    <a16:creationId xmlns:a16="http://schemas.microsoft.com/office/drawing/2014/main" id="{ED4C744D-655C-4A94-8D3A-B8A93000AA3B}"/>
                  </a:ext>
                </a:extLst>
              </p:cNvPr>
              <p:cNvSpPr/>
              <p:nvPr/>
            </p:nvSpPr>
            <p:spPr>
              <a:xfrm>
                <a:off x="6392504" y="1111729"/>
                <a:ext cx="82286" cy="90000"/>
              </a:xfrm>
              <a:custGeom>
                <a:avLst/>
                <a:gdLst>
                  <a:gd name="connsiteX0" fmla="*/ 10537 w 82285"/>
                  <a:gd name="connsiteY0" fmla="*/ 91414 h 90000"/>
                  <a:gd name="connsiteX1" fmla="*/ 1653 w 82285"/>
                  <a:gd name="connsiteY1" fmla="*/ 86231 h 90000"/>
                  <a:gd name="connsiteX2" fmla="*/ 5425 w 82285"/>
                  <a:gd name="connsiteY2" fmla="*/ 72200 h 90000"/>
                  <a:gd name="connsiteX3" fmla="*/ 51645 w 82285"/>
                  <a:gd name="connsiteY3" fmla="*/ 45512 h 90000"/>
                  <a:gd name="connsiteX4" fmla="*/ 6518 w 82285"/>
                  <a:gd name="connsiteY4" fmla="*/ 19458 h 90000"/>
                  <a:gd name="connsiteX5" fmla="*/ 2746 w 82285"/>
                  <a:gd name="connsiteY5" fmla="*/ 5391 h 90000"/>
                  <a:gd name="connsiteX6" fmla="*/ 16777 w 82285"/>
                  <a:gd name="connsiteY6" fmla="*/ 1654 h 90000"/>
                  <a:gd name="connsiteX7" fmla="*/ 77346 w 82285"/>
                  <a:gd name="connsiteY7" fmla="*/ 36627 h 90000"/>
                  <a:gd name="connsiteX8" fmla="*/ 82493 w 82285"/>
                  <a:gd name="connsiteY8" fmla="*/ 45547 h 90000"/>
                  <a:gd name="connsiteX9" fmla="*/ 77346 w 82285"/>
                  <a:gd name="connsiteY9" fmla="*/ 54431 h 90000"/>
                  <a:gd name="connsiteX10" fmla="*/ 15684 w 82285"/>
                  <a:gd name="connsiteY10" fmla="*/ 90004 h 90000"/>
                  <a:gd name="connsiteX11" fmla="*/ 10537 w 82285"/>
                  <a:gd name="connsiteY11" fmla="*/ 91414 h 9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2285" h="90000">
                    <a:moveTo>
                      <a:pt x="10537" y="91414"/>
                    </a:moveTo>
                    <a:cubicBezTo>
                      <a:pt x="6976" y="91414"/>
                      <a:pt x="3521" y="89546"/>
                      <a:pt x="1653" y="86231"/>
                    </a:cubicBezTo>
                    <a:cubicBezTo>
                      <a:pt x="-1203" y="81331"/>
                      <a:pt x="489" y="75020"/>
                      <a:pt x="5425" y="72200"/>
                    </a:cubicBezTo>
                    <a:lnTo>
                      <a:pt x="51645" y="45512"/>
                    </a:lnTo>
                    <a:lnTo>
                      <a:pt x="6518" y="19458"/>
                    </a:lnTo>
                    <a:cubicBezTo>
                      <a:pt x="1582" y="16602"/>
                      <a:pt x="-110" y="10327"/>
                      <a:pt x="2746" y="5391"/>
                    </a:cubicBezTo>
                    <a:cubicBezTo>
                      <a:pt x="5566" y="490"/>
                      <a:pt x="11841" y="-1202"/>
                      <a:pt x="16777" y="1654"/>
                    </a:cubicBezTo>
                    <a:lnTo>
                      <a:pt x="77346" y="36627"/>
                    </a:lnTo>
                    <a:cubicBezTo>
                      <a:pt x="80519" y="38460"/>
                      <a:pt x="82493" y="41845"/>
                      <a:pt x="82493" y="45547"/>
                    </a:cubicBezTo>
                    <a:cubicBezTo>
                      <a:pt x="82493" y="49213"/>
                      <a:pt x="80519" y="52598"/>
                      <a:pt x="77346" y="54431"/>
                    </a:cubicBezTo>
                    <a:lnTo>
                      <a:pt x="15684" y="90004"/>
                    </a:lnTo>
                    <a:cubicBezTo>
                      <a:pt x="14062" y="90956"/>
                      <a:pt x="12300" y="91379"/>
                      <a:pt x="10537" y="91414"/>
                    </a:cubicBezTo>
                  </a:path>
                </a:pathLst>
              </a:custGeom>
              <a:solidFill>
                <a:srgbClr val="3A3A3A"/>
              </a:solidFill>
              <a:ln w="13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8" name="Freeform: Shape 427">
                <a:extLst>
                  <a:ext uri="{FF2B5EF4-FFF2-40B4-BE49-F238E27FC236}">
                    <a16:creationId xmlns:a16="http://schemas.microsoft.com/office/drawing/2014/main" id="{15B2A382-ADE7-4848-8624-110C0F88D0B3}"/>
                  </a:ext>
                </a:extLst>
              </p:cNvPr>
              <p:cNvSpPr/>
              <p:nvPr/>
            </p:nvSpPr>
            <p:spPr>
              <a:xfrm>
                <a:off x="5743244" y="1297719"/>
                <a:ext cx="82286" cy="90000"/>
              </a:xfrm>
              <a:custGeom>
                <a:avLst/>
                <a:gdLst>
                  <a:gd name="connsiteX0" fmla="*/ 71060 w 82285"/>
                  <a:gd name="connsiteY0" fmla="*/ 91162 h 90000"/>
                  <a:gd name="connsiteX1" fmla="*/ 65928 w 82285"/>
                  <a:gd name="connsiteY1" fmla="*/ 89790 h 90000"/>
                  <a:gd name="connsiteX2" fmla="*/ 5400 w 82285"/>
                  <a:gd name="connsiteY2" fmla="*/ 54853 h 90000"/>
                  <a:gd name="connsiteX3" fmla="*/ 257 w 82285"/>
                  <a:gd name="connsiteY3" fmla="*/ 45939 h 90000"/>
                  <a:gd name="connsiteX4" fmla="*/ 5403 w 82285"/>
                  <a:gd name="connsiteY4" fmla="*/ 37024 h 90000"/>
                  <a:gd name="connsiteX5" fmla="*/ 66747 w 82285"/>
                  <a:gd name="connsiteY5" fmla="*/ 1641 h 90000"/>
                  <a:gd name="connsiteX6" fmla="*/ 80798 w 82285"/>
                  <a:gd name="connsiteY6" fmla="*/ 5413 h 90000"/>
                  <a:gd name="connsiteX7" fmla="*/ 77026 w 82285"/>
                  <a:gd name="connsiteY7" fmla="*/ 19470 h 90000"/>
                  <a:gd name="connsiteX8" fmla="*/ 31118 w 82285"/>
                  <a:gd name="connsiteY8" fmla="*/ 45939 h 90000"/>
                  <a:gd name="connsiteX9" fmla="*/ 76214 w 82285"/>
                  <a:gd name="connsiteY9" fmla="*/ 71962 h 90000"/>
                  <a:gd name="connsiteX10" fmla="*/ 79975 w 82285"/>
                  <a:gd name="connsiteY10" fmla="*/ 86019 h 90000"/>
                  <a:gd name="connsiteX11" fmla="*/ 71060 w 82285"/>
                  <a:gd name="connsiteY11" fmla="*/ 91162 h 9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2285" h="90000">
                    <a:moveTo>
                      <a:pt x="71060" y="91162"/>
                    </a:moveTo>
                    <a:cubicBezTo>
                      <a:pt x="69315" y="91162"/>
                      <a:pt x="67546" y="90716"/>
                      <a:pt x="65928" y="89790"/>
                    </a:cubicBezTo>
                    <a:lnTo>
                      <a:pt x="5400" y="54853"/>
                    </a:lnTo>
                    <a:cubicBezTo>
                      <a:pt x="2218" y="53001"/>
                      <a:pt x="257" y="49607"/>
                      <a:pt x="257" y="45939"/>
                    </a:cubicBezTo>
                    <a:cubicBezTo>
                      <a:pt x="257" y="42270"/>
                      <a:pt x="2222" y="38876"/>
                      <a:pt x="5403" y="37024"/>
                    </a:cubicBezTo>
                    <a:lnTo>
                      <a:pt x="66747" y="1641"/>
                    </a:lnTo>
                    <a:cubicBezTo>
                      <a:pt x="71668" y="-1204"/>
                      <a:pt x="77966" y="476"/>
                      <a:pt x="80798" y="5413"/>
                    </a:cubicBezTo>
                    <a:cubicBezTo>
                      <a:pt x="83637" y="10316"/>
                      <a:pt x="81950" y="16624"/>
                      <a:pt x="77026" y="19470"/>
                    </a:cubicBezTo>
                    <a:lnTo>
                      <a:pt x="31118" y="45939"/>
                    </a:lnTo>
                    <a:lnTo>
                      <a:pt x="76214" y="71962"/>
                    </a:lnTo>
                    <a:cubicBezTo>
                      <a:pt x="81130" y="74807"/>
                      <a:pt x="82821" y="81116"/>
                      <a:pt x="79975" y="86019"/>
                    </a:cubicBezTo>
                    <a:cubicBezTo>
                      <a:pt x="78072" y="89344"/>
                      <a:pt x="74616" y="91162"/>
                      <a:pt x="71060" y="91162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29" name="Freeform: Shape 428">
                <a:extLst>
                  <a:ext uri="{FF2B5EF4-FFF2-40B4-BE49-F238E27FC236}">
                    <a16:creationId xmlns:a16="http://schemas.microsoft.com/office/drawing/2014/main" id="{871A8DAF-CBE3-4CDC-BFD3-8EA9DD3556FE}"/>
                  </a:ext>
                </a:extLst>
              </p:cNvPr>
              <p:cNvSpPr/>
              <p:nvPr/>
            </p:nvSpPr>
            <p:spPr>
              <a:xfrm>
                <a:off x="5876707" y="1409738"/>
                <a:ext cx="141429" cy="54000"/>
              </a:xfrm>
              <a:custGeom>
                <a:avLst/>
                <a:gdLst>
                  <a:gd name="connsiteX0" fmla="*/ 71103 w 141428"/>
                  <a:gd name="connsiteY0" fmla="*/ 56217 h 54000"/>
                  <a:gd name="connsiteX1" fmla="*/ 65961 w 141428"/>
                  <a:gd name="connsiteY1" fmla="*/ 54845 h 54000"/>
                  <a:gd name="connsiteX2" fmla="*/ 5405 w 141428"/>
                  <a:gd name="connsiteY2" fmla="*/ 19908 h 54000"/>
                  <a:gd name="connsiteX3" fmla="*/ 1637 w 141428"/>
                  <a:gd name="connsiteY3" fmla="*/ 5851 h 54000"/>
                  <a:gd name="connsiteX4" fmla="*/ 15684 w 141428"/>
                  <a:gd name="connsiteY4" fmla="*/ 2080 h 54000"/>
                  <a:gd name="connsiteX5" fmla="*/ 71107 w 141428"/>
                  <a:gd name="connsiteY5" fmla="*/ 34068 h 54000"/>
                  <a:gd name="connsiteX6" fmla="*/ 127342 w 141428"/>
                  <a:gd name="connsiteY6" fmla="*/ 1634 h 54000"/>
                  <a:gd name="connsiteX7" fmla="*/ 141386 w 141428"/>
                  <a:gd name="connsiteY7" fmla="*/ 5405 h 54000"/>
                  <a:gd name="connsiteX8" fmla="*/ 137614 w 141428"/>
                  <a:gd name="connsiteY8" fmla="*/ 19462 h 54000"/>
                  <a:gd name="connsiteX9" fmla="*/ 76239 w 141428"/>
                  <a:gd name="connsiteY9" fmla="*/ 54845 h 54000"/>
                  <a:gd name="connsiteX10" fmla="*/ 71103 w 141428"/>
                  <a:gd name="connsiteY10" fmla="*/ 56217 h 5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1428" h="54000">
                    <a:moveTo>
                      <a:pt x="71103" y="56217"/>
                    </a:moveTo>
                    <a:cubicBezTo>
                      <a:pt x="69331" y="56217"/>
                      <a:pt x="67555" y="55771"/>
                      <a:pt x="65961" y="54845"/>
                    </a:cubicBezTo>
                    <a:lnTo>
                      <a:pt x="5405" y="19908"/>
                    </a:lnTo>
                    <a:cubicBezTo>
                      <a:pt x="485" y="17062"/>
                      <a:pt x="-1205" y="10754"/>
                      <a:pt x="1637" y="5851"/>
                    </a:cubicBezTo>
                    <a:cubicBezTo>
                      <a:pt x="4479" y="948"/>
                      <a:pt x="10778" y="-732"/>
                      <a:pt x="15684" y="2080"/>
                    </a:cubicBezTo>
                    <a:lnTo>
                      <a:pt x="71107" y="34068"/>
                    </a:lnTo>
                    <a:lnTo>
                      <a:pt x="127342" y="1634"/>
                    </a:lnTo>
                    <a:cubicBezTo>
                      <a:pt x="132262" y="-1212"/>
                      <a:pt x="138554" y="503"/>
                      <a:pt x="141386" y="5405"/>
                    </a:cubicBezTo>
                    <a:cubicBezTo>
                      <a:pt x="144224" y="10343"/>
                      <a:pt x="142534" y="16617"/>
                      <a:pt x="137614" y="19462"/>
                    </a:cubicBezTo>
                    <a:lnTo>
                      <a:pt x="76239" y="54845"/>
                    </a:lnTo>
                    <a:cubicBezTo>
                      <a:pt x="74652" y="55771"/>
                      <a:pt x="72879" y="56217"/>
                      <a:pt x="71103" y="56217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0" name="Freeform: Shape 429">
                <a:extLst>
                  <a:ext uri="{FF2B5EF4-FFF2-40B4-BE49-F238E27FC236}">
                    <a16:creationId xmlns:a16="http://schemas.microsoft.com/office/drawing/2014/main" id="{B6AA6670-866D-4873-B968-2F1692726326}"/>
                  </a:ext>
                </a:extLst>
              </p:cNvPr>
              <p:cNvSpPr/>
              <p:nvPr/>
            </p:nvSpPr>
            <p:spPr>
              <a:xfrm>
                <a:off x="6002184" y="1184060"/>
                <a:ext cx="213429" cy="131143"/>
              </a:xfrm>
              <a:custGeom>
                <a:avLst/>
                <a:gdLst>
                  <a:gd name="connsiteX0" fmla="*/ 107067 w 213428"/>
                  <a:gd name="connsiteY0" fmla="*/ 20825 h 131142"/>
                  <a:gd name="connsiteX1" fmla="*/ 43925 w 213428"/>
                  <a:gd name="connsiteY1" fmla="*/ 35911 h 131142"/>
                  <a:gd name="connsiteX2" fmla="*/ 20834 w 213428"/>
                  <a:gd name="connsiteY2" fmla="*/ 66395 h 131142"/>
                  <a:gd name="connsiteX3" fmla="*/ 43925 w 213428"/>
                  <a:gd name="connsiteY3" fmla="*/ 96879 h 131142"/>
                  <a:gd name="connsiteX4" fmla="*/ 43925 w 213428"/>
                  <a:gd name="connsiteY4" fmla="*/ 96879 h 131142"/>
                  <a:gd name="connsiteX5" fmla="*/ 170116 w 213428"/>
                  <a:gd name="connsiteY5" fmla="*/ 96879 h 131142"/>
                  <a:gd name="connsiteX6" fmla="*/ 193249 w 213428"/>
                  <a:gd name="connsiteY6" fmla="*/ 66395 h 131142"/>
                  <a:gd name="connsiteX7" fmla="*/ 170150 w 213428"/>
                  <a:gd name="connsiteY7" fmla="*/ 35911 h 131142"/>
                  <a:gd name="connsiteX8" fmla="*/ 107067 w 213428"/>
                  <a:gd name="connsiteY8" fmla="*/ 20825 h 131142"/>
                  <a:gd name="connsiteX9" fmla="*/ 107067 w 213428"/>
                  <a:gd name="connsiteY9" fmla="*/ 132554 h 131142"/>
                  <a:gd name="connsiteX10" fmla="*/ 33644 w 213428"/>
                  <a:gd name="connsiteY10" fmla="*/ 114682 h 131142"/>
                  <a:gd name="connsiteX11" fmla="*/ 261 w 213428"/>
                  <a:gd name="connsiteY11" fmla="*/ 66395 h 131142"/>
                  <a:gd name="connsiteX12" fmla="*/ 33644 w 213428"/>
                  <a:gd name="connsiteY12" fmla="*/ 18108 h 131142"/>
                  <a:gd name="connsiteX13" fmla="*/ 180428 w 213428"/>
                  <a:gd name="connsiteY13" fmla="*/ 18108 h 131142"/>
                  <a:gd name="connsiteX14" fmla="*/ 213839 w 213428"/>
                  <a:gd name="connsiteY14" fmla="*/ 66395 h 131142"/>
                  <a:gd name="connsiteX15" fmla="*/ 180428 w 213428"/>
                  <a:gd name="connsiteY15" fmla="*/ 114682 h 131142"/>
                  <a:gd name="connsiteX16" fmla="*/ 107067 w 213428"/>
                  <a:gd name="connsiteY16" fmla="*/ 132554 h 13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3428" h="131142">
                    <a:moveTo>
                      <a:pt x="107067" y="20825"/>
                    </a:moveTo>
                    <a:cubicBezTo>
                      <a:pt x="84213" y="20825"/>
                      <a:pt x="61345" y="25877"/>
                      <a:pt x="43925" y="35911"/>
                    </a:cubicBezTo>
                    <a:cubicBezTo>
                      <a:pt x="29031" y="44516"/>
                      <a:pt x="20834" y="55316"/>
                      <a:pt x="20834" y="66395"/>
                    </a:cubicBezTo>
                    <a:cubicBezTo>
                      <a:pt x="20834" y="77438"/>
                      <a:pt x="29035" y="88274"/>
                      <a:pt x="43925" y="96879"/>
                    </a:cubicBezTo>
                    <a:lnTo>
                      <a:pt x="43925" y="96879"/>
                    </a:lnTo>
                    <a:cubicBezTo>
                      <a:pt x="78768" y="117016"/>
                      <a:pt x="135385" y="117016"/>
                      <a:pt x="170116" y="96879"/>
                    </a:cubicBezTo>
                    <a:cubicBezTo>
                      <a:pt x="185062" y="88274"/>
                      <a:pt x="193249" y="77438"/>
                      <a:pt x="193249" y="66395"/>
                    </a:cubicBezTo>
                    <a:cubicBezTo>
                      <a:pt x="193249" y="55351"/>
                      <a:pt x="185062" y="44516"/>
                      <a:pt x="170150" y="35911"/>
                    </a:cubicBezTo>
                    <a:cubicBezTo>
                      <a:pt x="152766" y="25877"/>
                      <a:pt x="129936" y="20825"/>
                      <a:pt x="107067" y="20825"/>
                    </a:cubicBezTo>
                    <a:close/>
                    <a:moveTo>
                      <a:pt x="107067" y="132554"/>
                    </a:moveTo>
                    <a:cubicBezTo>
                      <a:pt x="80666" y="132554"/>
                      <a:pt x="54251" y="126597"/>
                      <a:pt x="33644" y="114682"/>
                    </a:cubicBezTo>
                    <a:cubicBezTo>
                      <a:pt x="12121" y="102244"/>
                      <a:pt x="261" y="85103"/>
                      <a:pt x="261" y="66395"/>
                    </a:cubicBezTo>
                    <a:cubicBezTo>
                      <a:pt x="261" y="47686"/>
                      <a:pt x="12117" y="30510"/>
                      <a:pt x="33644" y="18108"/>
                    </a:cubicBezTo>
                    <a:cubicBezTo>
                      <a:pt x="74852" y="-5687"/>
                      <a:pt x="139328" y="-5687"/>
                      <a:pt x="180428" y="18108"/>
                    </a:cubicBezTo>
                    <a:cubicBezTo>
                      <a:pt x="201959" y="30510"/>
                      <a:pt x="213839" y="47686"/>
                      <a:pt x="213839" y="66395"/>
                    </a:cubicBezTo>
                    <a:cubicBezTo>
                      <a:pt x="213839" y="85103"/>
                      <a:pt x="201959" y="102279"/>
                      <a:pt x="180428" y="114682"/>
                    </a:cubicBezTo>
                    <a:cubicBezTo>
                      <a:pt x="159873" y="126597"/>
                      <a:pt x="133500" y="132554"/>
                      <a:pt x="107067" y="132554"/>
                    </a:cubicBezTo>
                  </a:path>
                </a:pathLst>
              </a:custGeom>
              <a:solidFill>
                <a:srgbClr val="3A3A3A"/>
              </a:solidFill>
              <a:ln w="12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1" name="Freeform: Shape 430">
                <a:extLst>
                  <a:ext uri="{FF2B5EF4-FFF2-40B4-BE49-F238E27FC236}">
                    <a16:creationId xmlns:a16="http://schemas.microsoft.com/office/drawing/2014/main" id="{41B67F6F-4F11-4E2A-9E2C-97230735D68F}"/>
                  </a:ext>
                </a:extLst>
              </p:cNvPr>
              <p:cNvSpPr/>
              <p:nvPr/>
            </p:nvSpPr>
            <p:spPr>
              <a:xfrm>
                <a:off x="5651205" y="981564"/>
                <a:ext cx="915429" cy="537429"/>
              </a:xfrm>
              <a:custGeom>
                <a:avLst/>
                <a:gdLst>
                  <a:gd name="connsiteX0" fmla="*/ 31127 w 915428"/>
                  <a:gd name="connsiteY0" fmla="*/ 362090 h 537428"/>
                  <a:gd name="connsiteX1" fmla="*/ 296604 w 915428"/>
                  <a:gd name="connsiteY1" fmla="*/ 515364 h 537428"/>
                  <a:gd name="connsiteX2" fmla="*/ 884970 w 915428"/>
                  <a:gd name="connsiteY2" fmla="*/ 175723 h 537428"/>
                  <a:gd name="connsiteX3" fmla="*/ 619461 w 915428"/>
                  <a:gd name="connsiteY3" fmla="*/ 22449 h 537428"/>
                  <a:gd name="connsiteX4" fmla="*/ 296604 w 915428"/>
                  <a:gd name="connsiteY4" fmla="*/ 537534 h 537428"/>
                  <a:gd name="connsiteX5" fmla="*/ 291463 w 915428"/>
                  <a:gd name="connsiteY5" fmla="*/ 536164 h 537428"/>
                  <a:gd name="connsiteX6" fmla="*/ 5411 w 915428"/>
                  <a:gd name="connsiteY6" fmla="*/ 370994 h 537428"/>
                  <a:gd name="connsiteX7" fmla="*/ 270 w 915428"/>
                  <a:gd name="connsiteY7" fmla="*/ 362090 h 537428"/>
                  <a:gd name="connsiteX8" fmla="*/ 5411 w 915428"/>
                  <a:gd name="connsiteY8" fmla="*/ 353186 h 537428"/>
                  <a:gd name="connsiteX9" fmla="*/ 614321 w 915428"/>
                  <a:gd name="connsiteY9" fmla="*/ 1649 h 537428"/>
                  <a:gd name="connsiteX10" fmla="*/ 624598 w 915428"/>
                  <a:gd name="connsiteY10" fmla="*/ 1649 h 537428"/>
                  <a:gd name="connsiteX11" fmla="*/ 910672 w 915428"/>
                  <a:gd name="connsiteY11" fmla="*/ 166820 h 537428"/>
                  <a:gd name="connsiteX12" fmla="*/ 915827 w 915428"/>
                  <a:gd name="connsiteY12" fmla="*/ 175723 h 537428"/>
                  <a:gd name="connsiteX13" fmla="*/ 910672 w 915428"/>
                  <a:gd name="connsiteY13" fmla="*/ 184627 h 537428"/>
                  <a:gd name="connsiteX14" fmla="*/ 301748 w 915428"/>
                  <a:gd name="connsiteY14" fmla="*/ 536164 h 537428"/>
                  <a:gd name="connsiteX15" fmla="*/ 296604 w 915428"/>
                  <a:gd name="connsiteY15" fmla="*/ 537534 h 53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15428" h="537428">
                    <a:moveTo>
                      <a:pt x="31127" y="362090"/>
                    </a:moveTo>
                    <a:lnTo>
                      <a:pt x="296604" y="515364"/>
                    </a:lnTo>
                    <a:lnTo>
                      <a:pt x="884970" y="175723"/>
                    </a:lnTo>
                    <a:lnTo>
                      <a:pt x="619461" y="22449"/>
                    </a:lnTo>
                    <a:close/>
                    <a:moveTo>
                      <a:pt x="296604" y="537534"/>
                    </a:moveTo>
                    <a:cubicBezTo>
                      <a:pt x="294830" y="537534"/>
                      <a:pt x="293053" y="537065"/>
                      <a:pt x="291463" y="536164"/>
                    </a:cubicBezTo>
                    <a:lnTo>
                      <a:pt x="5411" y="370994"/>
                    </a:lnTo>
                    <a:cubicBezTo>
                      <a:pt x="2232" y="369155"/>
                      <a:pt x="270" y="365767"/>
                      <a:pt x="270" y="362090"/>
                    </a:cubicBezTo>
                    <a:cubicBezTo>
                      <a:pt x="270" y="358413"/>
                      <a:pt x="2232" y="355025"/>
                      <a:pt x="5411" y="353186"/>
                    </a:cubicBezTo>
                    <a:lnTo>
                      <a:pt x="614321" y="1649"/>
                    </a:lnTo>
                    <a:cubicBezTo>
                      <a:pt x="617507" y="-189"/>
                      <a:pt x="621426" y="-189"/>
                      <a:pt x="624598" y="1649"/>
                    </a:cubicBezTo>
                    <a:lnTo>
                      <a:pt x="910672" y="166820"/>
                    </a:lnTo>
                    <a:cubicBezTo>
                      <a:pt x="913880" y="168658"/>
                      <a:pt x="915827" y="172046"/>
                      <a:pt x="915827" y="175723"/>
                    </a:cubicBezTo>
                    <a:cubicBezTo>
                      <a:pt x="915827" y="179400"/>
                      <a:pt x="913880" y="182789"/>
                      <a:pt x="910672" y="184627"/>
                    </a:cubicBezTo>
                    <a:lnTo>
                      <a:pt x="301748" y="536164"/>
                    </a:lnTo>
                    <a:cubicBezTo>
                      <a:pt x="300158" y="537065"/>
                      <a:pt x="298381" y="537534"/>
                      <a:pt x="296604" y="537534"/>
                    </a:cubicBezTo>
                  </a:path>
                </a:pathLst>
              </a:custGeom>
              <a:solidFill>
                <a:srgbClr val="3A3A3A"/>
              </a:solidFill>
              <a:ln w="13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2" name="Freeform: Shape 431">
                <a:extLst>
                  <a:ext uri="{FF2B5EF4-FFF2-40B4-BE49-F238E27FC236}">
                    <a16:creationId xmlns:a16="http://schemas.microsoft.com/office/drawing/2014/main" id="{506FBE89-04A6-4932-9A43-002E0265BD89}"/>
                  </a:ext>
                </a:extLst>
              </p:cNvPr>
              <p:cNvSpPr/>
              <p:nvPr/>
            </p:nvSpPr>
            <p:spPr>
              <a:xfrm>
                <a:off x="5651198" y="1146757"/>
                <a:ext cx="915429" cy="534857"/>
              </a:xfrm>
              <a:custGeom>
                <a:avLst/>
                <a:gdLst>
                  <a:gd name="connsiteX0" fmla="*/ 296597 w 915428"/>
                  <a:gd name="connsiteY0" fmla="*/ 536734 h 534857"/>
                  <a:gd name="connsiteX1" fmla="*/ 291455 w 915428"/>
                  <a:gd name="connsiteY1" fmla="*/ 535368 h 534857"/>
                  <a:gd name="connsiteX2" fmla="*/ 5405 w 915428"/>
                  <a:gd name="connsiteY2" fmla="*/ 370195 h 534857"/>
                  <a:gd name="connsiteX3" fmla="*/ 263 w 915428"/>
                  <a:gd name="connsiteY3" fmla="*/ 361297 h 534857"/>
                  <a:gd name="connsiteX4" fmla="*/ 263 w 915428"/>
                  <a:gd name="connsiteY4" fmla="*/ 196929 h 534857"/>
                  <a:gd name="connsiteX5" fmla="*/ 10548 w 915428"/>
                  <a:gd name="connsiteY5" fmla="*/ 186630 h 534857"/>
                  <a:gd name="connsiteX6" fmla="*/ 20833 w 915428"/>
                  <a:gd name="connsiteY6" fmla="*/ 196929 h 534857"/>
                  <a:gd name="connsiteX7" fmla="*/ 20833 w 915428"/>
                  <a:gd name="connsiteY7" fmla="*/ 355341 h 534857"/>
                  <a:gd name="connsiteX8" fmla="*/ 296597 w 915428"/>
                  <a:gd name="connsiteY8" fmla="*/ 514559 h 534857"/>
                  <a:gd name="connsiteX9" fmla="*/ 895253 w 915428"/>
                  <a:gd name="connsiteY9" fmla="*/ 168974 h 534857"/>
                  <a:gd name="connsiteX10" fmla="*/ 895253 w 915428"/>
                  <a:gd name="connsiteY10" fmla="*/ 10562 h 534857"/>
                  <a:gd name="connsiteX11" fmla="*/ 905517 w 915428"/>
                  <a:gd name="connsiteY11" fmla="*/ 263 h 534857"/>
                  <a:gd name="connsiteX12" fmla="*/ 915816 w 915428"/>
                  <a:gd name="connsiteY12" fmla="*/ 10562 h 534857"/>
                  <a:gd name="connsiteX13" fmla="*/ 915816 w 915428"/>
                  <a:gd name="connsiteY13" fmla="*/ 174929 h 534857"/>
                  <a:gd name="connsiteX14" fmla="*/ 910667 w 915428"/>
                  <a:gd name="connsiteY14" fmla="*/ 183827 h 534857"/>
                  <a:gd name="connsiteX15" fmla="*/ 301740 w 915428"/>
                  <a:gd name="connsiteY15" fmla="*/ 535368 h 534857"/>
                  <a:gd name="connsiteX16" fmla="*/ 296597 w 915428"/>
                  <a:gd name="connsiteY16" fmla="*/ 536734 h 534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15428" h="534857">
                    <a:moveTo>
                      <a:pt x="296597" y="536734"/>
                    </a:moveTo>
                    <a:cubicBezTo>
                      <a:pt x="294825" y="536734"/>
                      <a:pt x="293045" y="536279"/>
                      <a:pt x="291455" y="535368"/>
                    </a:cubicBezTo>
                    <a:lnTo>
                      <a:pt x="5405" y="370195"/>
                    </a:lnTo>
                    <a:cubicBezTo>
                      <a:pt x="2225" y="368373"/>
                      <a:pt x="263" y="364975"/>
                      <a:pt x="263" y="361297"/>
                    </a:cubicBezTo>
                    <a:lnTo>
                      <a:pt x="263" y="196929"/>
                    </a:lnTo>
                    <a:cubicBezTo>
                      <a:pt x="263" y="191254"/>
                      <a:pt x="4866" y="186630"/>
                      <a:pt x="10548" y="186630"/>
                    </a:cubicBezTo>
                    <a:cubicBezTo>
                      <a:pt x="16230" y="186630"/>
                      <a:pt x="20833" y="191254"/>
                      <a:pt x="20833" y="196929"/>
                    </a:cubicBezTo>
                    <a:lnTo>
                      <a:pt x="20833" y="355341"/>
                    </a:lnTo>
                    <a:lnTo>
                      <a:pt x="296597" y="514559"/>
                    </a:lnTo>
                    <a:lnTo>
                      <a:pt x="895253" y="168974"/>
                    </a:lnTo>
                    <a:lnTo>
                      <a:pt x="895253" y="10562"/>
                    </a:lnTo>
                    <a:cubicBezTo>
                      <a:pt x="895253" y="4852"/>
                      <a:pt x="899842" y="263"/>
                      <a:pt x="905517" y="263"/>
                    </a:cubicBezTo>
                    <a:cubicBezTo>
                      <a:pt x="911192" y="263"/>
                      <a:pt x="915816" y="4852"/>
                      <a:pt x="915816" y="10562"/>
                    </a:cubicBezTo>
                    <a:lnTo>
                      <a:pt x="915816" y="174929"/>
                    </a:lnTo>
                    <a:cubicBezTo>
                      <a:pt x="915816" y="178608"/>
                      <a:pt x="913854" y="182006"/>
                      <a:pt x="910667" y="183827"/>
                    </a:cubicBezTo>
                    <a:lnTo>
                      <a:pt x="301740" y="535368"/>
                    </a:lnTo>
                    <a:cubicBezTo>
                      <a:pt x="300149" y="536279"/>
                      <a:pt x="298373" y="536734"/>
                      <a:pt x="296597" y="536734"/>
                    </a:cubicBezTo>
                  </a:path>
                </a:pathLst>
              </a:custGeom>
              <a:solidFill>
                <a:srgbClr val="3A3A3A"/>
              </a:solidFill>
              <a:ln w="12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92A5A058-79DB-4194-B248-D43164886C80}"/>
                  </a:ext>
                </a:extLst>
              </p:cNvPr>
              <p:cNvSpPr/>
              <p:nvPr/>
            </p:nvSpPr>
            <p:spPr>
              <a:xfrm>
                <a:off x="5651213" y="1255908"/>
                <a:ext cx="915429" cy="370286"/>
              </a:xfrm>
              <a:custGeom>
                <a:avLst/>
                <a:gdLst>
                  <a:gd name="connsiteX0" fmla="*/ 296598 w 915428"/>
                  <a:gd name="connsiteY0" fmla="*/ 372345 h 370285"/>
                  <a:gd name="connsiteX1" fmla="*/ 291452 w 915428"/>
                  <a:gd name="connsiteY1" fmla="*/ 370971 h 370285"/>
                  <a:gd name="connsiteX2" fmla="*/ 5402 w 915428"/>
                  <a:gd name="connsiteY2" fmla="*/ 205819 h 370285"/>
                  <a:gd name="connsiteX3" fmla="*/ 1639 w 915428"/>
                  <a:gd name="connsiteY3" fmla="*/ 191762 h 370285"/>
                  <a:gd name="connsiteX4" fmla="*/ 15689 w 915428"/>
                  <a:gd name="connsiteY4" fmla="*/ 188015 h 370285"/>
                  <a:gd name="connsiteX5" fmla="*/ 296598 w 915428"/>
                  <a:gd name="connsiteY5" fmla="*/ 350211 h 370285"/>
                  <a:gd name="connsiteX6" fmla="*/ 900402 w 915428"/>
                  <a:gd name="connsiteY6" fmla="*/ 1623 h 370285"/>
                  <a:gd name="connsiteX7" fmla="*/ 914460 w 915428"/>
                  <a:gd name="connsiteY7" fmla="*/ 5404 h 370285"/>
                  <a:gd name="connsiteX8" fmla="*/ 910679 w 915428"/>
                  <a:gd name="connsiteY8" fmla="*/ 19461 h 370285"/>
                  <a:gd name="connsiteX9" fmla="*/ 301740 w 915428"/>
                  <a:gd name="connsiteY9" fmla="*/ 370971 h 370285"/>
                  <a:gd name="connsiteX10" fmla="*/ 296598 w 915428"/>
                  <a:gd name="connsiteY10" fmla="*/ 372345 h 37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15428" h="370285">
                    <a:moveTo>
                      <a:pt x="296598" y="372345"/>
                    </a:moveTo>
                    <a:cubicBezTo>
                      <a:pt x="294824" y="372345"/>
                      <a:pt x="293044" y="371899"/>
                      <a:pt x="291452" y="370971"/>
                    </a:cubicBezTo>
                    <a:lnTo>
                      <a:pt x="5402" y="205819"/>
                    </a:lnTo>
                    <a:cubicBezTo>
                      <a:pt x="484" y="203001"/>
                      <a:pt x="-1204" y="196711"/>
                      <a:pt x="1639" y="191762"/>
                    </a:cubicBezTo>
                    <a:cubicBezTo>
                      <a:pt x="4478" y="186847"/>
                      <a:pt x="10774" y="185163"/>
                      <a:pt x="15689" y="188015"/>
                    </a:cubicBezTo>
                    <a:lnTo>
                      <a:pt x="296598" y="350211"/>
                    </a:lnTo>
                    <a:lnTo>
                      <a:pt x="900402" y="1623"/>
                    </a:lnTo>
                    <a:cubicBezTo>
                      <a:pt x="905283" y="-1196"/>
                      <a:pt x="911607" y="489"/>
                      <a:pt x="914460" y="5404"/>
                    </a:cubicBezTo>
                    <a:cubicBezTo>
                      <a:pt x="917244" y="10318"/>
                      <a:pt x="915594" y="16608"/>
                      <a:pt x="910679" y="19461"/>
                    </a:cubicBezTo>
                    <a:lnTo>
                      <a:pt x="301740" y="370971"/>
                    </a:lnTo>
                    <a:cubicBezTo>
                      <a:pt x="300149" y="371899"/>
                      <a:pt x="298371" y="372345"/>
                      <a:pt x="296598" y="372345"/>
                    </a:cubicBezTo>
                  </a:path>
                </a:pathLst>
              </a:custGeom>
              <a:solidFill>
                <a:srgbClr val="3A3A3A"/>
              </a:solidFill>
              <a:ln w="12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4" name="Freeform: Shape 433">
                <a:extLst>
                  <a:ext uri="{FF2B5EF4-FFF2-40B4-BE49-F238E27FC236}">
                    <a16:creationId xmlns:a16="http://schemas.microsoft.com/office/drawing/2014/main" id="{6F991F38-DE90-429D-AA90-F800CA8256C8}"/>
                  </a:ext>
                </a:extLst>
              </p:cNvPr>
              <p:cNvSpPr/>
              <p:nvPr/>
            </p:nvSpPr>
            <p:spPr>
              <a:xfrm>
                <a:off x="5651210" y="1202315"/>
                <a:ext cx="915429" cy="370286"/>
              </a:xfrm>
              <a:custGeom>
                <a:avLst/>
                <a:gdLst>
                  <a:gd name="connsiteX0" fmla="*/ 296598 w 915428"/>
                  <a:gd name="connsiteY0" fmla="*/ 372344 h 370285"/>
                  <a:gd name="connsiteX1" fmla="*/ 291455 w 915428"/>
                  <a:gd name="connsiteY1" fmla="*/ 370990 h 370285"/>
                  <a:gd name="connsiteX2" fmla="*/ 5406 w 915428"/>
                  <a:gd name="connsiteY2" fmla="*/ 205820 h 370285"/>
                  <a:gd name="connsiteX3" fmla="*/ 1641 w 915428"/>
                  <a:gd name="connsiteY3" fmla="*/ 191767 h 370285"/>
                  <a:gd name="connsiteX4" fmla="*/ 15691 w 915428"/>
                  <a:gd name="connsiteY4" fmla="*/ 188020 h 370285"/>
                  <a:gd name="connsiteX5" fmla="*/ 296598 w 915428"/>
                  <a:gd name="connsiteY5" fmla="*/ 350205 h 370285"/>
                  <a:gd name="connsiteX6" fmla="*/ 900404 w 915428"/>
                  <a:gd name="connsiteY6" fmla="*/ 1648 h 370285"/>
                  <a:gd name="connsiteX7" fmla="*/ 914457 w 915428"/>
                  <a:gd name="connsiteY7" fmla="*/ 5396 h 370285"/>
                  <a:gd name="connsiteX8" fmla="*/ 910675 w 915428"/>
                  <a:gd name="connsiteY8" fmla="*/ 19449 h 370285"/>
                  <a:gd name="connsiteX9" fmla="*/ 301740 w 915428"/>
                  <a:gd name="connsiteY9" fmla="*/ 370990 h 370285"/>
                  <a:gd name="connsiteX10" fmla="*/ 296598 w 915428"/>
                  <a:gd name="connsiteY10" fmla="*/ 372344 h 37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15428" h="370285">
                    <a:moveTo>
                      <a:pt x="296598" y="372344"/>
                    </a:moveTo>
                    <a:cubicBezTo>
                      <a:pt x="294824" y="372344"/>
                      <a:pt x="293044" y="371893"/>
                      <a:pt x="291455" y="370990"/>
                    </a:cubicBezTo>
                    <a:lnTo>
                      <a:pt x="5406" y="205820"/>
                    </a:lnTo>
                    <a:cubicBezTo>
                      <a:pt x="485" y="202975"/>
                      <a:pt x="-1201" y="196694"/>
                      <a:pt x="1641" y="191767"/>
                    </a:cubicBezTo>
                    <a:cubicBezTo>
                      <a:pt x="4479" y="186874"/>
                      <a:pt x="10774" y="185174"/>
                      <a:pt x="15691" y="188020"/>
                    </a:cubicBezTo>
                    <a:lnTo>
                      <a:pt x="296598" y="350205"/>
                    </a:lnTo>
                    <a:lnTo>
                      <a:pt x="900404" y="1648"/>
                    </a:lnTo>
                    <a:cubicBezTo>
                      <a:pt x="905297" y="-1197"/>
                      <a:pt x="911612" y="468"/>
                      <a:pt x="914457" y="5396"/>
                    </a:cubicBezTo>
                    <a:cubicBezTo>
                      <a:pt x="917268" y="10323"/>
                      <a:pt x="915568" y="16604"/>
                      <a:pt x="910675" y="19449"/>
                    </a:cubicBezTo>
                    <a:lnTo>
                      <a:pt x="301740" y="370990"/>
                    </a:lnTo>
                    <a:cubicBezTo>
                      <a:pt x="300147" y="371893"/>
                      <a:pt x="298374" y="372344"/>
                      <a:pt x="296598" y="372344"/>
                    </a:cubicBezTo>
                  </a:path>
                </a:pathLst>
              </a:custGeom>
              <a:solidFill>
                <a:srgbClr val="3A3A3A"/>
              </a:solidFill>
              <a:ln w="12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92260CB1-A05D-412A-9D61-55971D74C1B4}"/>
                  </a:ext>
                </a:extLst>
              </p:cNvPr>
              <p:cNvSpPr/>
              <p:nvPr/>
            </p:nvSpPr>
            <p:spPr>
              <a:xfrm>
                <a:off x="5937267" y="1498269"/>
                <a:ext cx="20571" cy="185143"/>
              </a:xfrm>
              <a:custGeom>
                <a:avLst/>
                <a:gdLst>
                  <a:gd name="connsiteX0" fmla="*/ 10543 w 20571"/>
                  <a:gd name="connsiteY0" fmla="*/ 185194 h 185142"/>
                  <a:gd name="connsiteX1" fmla="*/ 257 w 20571"/>
                  <a:gd name="connsiteY1" fmla="*/ 174908 h 185142"/>
                  <a:gd name="connsiteX2" fmla="*/ 257 w 20571"/>
                  <a:gd name="connsiteY2" fmla="*/ 10543 h 185142"/>
                  <a:gd name="connsiteX3" fmla="*/ 10543 w 20571"/>
                  <a:gd name="connsiteY3" fmla="*/ 257 h 185142"/>
                  <a:gd name="connsiteX4" fmla="*/ 20829 w 20571"/>
                  <a:gd name="connsiteY4" fmla="*/ 10543 h 185142"/>
                  <a:gd name="connsiteX5" fmla="*/ 20829 w 20571"/>
                  <a:gd name="connsiteY5" fmla="*/ 174908 h 185142"/>
                  <a:gd name="connsiteX6" fmla="*/ 10543 w 20571"/>
                  <a:gd name="connsiteY6" fmla="*/ 185194 h 185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571" h="185142">
                    <a:moveTo>
                      <a:pt x="10543" y="185194"/>
                    </a:moveTo>
                    <a:cubicBezTo>
                      <a:pt x="4862" y="185194"/>
                      <a:pt x="257" y="180600"/>
                      <a:pt x="257" y="174908"/>
                    </a:cubicBezTo>
                    <a:lnTo>
                      <a:pt x="257" y="10543"/>
                    </a:lnTo>
                    <a:cubicBezTo>
                      <a:pt x="257" y="4851"/>
                      <a:pt x="4862" y="257"/>
                      <a:pt x="10543" y="257"/>
                    </a:cubicBezTo>
                    <a:cubicBezTo>
                      <a:pt x="16227" y="257"/>
                      <a:pt x="20829" y="4851"/>
                      <a:pt x="20829" y="10543"/>
                    </a:cubicBezTo>
                    <a:lnTo>
                      <a:pt x="20829" y="174908"/>
                    </a:lnTo>
                    <a:cubicBezTo>
                      <a:pt x="20829" y="180600"/>
                      <a:pt x="16227" y="185194"/>
                      <a:pt x="10543" y="185194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6" name="Freeform: Shape 435">
                <a:extLst>
                  <a:ext uri="{FF2B5EF4-FFF2-40B4-BE49-F238E27FC236}">
                    <a16:creationId xmlns:a16="http://schemas.microsoft.com/office/drawing/2014/main" id="{B9621905-5E9E-47EE-954E-D52A66897483}"/>
                  </a:ext>
                </a:extLst>
              </p:cNvPr>
              <p:cNvSpPr/>
              <p:nvPr/>
            </p:nvSpPr>
            <p:spPr>
              <a:xfrm>
                <a:off x="6242331" y="1573869"/>
                <a:ext cx="213429" cy="149143"/>
              </a:xfrm>
              <a:custGeom>
                <a:avLst/>
                <a:gdLst>
                  <a:gd name="connsiteX0" fmla="*/ 214817 w 213428"/>
                  <a:gd name="connsiteY0" fmla="*/ 257 h 149142"/>
                  <a:gd name="connsiteX1" fmla="*/ 214817 w 213428"/>
                  <a:gd name="connsiteY1" fmla="*/ 87926 h 149142"/>
                  <a:gd name="connsiteX2" fmla="*/ 183377 w 213428"/>
                  <a:gd name="connsiteY2" fmla="*/ 131708 h 149142"/>
                  <a:gd name="connsiteX3" fmla="*/ 31663 w 213428"/>
                  <a:gd name="connsiteY3" fmla="*/ 131708 h 149142"/>
                  <a:gd name="connsiteX4" fmla="*/ 257 w 213428"/>
                  <a:gd name="connsiteY4" fmla="*/ 87926 h 149142"/>
                  <a:gd name="connsiteX5" fmla="*/ 257 w 213428"/>
                  <a:gd name="connsiteY5" fmla="*/ 257 h 149142"/>
                  <a:gd name="connsiteX6" fmla="*/ 31663 w 213428"/>
                  <a:gd name="connsiteY6" fmla="*/ 44074 h 149142"/>
                  <a:gd name="connsiteX7" fmla="*/ 183377 w 213428"/>
                  <a:gd name="connsiteY7" fmla="*/ 44074 h 149142"/>
                  <a:gd name="connsiteX8" fmla="*/ 214817 w 213428"/>
                  <a:gd name="connsiteY8" fmla="*/ 257 h 149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428" h="149142">
                    <a:moveTo>
                      <a:pt x="214817" y="257"/>
                    </a:moveTo>
                    <a:lnTo>
                      <a:pt x="214817" y="87926"/>
                    </a:lnTo>
                    <a:cubicBezTo>
                      <a:pt x="214817" y="103766"/>
                      <a:pt x="204360" y="119640"/>
                      <a:pt x="183377" y="131708"/>
                    </a:cubicBezTo>
                    <a:cubicBezTo>
                      <a:pt x="141480" y="155914"/>
                      <a:pt x="73560" y="155914"/>
                      <a:pt x="31663" y="131708"/>
                    </a:cubicBezTo>
                    <a:cubicBezTo>
                      <a:pt x="10749" y="119640"/>
                      <a:pt x="257" y="103766"/>
                      <a:pt x="257" y="87926"/>
                    </a:cubicBezTo>
                    <a:lnTo>
                      <a:pt x="257" y="257"/>
                    </a:lnTo>
                    <a:cubicBezTo>
                      <a:pt x="257" y="16097"/>
                      <a:pt x="10749" y="31937"/>
                      <a:pt x="31663" y="44074"/>
                    </a:cubicBezTo>
                    <a:cubicBezTo>
                      <a:pt x="73560" y="68211"/>
                      <a:pt x="141480" y="68211"/>
                      <a:pt x="183377" y="44074"/>
                    </a:cubicBezTo>
                    <a:cubicBezTo>
                      <a:pt x="204360" y="31937"/>
                      <a:pt x="214817" y="16097"/>
                      <a:pt x="214817" y="257"/>
                    </a:cubicBezTo>
                  </a:path>
                </a:pathLst>
              </a:custGeom>
              <a:solidFill>
                <a:schemeClr val="accent3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7" name="Freeform: Shape 436">
                <a:extLst>
                  <a:ext uri="{FF2B5EF4-FFF2-40B4-BE49-F238E27FC236}">
                    <a16:creationId xmlns:a16="http://schemas.microsoft.com/office/drawing/2014/main" id="{0DB2557E-D79E-431F-8690-D170F9F11A9D}"/>
                  </a:ext>
                </a:extLst>
              </p:cNvPr>
              <p:cNvSpPr/>
              <p:nvPr/>
            </p:nvSpPr>
            <p:spPr>
              <a:xfrm>
                <a:off x="6242331" y="1486166"/>
                <a:ext cx="213429" cy="149143"/>
              </a:xfrm>
              <a:custGeom>
                <a:avLst/>
                <a:gdLst>
                  <a:gd name="connsiteX0" fmla="*/ 214817 w 213428"/>
                  <a:gd name="connsiteY0" fmla="*/ 257 h 149142"/>
                  <a:gd name="connsiteX1" fmla="*/ 214817 w 213428"/>
                  <a:gd name="connsiteY1" fmla="*/ 87960 h 149142"/>
                  <a:gd name="connsiteX2" fmla="*/ 183377 w 213428"/>
                  <a:gd name="connsiteY2" fmla="*/ 131777 h 149142"/>
                  <a:gd name="connsiteX3" fmla="*/ 31663 w 213428"/>
                  <a:gd name="connsiteY3" fmla="*/ 131777 h 149142"/>
                  <a:gd name="connsiteX4" fmla="*/ 257 w 213428"/>
                  <a:gd name="connsiteY4" fmla="*/ 87960 h 149142"/>
                  <a:gd name="connsiteX5" fmla="*/ 257 w 213428"/>
                  <a:gd name="connsiteY5" fmla="*/ 257 h 149142"/>
                  <a:gd name="connsiteX6" fmla="*/ 31663 w 213428"/>
                  <a:gd name="connsiteY6" fmla="*/ 44074 h 149142"/>
                  <a:gd name="connsiteX7" fmla="*/ 183377 w 213428"/>
                  <a:gd name="connsiteY7" fmla="*/ 44074 h 149142"/>
                  <a:gd name="connsiteX8" fmla="*/ 214817 w 213428"/>
                  <a:gd name="connsiteY8" fmla="*/ 257 h 149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428" h="149142">
                    <a:moveTo>
                      <a:pt x="214817" y="257"/>
                    </a:moveTo>
                    <a:lnTo>
                      <a:pt x="214817" y="87960"/>
                    </a:lnTo>
                    <a:cubicBezTo>
                      <a:pt x="214817" y="103800"/>
                      <a:pt x="204360" y="119640"/>
                      <a:pt x="183377" y="131777"/>
                    </a:cubicBezTo>
                    <a:cubicBezTo>
                      <a:pt x="141480" y="155914"/>
                      <a:pt x="73560" y="155914"/>
                      <a:pt x="31663" y="131777"/>
                    </a:cubicBezTo>
                    <a:cubicBezTo>
                      <a:pt x="10749" y="119640"/>
                      <a:pt x="257" y="103800"/>
                      <a:pt x="257" y="87960"/>
                    </a:cubicBezTo>
                    <a:lnTo>
                      <a:pt x="257" y="257"/>
                    </a:lnTo>
                    <a:cubicBezTo>
                      <a:pt x="257" y="16166"/>
                      <a:pt x="10749" y="32006"/>
                      <a:pt x="31663" y="44074"/>
                    </a:cubicBezTo>
                    <a:cubicBezTo>
                      <a:pt x="73560" y="68280"/>
                      <a:pt x="141480" y="68280"/>
                      <a:pt x="183377" y="44074"/>
                    </a:cubicBezTo>
                    <a:cubicBezTo>
                      <a:pt x="204360" y="32006"/>
                      <a:pt x="214817" y="16166"/>
                      <a:pt x="214817" y="257"/>
                    </a:cubicBezTo>
                  </a:path>
                </a:pathLst>
              </a:custGeom>
              <a:solidFill>
                <a:schemeClr val="accent3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8" name="Freeform: Shape 437">
                <a:extLst>
                  <a:ext uri="{FF2B5EF4-FFF2-40B4-BE49-F238E27FC236}">
                    <a16:creationId xmlns:a16="http://schemas.microsoft.com/office/drawing/2014/main" id="{06305AB9-8EEE-413E-B8E2-143E3E3C8BE1}"/>
                  </a:ext>
                </a:extLst>
              </p:cNvPr>
              <p:cNvSpPr/>
              <p:nvPr/>
            </p:nvSpPr>
            <p:spPr>
              <a:xfrm>
                <a:off x="6242331" y="1398532"/>
                <a:ext cx="213429" cy="149143"/>
              </a:xfrm>
              <a:custGeom>
                <a:avLst/>
                <a:gdLst>
                  <a:gd name="connsiteX0" fmla="*/ 214817 w 213428"/>
                  <a:gd name="connsiteY0" fmla="*/ 257 h 149142"/>
                  <a:gd name="connsiteX1" fmla="*/ 214817 w 213428"/>
                  <a:gd name="connsiteY1" fmla="*/ 87892 h 149142"/>
                  <a:gd name="connsiteX2" fmla="*/ 183377 w 213428"/>
                  <a:gd name="connsiteY2" fmla="*/ 131709 h 149142"/>
                  <a:gd name="connsiteX3" fmla="*/ 31663 w 213428"/>
                  <a:gd name="connsiteY3" fmla="*/ 131709 h 149142"/>
                  <a:gd name="connsiteX4" fmla="*/ 257 w 213428"/>
                  <a:gd name="connsiteY4" fmla="*/ 87892 h 149142"/>
                  <a:gd name="connsiteX5" fmla="*/ 257 w 213428"/>
                  <a:gd name="connsiteY5" fmla="*/ 257 h 149142"/>
                  <a:gd name="connsiteX6" fmla="*/ 31663 w 213428"/>
                  <a:gd name="connsiteY6" fmla="*/ 44040 h 149142"/>
                  <a:gd name="connsiteX7" fmla="*/ 183377 w 213428"/>
                  <a:gd name="connsiteY7" fmla="*/ 44040 h 149142"/>
                  <a:gd name="connsiteX8" fmla="*/ 214817 w 213428"/>
                  <a:gd name="connsiteY8" fmla="*/ 257 h 149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428" h="149142">
                    <a:moveTo>
                      <a:pt x="214817" y="257"/>
                    </a:moveTo>
                    <a:lnTo>
                      <a:pt x="214817" y="87892"/>
                    </a:lnTo>
                    <a:cubicBezTo>
                      <a:pt x="214817" y="103800"/>
                      <a:pt x="204360" y="119640"/>
                      <a:pt x="183377" y="131709"/>
                    </a:cubicBezTo>
                    <a:cubicBezTo>
                      <a:pt x="141480" y="155914"/>
                      <a:pt x="73560" y="155914"/>
                      <a:pt x="31663" y="131709"/>
                    </a:cubicBezTo>
                    <a:cubicBezTo>
                      <a:pt x="10749" y="119640"/>
                      <a:pt x="257" y="103800"/>
                      <a:pt x="257" y="87892"/>
                    </a:cubicBezTo>
                    <a:lnTo>
                      <a:pt x="257" y="257"/>
                    </a:lnTo>
                    <a:cubicBezTo>
                      <a:pt x="257" y="16097"/>
                      <a:pt x="10749" y="31937"/>
                      <a:pt x="31663" y="44040"/>
                    </a:cubicBezTo>
                    <a:cubicBezTo>
                      <a:pt x="73560" y="68211"/>
                      <a:pt x="141480" y="68211"/>
                      <a:pt x="183377" y="44040"/>
                    </a:cubicBezTo>
                    <a:cubicBezTo>
                      <a:pt x="204360" y="31937"/>
                      <a:pt x="214817" y="16097"/>
                      <a:pt x="214817" y="257"/>
                    </a:cubicBezTo>
                  </a:path>
                </a:pathLst>
              </a:custGeom>
              <a:solidFill>
                <a:schemeClr val="accent3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39" name="Freeform: Shape 438">
                <a:extLst>
                  <a:ext uri="{FF2B5EF4-FFF2-40B4-BE49-F238E27FC236}">
                    <a16:creationId xmlns:a16="http://schemas.microsoft.com/office/drawing/2014/main" id="{1B8FA2B6-B8F1-4D3E-8B60-A63223788B84}"/>
                  </a:ext>
                </a:extLst>
              </p:cNvPr>
              <p:cNvSpPr/>
              <p:nvPr/>
            </p:nvSpPr>
            <p:spPr>
              <a:xfrm>
                <a:off x="6242331" y="1312097"/>
                <a:ext cx="213429" cy="146571"/>
              </a:xfrm>
              <a:custGeom>
                <a:avLst/>
                <a:gdLst>
                  <a:gd name="connsiteX0" fmla="*/ 214817 w 213428"/>
                  <a:gd name="connsiteY0" fmla="*/ 27789 h 146571"/>
                  <a:gd name="connsiteX1" fmla="*/ 214817 w 213428"/>
                  <a:gd name="connsiteY1" fmla="*/ 86691 h 146571"/>
                  <a:gd name="connsiteX2" fmla="*/ 183377 w 213428"/>
                  <a:gd name="connsiteY2" fmla="*/ 130474 h 146571"/>
                  <a:gd name="connsiteX3" fmla="*/ 31663 w 213428"/>
                  <a:gd name="connsiteY3" fmla="*/ 130474 h 146571"/>
                  <a:gd name="connsiteX4" fmla="*/ 257 w 213428"/>
                  <a:gd name="connsiteY4" fmla="*/ 86691 h 146571"/>
                  <a:gd name="connsiteX5" fmla="*/ 257 w 213428"/>
                  <a:gd name="connsiteY5" fmla="*/ 257 h 146571"/>
                  <a:gd name="connsiteX6" fmla="*/ 31663 w 213428"/>
                  <a:gd name="connsiteY6" fmla="*/ 44074 h 146571"/>
                  <a:gd name="connsiteX7" fmla="*/ 183377 w 213428"/>
                  <a:gd name="connsiteY7" fmla="*/ 44074 h 146571"/>
                  <a:gd name="connsiteX8" fmla="*/ 214817 w 213428"/>
                  <a:gd name="connsiteY8" fmla="*/ 257 h 146571"/>
                  <a:gd name="connsiteX9" fmla="*/ 214817 w 213428"/>
                  <a:gd name="connsiteY9" fmla="*/ 27789 h 146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428" h="146571">
                    <a:moveTo>
                      <a:pt x="214817" y="27789"/>
                    </a:moveTo>
                    <a:lnTo>
                      <a:pt x="214817" y="86691"/>
                    </a:lnTo>
                    <a:cubicBezTo>
                      <a:pt x="214817" y="102531"/>
                      <a:pt x="204360" y="118371"/>
                      <a:pt x="183377" y="130474"/>
                    </a:cubicBezTo>
                    <a:cubicBezTo>
                      <a:pt x="141480" y="154646"/>
                      <a:pt x="73560" y="154646"/>
                      <a:pt x="31663" y="130474"/>
                    </a:cubicBezTo>
                    <a:cubicBezTo>
                      <a:pt x="10749" y="118371"/>
                      <a:pt x="257" y="102531"/>
                      <a:pt x="257" y="86691"/>
                    </a:cubicBezTo>
                    <a:lnTo>
                      <a:pt x="257" y="257"/>
                    </a:lnTo>
                    <a:cubicBezTo>
                      <a:pt x="257" y="16131"/>
                      <a:pt x="10749" y="31971"/>
                      <a:pt x="31663" y="44074"/>
                    </a:cubicBezTo>
                    <a:cubicBezTo>
                      <a:pt x="73560" y="68246"/>
                      <a:pt x="141480" y="68246"/>
                      <a:pt x="183377" y="44074"/>
                    </a:cubicBezTo>
                    <a:cubicBezTo>
                      <a:pt x="204360" y="31971"/>
                      <a:pt x="214817" y="16131"/>
                      <a:pt x="214817" y="257"/>
                    </a:cubicBezTo>
                    <a:lnTo>
                      <a:pt x="214817" y="27789"/>
                    </a:lnTo>
                  </a:path>
                </a:pathLst>
              </a:custGeom>
              <a:solidFill>
                <a:schemeClr val="accent3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40" name="Freeform: Shape 439">
                <a:extLst>
                  <a:ext uri="{FF2B5EF4-FFF2-40B4-BE49-F238E27FC236}">
                    <a16:creationId xmlns:a16="http://schemas.microsoft.com/office/drawing/2014/main" id="{F67A48D0-C1D4-4197-951F-25E6D0838724}"/>
                  </a:ext>
                </a:extLst>
              </p:cNvPr>
              <p:cNvSpPr/>
              <p:nvPr/>
            </p:nvSpPr>
            <p:spPr>
              <a:xfrm>
                <a:off x="6242316" y="1250214"/>
                <a:ext cx="213429" cy="123429"/>
              </a:xfrm>
              <a:custGeom>
                <a:avLst/>
                <a:gdLst>
                  <a:gd name="connsiteX0" fmla="*/ 183377 w 213428"/>
                  <a:gd name="connsiteY0" fmla="*/ 18388 h 123428"/>
                  <a:gd name="connsiteX1" fmla="*/ 214815 w 213428"/>
                  <a:gd name="connsiteY1" fmla="*/ 62188 h 123428"/>
                  <a:gd name="connsiteX2" fmla="*/ 183377 w 213428"/>
                  <a:gd name="connsiteY2" fmla="*/ 105987 h 123428"/>
                  <a:gd name="connsiteX3" fmla="*/ 31662 w 213428"/>
                  <a:gd name="connsiteY3" fmla="*/ 105987 h 123428"/>
                  <a:gd name="connsiteX4" fmla="*/ 258 w 213428"/>
                  <a:gd name="connsiteY4" fmla="*/ 62188 h 123428"/>
                  <a:gd name="connsiteX5" fmla="*/ 31662 w 213428"/>
                  <a:gd name="connsiteY5" fmla="*/ 18388 h 123428"/>
                  <a:gd name="connsiteX6" fmla="*/ 183377 w 213428"/>
                  <a:gd name="connsiteY6" fmla="*/ 18388 h 123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3428" h="123428">
                    <a:moveTo>
                      <a:pt x="183377" y="18388"/>
                    </a:moveTo>
                    <a:cubicBezTo>
                      <a:pt x="204347" y="30508"/>
                      <a:pt x="214815" y="46348"/>
                      <a:pt x="214815" y="62188"/>
                    </a:cubicBezTo>
                    <a:cubicBezTo>
                      <a:pt x="214815" y="78027"/>
                      <a:pt x="204347" y="93867"/>
                      <a:pt x="183377" y="105987"/>
                    </a:cubicBezTo>
                    <a:cubicBezTo>
                      <a:pt x="141471" y="130125"/>
                      <a:pt x="73568" y="130125"/>
                      <a:pt x="31662" y="105987"/>
                    </a:cubicBezTo>
                    <a:cubicBezTo>
                      <a:pt x="10761" y="93867"/>
                      <a:pt x="258" y="78027"/>
                      <a:pt x="258" y="62188"/>
                    </a:cubicBezTo>
                    <a:cubicBezTo>
                      <a:pt x="258" y="46348"/>
                      <a:pt x="10761" y="30508"/>
                      <a:pt x="31662" y="18388"/>
                    </a:cubicBezTo>
                    <a:cubicBezTo>
                      <a:pt x="73568" y="-5785"/>
                      <a:pt x="141471" y="-5785"/>
                      <a:pt x="183377" y="18388"/>
                    </a:cubicBezTo>
                  </a:path>
                </a:pathLst>
              </a:custGeom>
              <a:solidFill>
                <a:srgbClr val="FFFFFF"/>
              </a:solidFill>
              <a:ln w="1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41" name="Freeform: Shape 440">
                <a:extLst>
                  <a:ext uri="{FF2B5EF4-FFF2-40B4-BE49-F238E27FC236}">
                    <a16:creationId xmlns:a16="http://schemas.microsoft.com/office/drawing/2014/main" id="{C79A7F6B-DCA7-4A39-83D1-D2223AAC07C5}"/>
                  </a:ext>
                </a:extLst>
              </p:cNvPr>
              <p:cNvSpPr/>
              <p:nvPr/>
            </p:nvSpPr>
            <p:spPr>
              <a:xfrm>
                <a:off x="6232043" y="1239768"/>
                <a:ext cx="234000" cy="144000"/>
              </a:xfrm>
              <a:custGeom>
                <a:avLst/>
                <a:gdLst>
                  <a:gd name="connsiteX0" fmla="*/ 117803 w 234000"/>
                  <a:gd name="connsiteY0" fmla="*/ 20860 h 144000"/>
                  <a:gd name="connsiteX1" fmla="*/ 47076 w 234000"/>
                  <a:gd name="connsiteY1" fmla="*/ 37731 h 144000"/>
                  <a:gd name="connsiteX2" fmla="*/ 20821 w 234000"/>
                  <a:gd name="connsiteY2" fmla="*/ 72612 h 144000"/>
                  <a:gd name="connsiteX3" fmla="*/ 47076 w 234000"/>
                  <a:gd name="connsiteY3" fmla="*/ 107527 h 144000"/>
                  <a:gd name="connsiteX4" fmla="*/ 188496 w 234000"/>
                  <a:gd name="connsiteY4" fmla="*/ 107492 h 144000"/>
                  <a:gd name="connsiteX5" fmla="*/ 214820 w 234000"/>
                  <a:gd name="connsiteY5" fmla="*/ 72612 h 144000"/>
                  <a:gd name="connsiteX6" fmla="*/ 188496 w 234000"/>
                  <a:gd name="connsiteY6" fmla="*/ 37731 h 144000"/>
                  <a:gd name="connsiteX7" fmla="*/ 117803 w 234000"/>
                  <a:gd name="connsiteY7" fmla="*/ 20860 h 144000"/>
                  <a:gd name="connsiteX8" fmla="*/ 117803 w 234000"/>
                  <a:gd name="connsiteY8" fmla="*/ 144961 h 144000"/>
                  <a:gd name="connsiteX9" fmla="*/ 36795 w 234000"/>
                  <a:gd name="connsiteY9" fmla="*/ 125329 h 144000"/>
                  <a:gd name="connsiteX10" fmla="*/ 259 w 234000"/>
                  <a:gd name="connsiteY10" fmla="*/ 72612 h 144000"/>
                  <a:gd name="connsiteX11" fmla="*/ 36761 w 234000"/>
                  <a:gd name="connsiteY11" fmla="*/ 19929 h 144000"/>
                  <a:gd name="connsiteX12" fmla="*/ 198812 w 234000"/>
                  <a:gd name="connsiteY12" fmla="*/ 19894 h 144000"/>
                  <a:gd name="connsiteX13" fmla="*/ 235383 w 234000"/>
                  <a:gd name="connsiteY13" fmla="*/ 72612 h 144000"/>
                  <a:gd name="connsiteX14" fmla="*/ 198812 w 234000"/>
                  <a:gd name="connsiteY14" fmla="*/ 125329 h 144000"/>
                  <a:gd name="connsiteX15" fmla="*/ 117803 w 234000"/>
                  <a:gd name="connsiteY15" fmla="*/ 144961 h 14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4000" h="144000">
                    <a:moveTo>
                      <a:pt x="117803" y="20860"/>
                    </a:moveTo>
                    <a:cubicBezTo>
                      <a:pt x="92204" y="20860"/>
                      <a:pt x="66569" y="26484"/>
                      <a:pt x="47076" y="37731"/>
                    </a:cubicBezTo>
                    <a:cubicBezTo>
                      <a:pt x="30137" y="47564"/>
                      <a:pt x="20821" y="59950"/>
                      <a:pt x="20821" y="72612"/>
                    </a:cubicBezTo>
                    <a:cubicBezTo>
                      <a:pt x="20821" y="85308"/>
                      <a:pt x="30137" y="97694"/>
                      <a:pt x="47076" y="107527"/>
                    </a:cubicBezTo>
                    <a:cubicBezTo>
                      <a:pt x="86063" y="129987"/>
                      <a:pt x="149544" y="129987"/>
                      <a:pt x="188496" y="107492"/>
                    </a:cubicBezTo>
                    <a:cubicBezTo>
                      <a:pt x="205471" y="97728"/>
                      <a:pt x="214820" y="85308"/>
                      <a:pt x="214820" y="72612"/>
                    </a:cubicBezTo>
                    <a:cubicBezTo>
                      <a:pt x="214820" y="59950"/>
                      <a:pt x="205471" y="47529"/>
                      <a:pt x="188496" y="37731"/>
                    </a:cubicBezTo>
                    <a:cubicBezTo>
                      <a:pt x="169003" y="26484"/>
                      <a:pt x="143438" y="20860"/>
                      <a:pt x="117803" y="20860"/>
                    </a:cubicBezTo>
                    <a:close/>
                    <a:moveTo>
                      <a:pt x="117803" y="144961"/>
                    </a:moveTo>
                    <a:cubicBezTo>
                      <a:pt x="88685" y="144961"/>
                      <a:pt x="59497" y="138440"/>
                      <a:pt x="36795" y="125329"/>
                    </a:cubicBezTo>
                    <a:cubicBezTo>
                      <a:pt x="13197" y="111667"/>
                      <a:pt x="259" y="92967"/>
                      <a:pt x="259" y="72612"/>
                    </a:cubicBezTo>
                    <a:cubicBezTo>
                      <a:pt x="259" y="52325"/>
                      <a:pt x="13197" y="33591"/>
                      <a:pt x="36761" y="19929"/>
                    </a:cubicBezTo>
                    <a:cubicBezTo>
                      <a:pt x="82233" y="-6292"/>
                      <a:pt x="153374" y="-6292"/>
                      <a:pt x="198812" y="19894"/>
                    </a:cubicBezTo>
                    <a:cubicBezTo>
                      <a:pt x="222376" y="33557"/>
                      <a:pt x="235383" y="52291"/>
                      <a:pt x="235383" y="72612"/>
                    </a:cubicBezTo>
                    <a:cubicBezTo>
                      <a:pt x="235383" y="93002"/>
                      <a:pt x="222376" y="111701"/>
                      <a:pt x="198812" y="125329"/>
                    </a:cubicBezTo>
                    <a:cubicBezTo>
                      <a:pt x="176110" y="138440"/>
                      <a:pt x="146957" y="144961"/>
                      <a:pt x="117803" y="144961"/>
                    </a:cubicBezTo>
                  </a:path>
                </a:pathLst>
              </a:custGeom>
              <a:solidFill>
                <a:srgbClr val="3A3A3A"/>
              </a:solidFill>
              <a:ln w="12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42" name="Freeform: Shape 441">
                <a:extLst>
                  <a:ext uri="{FF2B5EF4-FFF2-40B4-BE49-F238E27FC236}">
                    <a16:creationId xmlns:a16="http://schemas.microsoft.com/office/drawing/2014/main" id="{13154722-CF29-4E04-BDE0-181C627B9179}"/>
                  </a:ext>
                </a:extLst>
              </p:cNvPr>
              <p:cNvSpPr/>
              <p:nvPr/>
            </p:nvSpPr>
            <p:spPr>
              <a:xfrm>
                <a:off x="6232046" y="1388246"/>
                <a:ext cx="234000" cy="82286"/>
              </a:xfrm>
              <a:custGeom>
                <a:avLst/>
                <a:gdLst>
                  <a:gd name="connsiteX0" fmla="*/ 117823 w 234000"/>
                  <a:gd name="connsiteY0" fmla="*/ 82886 h 82285"/>
                  <a:gd name="connsiteX1" fmla="*/ 36806 w 234000"/>
                  <a:gd name="connsiteY1" fmla="*/ 63240 h 82285"/>
                  <a:gd name="connsiteX2" fmla="*/ 257 w 234000"/>
                  <a:gd name="connsiteY2" fmla="*/ 10543 h 82285"/>
                  <a:gd name="connsiteX3" fmla="*/ 10543 w 234000"/>
                  <a:gd name="connsiteY3" fmla="*/ 257 h 82285"/>
                  <a:gd name="connsiteX4" fmla="*/ 20829 w 234000"/>
                  <a:gd name="connsiteY4" fmla="*/ 10543 h 82285"/>
                  <a:gd name="connsiteX5" fmla="*/ 47092 w 234000"/>
                  <a:gd name="connsiteY5" fmla="*/ 45411 h 82285"/>
                  <a:gd name="connsiteX6" fmla="*/ 188520 w 234000"/>
                  <a:gd name="connsiteY6" fmla="*/ 45411 h 82285"/>
                  <a:gd name="connsiteX7" fmla="*/ 214817 w 234000"/>
                  <a:gd name="connsiteY7" fmla="*/ 10543 h 82285"/>
                  <a:gd name="connsiteX8" fmla="*/ 225103 w 234000"/>
                  <a:gd name="connsiteY8" fmla="*/ 257 h 82285"/>
                  <a:gd name="connsiteX9" fmla="*/ 235389 w 234000"/>
                  <a:gd name="connsiteY9" fmla="*/ 10543 h 82285"/>
                  <a:gd name="connsiteX10" fmla="*/ 198806 w 234000"/>
                  <a:gd name="connsiteY10" fmla="*/ 63240 h 82285"/>
                  <a:gd name="connsiteX11" fmla="*/ 117823 w 234000"/>
                  <a:gd name="connsiteY11" fmla="*/ 82886 h 8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4000" h="82285">
                    <a:moveTo>
                      <a:pt x="117823" y="82886"/>
                    </a:moveTo>
                    <a:cubicBezTo>
                      <a:pt x="88646" y="82886"/>
                      <a:pt x="59503" y="76337"/>
                      <a:pt x="36806" y="63240"/>
                    </a:cubicBezTo>
                    <a:cubicBezTo>
                      <a:pt x="13217" y="49594"/>
                      <a:pt x="257" y="30874"/>
                      <a:pt x="257" y="10543"/>
                    </a:cubicBezTo>
                    <a:cubicBezTo>
                      <a:pt x="257" y="4852"/>
                      <a:pt x="4852" y="257"/>
                      <a:pt x="10543" y="257"/>
                    </a:cubicBezTo>
                    <a:cubicBezTo>
                      <a:pt x="16200" y="257"/>
                      <a:pt x="20829" y="4852"/>
                      <a:pt x="20829" y="10543"/>
                    </a:cubicBezTo>
                    <a:cubicBezTo>
                      <a:pt x="20829" y="23229"/>
                      <a:pt x="30154" y="35606"/>
                      <a:pt x="47092" y="45411"/>
                    </a:cubicBezTo>
                    <a:cubicBezTo>
                      <a:pt x="86074" y="67903"/>
                      <a:pt x="149537" y="67903"/>
                      <a:pt x="188520" y="45411"/>
                    </a:cubicBezTo>
                    <a:cubicBezTo>
                      <a:pt x="205492" y="35606"/>
                      <a:pt x="214817" y="23229"/>
                      <a:pt x="214817" y="10543"/>
                    </a:cubicBezTo>
                    <a:cubicBezTo>
                      <a:pt x="214817" y="4852"/>
                      <a:pt x="219411" y="257"/>
                      <a:pt x="225103" y="257"/>
                    </a:cubicBezTo>
                    <a:cubicBezTo>
                      <a:pt x="230794" y="257"/>
                      <a:pt x="235389" y="4852"/>
                      <a:pt x="235389" y="10543"/>
                    </a:cubicBezTo>
                    <a:cubicBezTo>
                      <a:pt x="235389" y="30874"/>
                      <a:pt x="222394" y="49594"/>
                      <a:pt x="198806" y="63240"/>
                    </a:cubicBezTo>
                    <a:cubicBezTo>
                      <a:pt x="176109" y="76337"/>
                      <a:pt x="146966" y="82886"/>
                      <a:pt x="117823" y="82886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43" name="Freeform: Shape 442">
                <a:extLst>
                  <a:ext uri="{FF2B5EF4-FFF2-40B4-BE49-F238E27FC236}">
                    <a16:creationId xmlns:a16="http://schemas.microsoft.com/office/drawing/2014/main" id="{2911FCA2-164E-49A5-9650-9986EA24CB5B}"/>
                  </a:ext>
                </a:extLst>
              </p:cNvPr>
              <p:cNvSpPr/>
              <p:nvPr/>
            </p:nvSpPr>
            <p:spPr>
              <a:xfrm>
                <a:off x="6232046" y="1475880"/>
                <a:ext cx="234000" cy="82286"/>
              </a:xfrm>
              <a:custGeom>
                <a:avLst/>
                <a:gdLst>
                  <a:gd name="connsiteX0" fmla="*/ 117823 w 234000"/>
                  <a:gd name="connsiteY0" fmla="*/ 82954 h 82285"/>
                  <a:gd name="connsiteX1" fmla="*/ 36806 w 234000"/>
                  <a:gd name="connsiteY1" fmla="*/ 63274 h 82285"/>
                  <a:gd name="connsiteX2" fmla="*/ 257 w 234000"/>
                  <a:gd name="connsiteY2" fmla="*/ 10543 h 82285"/>
                  <a:gd name="connsiteX3" fmla="*/ 10543 w 234000"/>
                  <a:gd name="connsiteY3" fmla="*/ 257 h 82285"/>
                  <a:gd name="connsiteX4" fmla="*/ 20829 w 234000"/>
                  <a:gd name="connsiteY4" fmla="*/ 10543 h 82285"/>
                  <a:gd name="connsiteX5" fmla="*/ 47092 w 234000"/>
                  <a:gd name="connsiteY5" fmla="*/ 45480 h 82285"/>
                  <a:gd name="connsiteX6" fmla="*/ 188520 w 234000"/>
                  <a:gd name="connsiteY6" fmla="*/ 45480 h 82285"/>
                  <a:gd name="connsiteX7" fmla="*/ 214817 w 234000"/>
                  <a:gd name="connsiteY7" fmla="*/ 10543 h 82285"/>
                  <a:gd name="connsiteX8" fmla="*/ 225103 w 234000"/>
                  <a:gd name="connsiteY8" fmla="*/ 257 h 82285"/>
                  <a:gd name="connsiteX9" fmla="*/ 235389 w 234000"/>
                  <a:gd name="connsiteY9" fmla="*/ 10543 h 82285"/>
                  <a:gd name="connsiteX10" fmla="*/ 198806 w 234000"/>
                  <a:gd name="connsiteY10" fmla="*/ 63274 h 82285"/>
                  <a:gd name="connsiteX11" fmla="*/ 117823 w 234000"/>
                  <a:gd name="connsiteY11" fmla="*/ 82954 h 8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4000" h="82285">
                    <a:moveTo>
                      <a:pt x="117823" y="82954"/>
                    </a:moveTo>
                    <a:cubicBezTo>
                      <a:pt x="88680" y="82954"/>
                      <a:pt x="59503" y="76406"/>
                      <a:pt x="36806" y="63274"/>
                    </a:cubicBezTo>
                    <a:cubicBezTo>
                      <a:pt x="13217" y="49663"/>
                      <a:pt x="257" y="30943"/>
                      <a:pt x="257" y="10543"/>
                    </a:cubicBezTo>
                    <a:cubicBezTo>
                      <a:pt x="257" y="4851"/>
                      <a:pt x="4852" y="257"/>
                      <a:pt x="10543" y="257"/>
                    </a:cubicBezTo>
                    <a:cubicBezTo>
                      <a:pt x="16200" y="257"/>
                      <a:pt x="20829" y="4851"/>
                      <a:pt x="20829" y="10543"/>
                    </a:cubicBezTo>
                    <a:cubicBezTo>
                      <a:pt x="20829" y="23297"/>
                      <a:pt x="30154" y="35674"/>
                      <a:pt x="47092" y="45480"/>
                    </a:cubicBezTo>
                    <a:cubicBezTo>
                      <a:pt x="86109" y="67971"/>
                      <a:pt x="149537" y="67971"/>
                      <a:pt x="188520" y="45480"/>
                    </a:cubicBezTo>
                    <a:cubicBezTo>
                      <a:pt x="205492" y="35674"/>
                      <a:pt x="214817" y="23297"/>
                      <a:pt x="214817" y="10543"/>
                    </a:cubicBezTo>
                    <a:cubicBezTo>
                      <a:pt x="214817" y="4851"/>
                      <a:pt x="219411" y="257"/>
                      <a:pt x="225103" y="257"/>
                    </a:cubicBezTo>
                    <a:cubicBezTo>
                      <a:pt x="230794" y="257"/>
                      <a:pt x="235389" y="4851"/>
                      <a:pt x="235389" y="10543"/>
                    </a:cubicBezTo>
                    <a:cubicBezTo>
                      <a:pt x="235389" y="30943"/>
                      <a:pt x="222394" y="49697"/>
                      <a:pt x="198806" y="63274"/>
                    </a:cubicBezTo>
                    <a:cubicBezTo>
                      <a:pt x="176109" y="76406"/>
                      <a:pt x="146966" y="82954"/>
                      <a:pt x="117823" y="82954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44" name="Freeform: Shape 443">
                <a:extLst>
                  <a:ext uri="{FF2B5EF4-FFF2-40B4-BE49-F238E27FC236}">
                    <a16:creationId xmlns:a16="http://schemas.microsoft.com/office/drawing/2014/main" id="{FCBEE702-1CC0-45F3-B673-19B6CC9040D0}"/>
                  </a:ext>
                </a:extLst>
              </p:cNvPr>
              <p:cNvSpPr/>
              <p:nvPr/>
            </p:nvSpPr>
            <p:spPr>
              <a:xfrm>
                <a:off x="6232046" y="1563583"/>
                <a:ext cx="234000" cy="82286"/>
              </a:xfrm>
              <a:custGeom>
                <a:avLst/>
                <a:gdLst>
                  <a:gd name="connsiteX0" fmla="*/ 117823 w 234000"/>
                  <a:gd name="connsiteY0" fmla="*/ 82920 h 82285"/>
                  <a:gd name="connsiteX1" fmla="*/ 36806 w 234000"/>
                  <a:gd name="connsiteY1" fmla="*/ 63240 h 82285"/>
                  <a:gd name="connsiteX2" fmla="*/ 257 w 234000"/>
                  <a:gd name="connsiteY2" fmla="*/ 10543 h 82285"/>
                  <a:gd name="connsiteX3" fmla="*/ 10543 w 234000"/>
                  <a:gd name="connsiteY3" fmla="*/ 257 h 82285"/>
                  <a:gd name="connsiteX4" fmla="*/ 20829 w 234000"/>
                  <a:gd name="connsiteY4" fmla="*/ 10543 h 82285"/>
                  <a:gd name="connsiteX5" fmla="*/ 47092 w 234000"/>
                  <a:gd name="connsiteY5" fmla="*/ 45446 h 82285"/>
                  <a:gd name="connsiteX6" fmla="*/ 188520 w 234000"/>
                  <a:gd name="connsiteY6" fmla="*/ 45446 h 82285"/>
                  <a:gd name="connsiteX7" fmla="*/ 214817 w 234000"/>
                  <a:gd name="connsiteY7" fmla="*/ 10543 h 82285"/>
                  <a:gd name="connsiteX8" fmla="*/ 225103 w 234000"/>
                  <a:gd name="connsiteY8" fmla="*/ 257 h 82285"/>
                  <a:gd name="connsiteX9" fmla="*/ 235389 w 234000"/>
                  <a:gd name="connsiteY9" fmla="*/ 10543 h 82285"/>
                  <a:gd name="connsiteX10" fmla="*/ 198806 w 234000"/>
                  <a:gd name="connsiteY10" fmla="*/ 63240 h 82285"/>
                  <a:gd name="connsiteX11" fmla="*/ 117823 w 234000"/>
                  <a:gd name="connsiteY11" fmla="*/ 82920 h 8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4000" h="82285">
                    <a:moveTo>
                      <a:pt x="117823" y="82920"/>
                    </a:moveTo>
                    <a:cubicBezTo>
                      <a:pt x="88680" y="82920"/>
                      <a:pt x="59503" y="76371"/>
                      <a:pt x="36806" y="63240"/>
                    </a:cubicBezTo>
                    <a:cubicBezTo>
                      <a:pt x="13217" y="49594"/>
                      <a:pt x="257" y="30908"/>
                      <a:pt x="257" y="10543"/>
                    </a:cubicBezTo>
                    <a:cubicBezTo>
                      <a:pt x="257" y="4851"/>
                      <a:pt x="4852" y="257"/>
                      <a:pt x="10543" y="257"/>
                    </a:cubicBezTo>
                    <a:cubicBezTo>
                      <a:pt x="16200" y="257"/>
                      <a:pt x="20829" y="4851"/>
                      <a:pt x="20829" y="10543"/>
                    </a:cubicBezTo>
                    <a:cubicBezTo>
                      <a:pt x="20829" y="23229"/>
                      <a:pt x="30154" y="35640"/>
                      <a:pt x="47092" y="45446"/>
                    </a:cubicBezTo>
                    <a:cubicBezTo>
                      <a:pt x="86074" y="67937"/>
                      <a:pt x="149537" y="67937"/>
                      <a:pt x="188520" y="45446"/>
                    </a:cubicBezTo>
                    <a:cubicBezTo>
                      <a:pt x="205492" y="35640"/>
                      <a:pt x="214817" y="23263"/>
                      <a:pt x="214817" y="10543"/>
                    </a:cubicBezTo>
                    <a:cubicBezTo>
                      <a:pt x="214817" y="4851"/>
                      <a:pt x="219411" y="257"/>
                      <a:pt x="225103" y="257"/>
                    </a:cubicBezTo>
                    <a:cubicBezTo>
                      <a:pt x="230794" y="257"/>
                      <a:pt x="235389" y="4851"/>
                      <a:pt x="235389" y="10543"/>
                    </a:cubicBezTo>
                    <a:cubicBezTo>
                      <a:pt x="235389" y="30908"/>
                      <a:pt x="222394" y="49629"/>
                      <a:pt x="198806" y="63240"/>
                    </a:cubicBezTo>
                    <a:cubicBezTo>
                      <a:pt x="176109" y="76337"/>
                      <a:pt x="146966" y="82920"/>
                      <a:pt x="117823" y="82920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45" name="Freeform: Shape 444">
                <a:extLst>
                  <a:ext uri="{FF2B5EF4-FFF2-40B4-BE49-F238E27FC236}">
                    <a16:creationId xmlns:a16="http://schemas.microsoft.com/office/drawing/2014/main" id="{6417089B-2FC0-48CC-BF9D-E7703261952C}"/>
                  </a:ext>
                </a:extLst>
              </p:cNvPr>
              <p:cNvSpPr/>
              <p:nvPr/>
            </p:nvSpPr>
            <p:spPr>
              <a:xfrm>
                <a:off x="6232046" y="1301812"/>
                <a:ext cx="234000" cy="432000"/>
              </a:xfrm>
              <a:custGeom>
                <a:avLst/>
                <a:gdLst>
                  <a:gd name="connsiteX0" fmla="*/ 117823 w 234000"/>
                  <a:gd name="connsiteY0" fmla="*/ 432360 h 432000"/>
                  <a:gd name="connsiteX1" fmla="*/ 36806 w 234000"/>
                  <a:gd name="connsiteY1" fmla="*/ 412680 h 432000"/>
                  <a:gd name="connsiteX2" fmla="*/ 257 w 234000"/>
                  <a:gd name="connsiteY2" fmla="*/ 359983 h 432000"/>
                  <a:gd name="connsiteX3" fmla="*/ 257 w 234000"/>
                  <a:gd name="connsiteY3" fmla="*/ 10543 h 432000"/>
                  <a:gd name="connsiteX4" fmla="*/ 10543 w 234000"/>
                  <a:gd name="connsiteY4" fmla="*/ 257 h 432000"/>
                  <a:gd name="connsiteX5" fmla="*/ 20829 w 234000"/>
                  <a:gd name="connsiteY5" fmla="*/ 10543 h 432000"/>
                  <a:gd name="connsiteX6" fmla="*/ 20829 w 234000"/>
                  <a:gd name="connsiteY6" fmla="*/ 359983 h 432000"/>
                  <a:gd name="connsiteX7" fmla="*/ 47092 w 234000"/>
                  <a:gd name="connsiteY7" fmla="*/ 394851 h 432000"/>
                  <a:gd name="connsiteX8" fmla="*/ 188520 w 234000"/>
                  <a:gd name="connsiteY8" fmla="*/ 394851 h 432000"/>
                  <a:gd name="connsiteX9" fmla="*/ 214817 w 234000"/>
                  <a:gd name="connsiteY9" fmla="*/ 359983 h 432000"/>
                  <a:gd name="connsiteX10" fmla="*/ 214817 w 234000"/>
                  <a:gd name="connsiteY10" fmla="*/ 10543 h 432000"/>
                  <a:gd name="connsiteX11" fmla="*/ 225103 w 234000"/>
                  <a:gd name="connsiteY11" fmla="*/ 257 h 432000"/>
                  <a:gd name="connsiteX12" fmla="*/ 235389 w 234000"/>
                  <a:gd name="connsiteY12" fmla="*/ 10543 h 432000"/>
                  <a:gd name="connsiteX13" fmla="*/ 235389 w 234000"/>
                  <a:gd name="connsiteY13" fmla="*/ 359983 h 432000"/>
                  <a:gd name="connsiteX14" fmla="*/ 198806 w 234000"/>
                  <a:gd name="connsiteY14" fmla="*/ 412680 h 432000"/>
                  <a:gd name="connsiteX15" fmla="*/ 117823 w 234000"/>
                  <a:gd name="connsiteY15" fmla="*/ 432360 h 43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4000" h="432000">
                    <a:moveTo>
                      <a:pt x="117823" y="432360"/>
                    </a:moveTo>
                    <a:cubicBezTo>
                      <a:pt x="88680" y="432360"/>
                      <a:pt x="59503" y="425812"/>
                      <a:pt x="36806" y="412680"/>
                    </a:cubicBezTo>
                    <a:cubicBezTo>
                      <a:pt x="13217" y="399069"/>
                      <a:pt x="257" y="380348"/>
                      <a:pt x="257" y="359983"/>
                    </a:cubicBezTo>
                    <a:lnTo>
                      <a:pt x="257" y="10543"/>
                    </a:lnTo>
                    <a:cubicBezTo>
                      <a:pt x="257" y="4886"/>
                      <a:pt x="4852" y="257"/>
                      <a:pt x="10543" y="257"/>
                    </a:cubicBezTo>
                    <a:cubicBezTo>
                      <a:pt x="16200" y="257"/>
                      <a:pt x="20829" y="4886"/>
                      <a:pt x="20829" y="10543"/>
                    </a:cubicBezTo>
                    <a:lnTo>
                      <a:pt x="20829" y="359983"/>
                    </a:lnTo>
                    <a:cubicBezTo>
                      <a:pt x="20829" y="372703"/>
                      <a:pt x="30154" y="385080"/>
                      <a:pt x="47092" y="394851"/>
                    </a:cubicBezTo>
                    <a:cubicBezTo>
                      <a:pt x="86109" y="417377"/>
                      <a:pt x="149537" y="417377"/>
                      <a:pt x="188520" y="394851"/>
                    </a:cubicBezTo>
                    <a:cubicBezTo>
                      <a:pt x="205492" y="385080"/>
                      <a:pt x="214817" y="372703"/>
                      <a:pt x="214817" y="359983"/>
                    </a:cubicBezTo>
                    <a:lnTo>
                      <a:pt x="214817" y="10543"/>
                    </a:lnTo>
                    <a:cubicBezTo>
                      <a:pt x="214817" y="4886"/>
                      <a:pt x="219411" y="257"/>
                      <a:pt x="225103" y="257"/>
                    </a:cubicBezTo>
                    <a:cubicBezTo>
                      <a:pt x="230794" y="257"/>
                      <a:pt x="235389" y="4886"/>
                      <a:pt x="235389" y="10543"/>
                    </a:cubicBezTo>
                    <a:lnTo>
                      <a:pt x="235389" y="359983"/>
                    </a:lnTo>
                    <a:cubicBezTo>
                      <a:pt x="235389" y="380383"/>
                      <a:pt x="222394" y="399103"/>
                      <a:pt x="198806" y="412680"/>
                    </a:cubicBezTo>
                    <a:cubicBezTo>
                      <a:pt x="176109" y="425812"/>
                      <a:pt x="146966" y="432360"/>
                      <a:pt x="117823" y="432360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D28F3410-0360-4A1F-9C1E-E65F1F8336C7}"/>
                </a:ext>
              </a:extLst>
            </p:cNvPr>
            <p:cNvGrpSpPr/>
            <p:nvPr/>
          </p:nvGrpSpPr>
          <p:grpSpPr>
            <a:xfrm>
              <a:off x="3963699" y="4636333"/>
              <a:ext cx="931337" cy="1181857"/>
              <a:chOff x="9837111" y="3090268"/>
              <a:chExt cx="931337" cy="1181857"/>
            </a:xfrm>
          </p:grpSpPr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5D8750DA-3CBF-4B88-A498-DAC79EE67228}"/>
                  </a:ext>
                </a:extLst>
              </p:cNvPr>
              <p:cNvSpPr/>
              <p:nvPr/>
            </p:nvSpPr>
            <p:spPr>
              <a:xfrm>
                <a:off x="10404441" y="4004441"/>
                <a:ext cx="28286" cy="15429"/>
              </a:xfrm>
              <a:custGeom>
                <a:avLst/>
                <a:gdLst>
                  <a:gd name="connsiteX0" fmla="*/ 30435 w 28285"/>
                  <a:gd name="connsiteY0" fmla="*/ 8971 h 15428"/>
                  <a:gd name="connsiteX1" fmla="*/ 15366 w 28285"/>
                  <a:gd name="connsiteY1" fmla="*/ 262 h 15428"/>
                  <a:gd name="connsiteX2" fmla="*/ 262 w 28285"/>
                  <a:gd name="connsiteY2" fmla="*/ 8971 h 15428"/>
                  <a:gd name="connsiteX3" fmla="*/ 15366 w 28285"/>
                  <a:gd name="connsiteY3" fmla="*/ 17677 h 15428"/>
                  <a:gd name="connsiteX4" fmla="*/ 30435 w 28285"/>
                  <a:gd name="connsiteY4" fmla="*/ 8971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285" h="15428">
                    <a:moveTo>
                      <a:pt x="30435" y="8971"/>
                    </a:moveTo>
                    <a:lnTo>
                      <a:pt x="15366" y="262"/>
                    </a:lnTo>
                    <a:lnTo>
                      <a:pt x="262" y="8971"/>
                    </a:lnTo>
                    <a:lnTo>
                      <a:pt x="15366" y="17677"/>
                    </a:lnTo>
                    <a:lnTo>
                      <a:pt x="30435" y="8971"/>
                    </a:lnTo>
                  </a:path>
                </a:pathLst>
              </a:custGeom>
              <a:solidFill>
                <a:srgbClr val="969A9E"/>
              </a:solidFill>
              <a:ln w="12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5D620261-5E3F-4BA1-B5F0-D36802A7BF56}"/>
                  </a:ext>
                </a:extLst>
              </p:cNvPr>
              <p:cNvSpPr/>
              <p:nvPr/>
            </p:nvSpPr>
            <p:spPr>
              <a:xfrm>
                <a:off x="10374960" y="4012767"/>
                <a:ext cx="15429" cy="7714"/>
              </a:xfrm>
              <a:custGeom>
                <a:avLst/>
                <a:gdLst>
                  <a:gd name="connsiteX0" fmla="*/ 16046 w 15428"/>
                  <a:gd name="connsiteY0" fmla="*/ 638 h 7714"/>
                  <a:gd name="connsiteX1" fmla="*/ 15352 w 15428"/>
                  <a:gd name="connsiteY1" fmla="*/ 260 h 7714"/>
                  <a:gd name="connsiteX2" fmla="*/ 260 w 15428"/>
                  <a:gd name="connsiteY2" fmla="*/ 8968 h 7714"/>
                  <a:gd name="connsiteX3" fmla="*/ 954 w 15428"/>
                  <a:gd name="connsiteY3" fmla="*/ 9346 h 7714"/>
                  <a:gd name="connsiteX4" fmla="*/ 16046 w 15428"/>
                  <a:gd name="connsiteY4" fmla="*/ 638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28" h="7714">
                    <a:moveTo>
                      <a:pt x="16046" y="638"/>
                    </a:moveTo>
                    <a:lnTo>
                      <a:pt x="15352" y="260"/>
                    </a:lnTo>
                    <a:lnTo>
                      <a:pt x="260" y="8968"/>
                    </a:lnTo>
                    <a:lnTo>
                      <a:pt x="954" y="9346"/>
                    </a:lnTo>
                    <a:lnTo>
                      <a:pt x="16046" y="638"/>
                    </a:lnTo>
                  </a:path>
                </a:pathLst>
              </a:custGeom>
              <a:solidFill>
                <a:srgbClr val="969A9E"/>
              </a:solidFill>
              <a:ln w="12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71640F1C-4D31-424B-A559-C930A9FE1D32}"/>
                  </a:ext>
                </a:extLst>
              </p:cNvPr>
              <p:cNvSpPr/>
              <p:nvPr/>
            </p:nvSpPr>
            <p:spPr>
              <a:xfrm>
                <a:off x="10382547" y="4030481"/>
                <a:ext cx="28286" cy="15429"/>
              </a:xfrm>
              <a:custGeom>
                <a:avLst/>
                <a:gdLst>
                  <a:gd name="connsiteX0" fmla="*/ 30422 w 28285"/>
                  <a:gd name="connsiteY0" fmla="*/ 8968 h 15428"/>
                  <a:gd name="connsiteX1" fmla="*/ 15342 w 28285"/>
                  <a:gd name="connsiteY1" fmla="*/ 261 h 15428"/>
                  <a:gd name="connsiteX2" fmla="*/ 261 w 28285"/>
                  <a:gd name="connsiteY2" fmla="*/ 8968 h 15428"/>
                  <a:gd name="connsiteX3" fmla="*/ 15342 w 28285"/>
                  <a:gd name="connsiteY3" fmla="*/ 17679 h 15428"/>
                  <a:gd name="connsiteX4" fmla="*/ 30422 w 28285"/>
                  <a:gd name="connsiteY4" fmla="*/ 8968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285" h="15428">
                    <a:moveTo>
                      <a:pt x="30422" y="8968"/>
                    </a:moveTo>
                    <a:lnTo>
                      <a:pt x="15342" y="261"/>
                    </a:lnTo>
                    <a:lnTo>
                      <a:pt x="261" y="8968"/>
                    </a:lnTo>
                    <a:lnTo>
                      <a:pt x="15342" y="17679"/>
                    </a:lnTo>
                    <a:lnTo>
                      <a:pt x="30422" y="8968"/>
                    </a:lnTo>
                  </a:path>
                </a:pathLst>
              </a:custGeom>
              <a:solidFill>
                <a:srgbClr val="969A9E"/>
              </a:solidFill>
              <a:ln w="12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36498FAC-2B81-488B-9CE5-015C08B25224}"/>
                  </a:ext>
                </a:extLst>
              </p:cNvPr>
              <p:cNvSpPr/>
              <p:nvPr/>
            </p:nvSpPr>
            <p:spPr>
              <a:xfrm>
                <a:off x="10341469" y="4032087"/>
                <a:ext cx="25714" cy="15429"/>
              </a:xfrm>
              <a:custGeom>
                <a:avLst/>
                <a:gdLst>
                  <a:gd name="connsiteX0" fmla="*/ 27630 w 25714"/>
                  <a:gd name="connsiteY0" fmla="*/ 7358 h 15428"/>
                  <a:gd name="connsiteX1" fmla="*/ 15362 w 25714"/>
                  <a:gd name="connsiteY1" fmla="*/ 259 h 15428"/>
                  <a:gd name="connsiteX2" fmla="*/ 259 w 25714"/>
                  <a:gd name="connsiteY2" fmla="*/ 8968 h 15428"/>
                  <a:gd name="connsiteX3" fmla="*/ 12528 w 25714"/>
                  <a:gd name="connsiteY3" fmla="*/ 16063 h 15428"/>
                  <a:gd name="connsiteX4" fmla="*/ 27630 w 25714"/>
                  <a:gd name="connsiteY4" fmla="*/ 7358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714" h="15428">
                    <a:moveTo>
                      <a:pt x="27630" y="7358"/>
                    </a:moveTo>
                    <a:lnTo>
                      <a:pt x="15362" y="259"/>
                    </a:lnTo>
                    <a:lnTo>
                      <a:pt x="259" y="8968"/>
                    </a:lnTo>
                    <a:lnTo>
                      <a:pt x="12528" y="16063"/>
                    </a:lnTo>
                    <a:lnTo>
                      <a:pt x="27630" y="7358"/>
                    </a:lnTo>
                  </a:path>
                </a:pathLst>
              </a:custGeom>
              <a:solidFill>
                <a:srgbClr val="969A9E"/>
              </a:solidFill>
              <a:ln w="12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AD59C5DE-CD38-48CD-86C0-9069DDE1F9C9}"/>
                  </a:ext>
                </a:extLst>
              </p:cNvPr>
              <p:cNvSpPr/>
              <p:nvPr/>
            </p:nvSpPr>
            <p:spPr>
              <a:xfrm>
                <a:off x="9847366" y="3100658"/>
                <a:ext cx="912857" cy="835714"/>
              </a:xfrm>
              <a:custGeom>
                <a:avLst/>
                <a:gdLst>
                  <a:gd name="connsiteX0" fmla="*/ 912820 w 912857"/>
                  <a:gd name="connsiteY0" fmla="*/ 410467 h 835714"/>
                  <a:gd name="connsiteX1" fmla="*/ 887319 w 912857"/>
                  <a:gd name="connsiteY1" fmla="*/ 480855 h 835714"/>
                  <a:gd name="connsiteX2" fmla="*/ 874531 w 912857"/>
                  <a:gd name="connsiteY2" fmla="*/ 493816 h 835714"/>
                  <a:gd name="connsiteX3" fmla="*/ 871464 w 912857"/>
                  <a:gd name="connsiteY3" fmla="*/ 496351 h 835714"/>
                  <a:gd name="connsiteX4" fmla="*/ 662759 w 912857"/>
                  <a:gd name="connsiteY4" fmla="*/ 643369 h 835714"/>
                  <a:gd name="connsiteX5" fmla="*/ 662759 w 912857"/>
                  <a:gd name="connsiteY5" fmla="*/ 641654 h 835714"/>
                  <a:gd name="connsiteX6" fmla="*/ 640805 w 912857"/>
                  <a:gd name="connsiteY6" fmla="*/ 625059 h 835714"/>
                  <a:gd name="connsiteX7" fmla="*/ 568995 w 912857"/>
                  <a:gd name="connsiteY7" fmla="*/ 666545 h 835714"/>
                  <a:gd name="connsiteX8" fmla="*/ 547079 w 912857"/>
                  <a:gd name="connsiteY8" fmla="*/ 708338 h 835714"/>
                  <a:gd name="connsiteX9" fmla="*/ 547079 w 912857"/>
                  <a:gd name="connsiteY9" fmla="*/ 710190 h 835714"/>
                  <a:gd name="connsiteX10" fmla="*/ 285856 w 912857"/>
                  <a:gd name="connsiteY10" fmla="*/ 833653 h 835714"/>
                  <a:gd name="connsiteX11" fmla="*/ 242577 w 912857"/>
                  <a:gd name="connsiteY11" fmla="*/ 824085 h 835714"/>
                  <a:gd name="connsiteX12" fmla="*/ 232488 w 912857"/>
                  <a:gd name="connsiteY12" fmla="*/ 797205 h 835714"/>
                  <a:gd name="connsiteX13" fmla="*/ 232488 w 912857"/>
                  <a:gd name="connsiteY13" fmla="*/ 605275 h 835714"/>
                  <a:gd name="connsiteX14" fmla="*/ 213084 w 912857"/>
                  <a:gd name="connsiteY14" fmla="*/ 523538 h 835714"/>
                  <a:gd name="connsiteX15" fmla="*/ 139204 w 912857"/>
                  <a:gd name="connsiteY15" fmla="*/ 429150 h 835714"/>
                  <a:gd name="connsiteX16" fmla="*/ 109970 w 912857"/>
                  <a:gd name="connsiteY16" fmla="*/ 407858 h 835714"/>
                  <a:gd name="connsiteX17" fmla="*/ 277 w 912857"/>
                  <a:gd name="connsiteY17" fmla="*/ 471153 h 835714"/>
                  <a:gd name="connsiteX18" fmla="*/ 277 w 912857"/>
                  <a:gd name="connsiteY18" fmla="*/ 448250 h 835714"/>
                  <a:gd name="connsiteX19" fmla="*/ 36275 w 912857"/>
                  <a:gd name="connsiteY19" fmla="*/ 385712 h 835714"/>
                  <a:gd name="connsiteX20" fmla="*/ 265270 w 912857"/>
                  <a:gd name="connsiteY20" fmla="*/ 253600 h 835714"/>
                  <a:gd name="connsiteX21" fmla="*/ 261020 w 912857"/>
                  <a:gd name="connsiteY21" fmla="*/ 286648 h 835714"/>
                  <a:gd name="connsiteX22" fmla="*/ 299493 w 912857"/>
                  <a:gd name="connsiteY22" fmla="*/ 308879 h 835714"/>
                  <a:gd name="connsiteX23" fmla="*/ 335676 w 912857"/>
                  <a:gd name="connsiteY23" fmla="*/ 227884 h 835714"/>
                  <a:gd name="connsiteX24" fmla="*/ 347798 w 912857"/>
                  <a:gd name="connsiteY24" fmla="*/ 234929 h 835714"/>
                  <a:gd name="connsiteX25" fmla="*/ 365649 w 912857"/>
                  <a:gd name="connsiteY25" fmla="*/ 233073 h 835714"/>
                  <a:gd name="connsiteX26" fmla="*/ 376626 w 912857"/>
                  <a:gd name="connsiteY26" fmla="*/ 223738 h 835714"/>
                  <a:gd name="connsiteX27" fmla="*/ 383278 w 912857"/>
                  <a:gd name="connsiteY27" fmla="*/ 216328 h 835714"/>
                  <a:gd name="connsiteX28" fmla="*/ 464661 w 912857"/>
                  <a:gd name="connsiteY28" fmla="*/ 148971 h 835714"/>
                  <a:gd name="connsiteX29" fmla="*/ 505278 w 912857"/>
                  <a:gd name="connsiteY29" fmla="*/ 130591 h 835714"/>
                  <a:gd name="connsiteX30" fmla="*/ 540759 w 912857"/>
                  <a:gd name="connsiteY30" fmla="*/ 123107 h 835714"/>
                  <a:gd name="connsiteX31" fmla="*/ 551957 w 912857"/>
                  <a:gd name="connsiteY31" fmla="*/ 122516 h 835714"/>
                  <a:gd name="connsiteX32" fmla="*/ 563082 w 912857"/>
                  <a:gd name="connsiteY32" fmla="*/ 119108 h 835714"/>
                  <a:gd name="connsiteX33" fmla="*/ 578863 w 912857"/>
                  <a:gd name="connsiteY33" fmla="*/ 103397 h 835714"/>
                  <a:gd name="connsiteX34" fmla="*/ 585589 w 912857"/>
                  <a:gd name="connsiteY34" fmla="*/ 89763 h 835714"/>
                  <a:gd name="connsiteX35" fmla="*/ 587068 w 912857"/>
                  <a:gd name="connsiteY35" fmla="*/ 67754 h 835714"/>
                  <a:gd name="connsiteX36" fmla="*/ 678282 w 912857"/>
                  <a:gd name="connsiteY36" fmla="*/ 15070 h 835714"/>
                  <a:gd name="connsiteX37" fmla="*/ 790303 w 912857"/>
                  <a:gd name="connsiteY37" fmla="*/ 15070 h 835714"/>
                  <a:gd name="connsiteX38" fmla="*/ 912820 w 912857"/>
                  <a:gd name="connsiteY38" fmla="*/ 410467 h 835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912857" h="835714">
                    <a:moveTo>
                      <a:pt x="912820" y="410467"/>
                    </a:moveTo>
                    <a:cubicBezTo>
                      <a:pt x="912820" y="436386"/>
                      <a:pt x="903581" y="461278"/>
                      <a:pt x="887319" y="480855"/>
                    </a:cubicBezTo>
                    <a:cubicBezTo>
                      <a:pt x="883475" y="485515"/>
                      <a:pt x="879077" y="489732"/>
                      <a:pt x="874531" y="493816"/>
                    </a:cubicBezTo>
                    <a:cubicBezTo>
                      <a:pt x="873533" y="494707"/>
                      <a:pt x="872499" y="495527"/>
                      <a:pt x="871464" y="496351"/>
                    </a:cubicBezTo>
                    <a:cubicBezTo>
                      <a:pt x="801353" y="551652"/>
                      <a:pt x="732684" y="600031"/>
                      <a:pt x="662759" y="643369"/>
                    </a:cubicBezTo>
                    <a:lnTo>
                      <a:pt x="662759" y="641654"/>
                    </a:lnTo>
                    <a:cubicBezTo>
                      <a:pt x="662759" y="625503"/>
                      <a:pt x="652854" y="618100"/>
                      <a:pt x="640805" y="625059"/>
                    </a:cubicBezTo>
                    <a:lnTo>
                      <a:pt x="568995" y="666545"/>
                    </a:lnTo>
                    <a:cubicBezTo>
                      <a:pt x="556910" y="673538"/>
                      <a:pt x="547079" y="692258"/>
                      <a:pt x="547079" y="708338"/>
                    </a:cubicBezTo>
                    <a:lnTo>
                      <a:pt x="547079" y="710190"/>
                    </a:lnTo>
                    <a:cubicBezTo>
                      <a:pt x="464587" y="754729"/>
                      <a:pt x="378806" y="794599"/>
                      <a:pt x="285856" y="833653"/>
                    </a:cubicBezTo>
                    <a:cubicBezTo>
                      <a:pt x="271183" y="839789"/>
                      <a:pt x="253850" y="836325"/>
                      <a:pt x="242577" y="824085"/>
                    </a:cubicBezTo>
                    <a:cubicBezTo>
                      <a:pt x="235851" y="816819"/>
                      <a:pt x="232488" y="807047"/>
                      <a:pt x="232488" y="797205"/>
                    </a:cubicBezTo>
                    <a:lnTo>
                      <a:pt x="232488" y="605275"/>
                    </a:lnTo>
                    <a:cubicBezTo>
                      <a:pt x="232488" y="575860"/>
                      <a:pt x="224874" y="548293"/>
                      <a:pt x="213084" y="523538"/>
                    </a:cubicBezTo>
                    <a:cubicBezTo>
                      <a:pt x="194051" y="483220"/>
                      <a:pt x="164188" y="450408"/>
                      <a:pt x="139204" y="429150"/>
                    </a:cubicBezTo>
                    <a:cubicBezTo>
                      <a:pt x="128043" y="419655"/>
                      <a:pt x="117805" y="412385"/>
                      <a:pt x="109970" y="407858"/>
                    </a:cubicBezTo>
                    <a:cubicBezTo>
                      <a:pt x="49321" y="372888"/>
                      <a:pt x="277" y="401276"/>
                      <a:pt x="277" y="471153"/>
                    </a:cubicBezTo>
                    <a:lnTo>
                      <a:pt x="277" y="448250"/>
                    </a:lnTo>
                    <a:cubicBezTo>
                      <a:pt x="277" y="425347"/>
                      <a:pt x="16428" y="397199"/>
                      <a:pt x="36275" y="385712"/>
                    </a:cubicBezTo>
                    <a:cubicBezTo>
                      <a:pt x="36644" y="385576"/>
                      <a:pt x="140904" y="325400"/>
                      <a:pt x="265270" y="253600"/>
                    </a:cubicBezTo>
                    <a:cubicBezTo>
                      <a:pt x="260280" y="271677"/>
                      <a:pt x="261020" y="286648"/>
                      <a:pt x="261020" y="286648"/>
                    </a:cubicBezTo>
                    <a:lnTo>
                      <a:pt x="299493" y="308879"/>
                    </a:lnTo>
                    <a:cubicBezTo>
                      <a:pt x="299493" y="308879"/>
                      <a:pt x="297867" y="249524"/>
                      <a:pt x="335676" y="227884"/>
                    </a:cubicBezTo>
                    <a:lnTo>
                      <a:pt x="347798" y="234929"/>
                    </a:lnTo>
                    <a:cubicBezTo>
                      <a:pt x="352455" y="237594"/>
                      <a:pt x="358923" y="236939"/>
                      <a:pt x="365649" y="233073"/>
                    </a:cubicBezTo>
                    <a:cubicBezTo>
                      <a:pt x="369530" y="230860"/>
                      <a:pt x="373115" y="227711"/>
                      <a:pt x="376626" y="223738"/>
                    </a:cubicBezTo>
                    <a:cubicBezTo>
                      <a:pt x="378621" y="221498"/>
                      <a:pt x="383278" y="216328"/>
                      <a:pt x="383278" y="216328"/>
                    </a:cubicBezTo>
                    <a:cubicBezTo>
                      <a:pt x="409223" y="188018"/>
                      <a:pt x="437386" y="164752"/>
                      <a:pt x="464661" y="148971"/>
                    </a:cubicBezTo>
                    <a:cubicBezTo>
                      <a:pt x="478225" y="141117"/>
                      <a:pt x="491863" y="134963"/>
                      <a:pt x="505278" y="130591"/>
                    </a:cubicBezTo>
                    <a:cubicBezTo>
                      <a:pt x="517142" y="126740"/>
                      <a:pt x="529080" y="124249"/>
                      <a:pt x="540759" y="123107"/>
                    </a:cubicBezTo>
                    <a:cubicBezTo>
                      <a:pt x="544454" y="122745"/>
                      <a:pt x="548224" y="122553"/>
                      <a:pt x="551957" y="122516"/>
                    </a:cubicBezTo>
                    <a:cubicBezTo>
                      <a:pt x="555357" y="122483"/>
                      <a:pt x="559238" y="121337"/>
                      <a:pt x="563082" y="119108"/>
                    </a:cubicBezTo>
                    <a:cubicBezTo>
                      <a:pt x="568921" y="115708"/>
                      <a:pt x="574576" y="109928"/>
                      <a:pt x="578863" y="103397"/>
                    </a:cubicBezTo>
                    <a:cubicBezTo>
                      <a:pt x="581672" y="99058"/>
                      <a:pt x="584000" y="94494"/>
                      <a:pt x="585589" y="89763"/>
                    </a:cubicBezTo>
                    <a:cubicBezTo>
                      <a:pt x="588398" y="81366"/>
                      <a:pt x="588916" y="73612"/>
                      <a:pt x="587068" y="67754"/>
                    </a:cubicBezTo>
                    <a:cubicBezTo>
                      <a:pt x="641397" y="36395"/>
                      <a:pt x="677246" y="15661"/>
                      <a:pt x="678282" y="15070"/>
                    </a:cubicBezTo>
                    <a:cubicBezTo>
                      <a:pt x="697758" y="3539"/>
                      <a:pt x="744289" y="-11466"/>
                      <a:pt x="790303" y="15070"/>
                    </a:cubicBezTo>
                    <a:cubicBezTo>
                      <a:pt x="887097" y="63238"/>
                      <a:pt x="912820" y="271976"/>
                      <a:pt x="912820" y="410467"/>
                    </a:cubicBezTo>
                  </a:path>
                </a:pathLst>
              </a:custGeom>
              <a:solidFill>
                <a:srgbClr val="E4E4EF"/>
              </a:solidFill>
              <a:ln w="136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9C063E9F-2835-477D-B02C-51C1BE9B9687}"/>
                  </a:ext>
                </a:extLst>
              </p:cNvPr>
              <p:cNvSpPr/>
              <p:nvPr/>
            </p:nvSpPr>
            <p:spPr>
              <a:xfrm>
                <a:off x="10034713" y="3594190"/>
                <a:ext cx="686571" cy="668571"/>
              </a:xfrm>
              <a:custGeom>
                <a:avLst/>
                <a:gdLst>
                  <a:gd name="connsiteX0" fmla="*/ 687192 w 686571"/>
                  <a:gd name="connsiteY0" fmla="*/ 275 h 668571"/>
                  <a:gd name="connsiteX1" fmla="*/ 687192 w 686571"/>
                  <a:gd name="connsiteY1" fmla="*/ 246445 h 668571"/>
                  <a:gd name="connsiteX2" fmla="*/ 651093 w 686571"/>
                  <a:gd name="connsiteY2" fmla="*/ 308982 h 668571"/>
                  <a:gd name="connsiteX3" fmla="*/ 36412 w 686571"/>
                  <a:gd name="connsiteY3" fmla="*/ 663942 h 668571"/>
                  <a:gd name="connsiteX4" fmla="*/ 275 w 686571"/>
                  <a:gd name="connsiteY4" fmla="*/ 643028 h 668571"/>
                  <a:gd name="connsiteX5" fmla="*/ 275 w 686571"/>
                  <a:gd name="connsiteY5" fmla="*/ 44675 h 668571"/>
                  <a:gd name="connsiteX6" fmla="*/ 25762 w 686571"/>
                  <a:gd name="connsiteY6" fmla="*/ 29999 h 668571"/>
                  <a:gd name="connsiteX7" fmla="*/ 45152 w 686571"/>
                  <a:gd name="connsiteY7" fmla="*/ 111735 h 668571"/>
                  <a:gd name="connsiteX8" fmla="*/ 45152 w 686571"/>
                  <a:gd name="connsiteY8" fmla="*/ 303668 h 668571"/>
                  <a:gd name="connsiteX9" fmla="*/ 55251 w 686571"/>
                  <a:gd name="connsiteY9" fmla="*/ 330546 h 668571"/>
                  <a:gd name="connsiteX10" fmla="*/ 98511 w 686571"/>
                  <a:gd name="connsiteY10" fmla="*/ 340113 h 668571"/>
                  <a:gd name="connsiteX11" fmla="*/ 359727 w 686571"/>
                  <a:gd name="connsiteY11" fmla="*/ 216651 h 668571"/>
                  <a:gd name="connsiteX12" fmla="*/ 359727 w 686571"/>
                  <a:gd name="connsiteY12" fmla="*/ 289952 h 668571"/>
                  <a:gd name="connsiteX13" fmla="*/ 381687 w 686571"/>
                  <a:gd name="connsiteY13" fmla="*/ 306547 h 668571"/>
                  <a:gd name="connsiteX14" fmla="*/ 453482 w 686571"/>
                  <a:gd name="connsiteY14" fmla="*/ 265061 h 668571"/>
                  <a:gd name="connsiteX15" fmla="*/ 475406 w 686571"/>
                  <a:gd name="connsiteY15" fmla="*/ 223199 h 668571"/>
                  <a:gd name="connsiteX16" fmla="*/ 475406 w 686571"/>
                  <a:gd name="connsiteY16" fmla="*/ 149829 h 668571"/>
                  <a:gd name="connsiteX17" fmla="*/ 684144 w 686571"/>
                  <a:gd name="connsiteY17" fmla="*/ 2810 h 668571"/>
                  <a:gd name="connsiteX18" fmla="*/ 687192 w 686571"/>
                  <a:gd name="connsiteY18" fmla="*/ 275 h 668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686571" h="668571">
                    <a:moveTo>
                      <a:pt x="687192" y="275"/>
                    </a:moveTo>
                    <a:lnTo>
                      <a:pt x="687192" y="246445"/>
                    </a:lnTo>
                    <a:cubicBezTo>
                      <a:pt x="687192" y="269486"/>
                      <a:pt x="670997" y="297495"/>
                      <a:pt x="651093" y="308982"/>
                    </a:cubicBezTo>
                    <a:lnTo>
                      <a:pt x="36412" y="663942"/>
                    </a:lnTo>
                    <a:cubicBezTo>
                      <a:pt x="16507" y="675426"/>
                      <a:pt x="275" y="666101"/>
                      <a:pt x="275" y="643028"/>
                    </a:cubicBezTo>
                    <a:lnTo>
                      <a:pt x="275" y="44675"/>
                    </a:lnTo>
                    <a:lnTo>
                      <a:pt x="25762" y="29999"/>
                    </a:lnTo>
                    <a:cubicBezTo>
                      <a:pt x="37550" y="54755"/>
                      <a:pt x="45152" y="82320"/>
                      <a:pt x="45152" y="111735"/>
                    </a:cubicBezTo>
                    <a:lnTo>
                      <a:pt x="45152" y="303668"/>
                    </a:lnTo>
                    <a:cubicBezTo>
                      <a:pt x="45152" y="313506"/>
                      <a:pt x="48530" y="323278"/>
                      <a:pt x="55251" y="330546"/>
                    </a:cubicBezTo>
                    <a:cubicBezTo>
                      <a:pt x="66525" y="342786"/>
                      <a:pt x="83858" y="346249"/>
                      <a:pt x="98511" y="340113"/>
                    </a:cubicBezTo>
                    <a:cubicBezTo>
                      <a:pt x="191459" y="301061"/>
                      <a:pt x="277246" y="261186"/>
                      <a:pt x="359727" y="216651"/>
                    </a:cubicBezTo>
                    <a:lnTo>
                      <a:pt x="359727" y="289952"/>
                    </a:lnTo>
                    <a:cubicBezTo>
                      <a:pt x="359727" y="306103"/>
                      <a:pt x="369569" y="313506"/>
                      <a:pt x="381687" y="306547"/>
                    </a:cubicBezTo>
                    <a:lnTo>
                      <a:pt x="453482" y="265061"/>
                    </a:lnTo>
                    <a:cubicBezTo>
                      <a:pt x="465528" y="258101"/>
                      <a:pt x="475406" y="239347"/>
                      <a:pt x="475406" y="223199"/>
                    </a:cubicBezTo>
                    <a:lnTo>
                      <a:pt x="475406" y="149829"/>
                    </a:lnTo>
                    <a:cubicBezTo>
                      <a:pt x="545365" y="106491"/>
                      <a:pt x="614038" y="58115"/>
                      <a:pt x="684144" y="2810"/>
                    </a:cubicBezTo>
                    <a:cubicBezTo>
                      <a:pt x="685172" y="1987"/>
                      <a:pt x="686200" y="1164"/>
                      <a:pt x="687192" y="275"/>
                    </a:cubicBezTo>
                  </a:path>
                </a:pathLst>
              </a:custGeom>
              <a:solidFill>
                <a:srgbClr val="C0C4CC"/>
              </a:solidFill>
              <a:ln w="136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FE295E8B-7506-4345-9A76-7D681E918606}"/>
                  </a:ext>
                </a:extLst>
              </p:cNvPr>
              <p:cNvSpPr/>
              <p:nvPr/>
            </p:nvSpPr>
            <p:spPr>
              <a:xfrm>
                <a:off x="10394137" y="3765914"/>
                <a:ext cx="115714" cy="136286"/>
              </a:xfrm>
              <a:custGeom>
                <a:avLst/>
                <a:gdLst>
                  <a:gd name="connsiteX0" fmla="*/ 115961 w 115714"/>
                  <a:gd name="connsiteY0" fmla="*/ 266 h 136285"/>
                  <a:gd name="connsiteX1" fmla="*/ 115961 w 115714"/>
                  <a:gd name="connsiteY1" fmla="*/ 51489 h 136285"/>
                  <a:gd name="connsiteX2" fmla="*/ 94033 w 115714"/>
                  <a:gd name="connsiteY2" fmla="*/ 93350 h 136285"/>
                  <a:gd name="connsiteX3" fmla="*/ 22229 w 115714"/>
                  <a:gd name="connsiteY3" fmla="*/ 134835 h 136285"/>
                  <a:gd name="connsiteX4" fmla="*/ 266 w 115714"/>
                  <a:gd name="connsiteY4" fmla="*/ 118243 h 136285"/>
                  <a:gd name="connsiteX5" fmla="*/ 266 w 115714"/>
                  <a:gd name="connsiteY5" fmla="*/ 67019 h 136285"/>
                  <a:gd name="connsiteX6" fmla="*/ 115961 w 115714"/>
                  <a:gd name="connsiteY6" fmla="*/ 266 h 13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5714" h="136285">
                    <a:moveTo>
                      <a:pt x="115961" y="266"/>
                    </a:moveTo>
                    <a:lnTo>
                      <a:pt x="115961" y="51489"/>
                    </a:lnTo>
                    <a:cubicBezTo>
                      <a:pt x="115961" y="67635"/>
                      <a:pt x="106078" y="86389"/>
                      <a:pt x="94033" y="93350"/>
                    </a:cubicBezTo>
                    <a:lnTo>
                      <a:pt x="22229" y="134835"/>
                    </a:lnTo>
                    <a:cubicBezTo>
                      <a:pt x="10114" y="141796"/>
                      <a:pt x="266" y="134389"/>
                      <a:pt x="266" y="118243"/>
                    </a:cubicBezTo>
                    <a:lnTo>
                      <a:pt x="266" y="67019"/>
                    </a:lnTo>
                    <a:lnTo>
                      <a:pt x="115961" y="266"/>
                    </a:lnTo>
                  </a:path>
                </a:pathLst>
              </a:custGeom>
              <a:solidFill>
                <a:schemeClr val="accent3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4D5754AC-6859-4736-81BD-CAFD66C8F28B}"/>
                  </a:ext>
                </a:extLst>
              </p:cNvPr>
              <p:cNvSpPr/>
              <p:nvPr/>
            </p:nvSpPr>
            <p:spPr>
              <a:xfrm>
                <a:off x="10394137" y="3722842"/>
                <a:ext cx="115714" cy="108000"/>
              </a:xfrm>
              <a:custGeom>
                <a:avLst/>
                <a:gdLst>
                  <a:gd name="connsiteX0" fmla="*/ 115961 w 115714"/>
                  <a:gd name="connsiteY0" fmla="*/ 21191 h 108000"/>
                  <a:gd name="connsiteX1" fmla="*/ 115961 w 115714"/>
                  <a:gd name="connsiteY1" fmla="*/ 43338 h 108000"/>
                  <a:gd name="connsiteX2" fmla="*/ 266 w 115714"/>
                  <a:gd name="connsiteY2" fmla="*/ 110091 h 108000"/>
                  <a:gd name="connsiteX3" fmla="*/ 266 w 115714"/>
                  <a:gd name="connsiteY3" fmla="*/ 86158 h 108000"/>
                  <a:gd name="connsiteX4" fmla="*/ 22229 w 115714"/>
                  <a:gd name="connsiteY4" fmla="*/ 44365 h 108000"/>
                  <a:gd name="connsiteX5" fmla="*/ 94033 w 115714"/>
                  <a:gd name="connsiteY5" fmla="*/ 2880 h 108000"/>
                  <a:gd name="connsiteX6" fmla="*/ 115961 w 115714"/>
                  <a:gd name="connsiteY6" fmla="*/ 19476 h 108000"/>
                  <a:gd name="connsiteX7" fmla="*/ 115961 w 115714"/>
                  <a:gd name="connsiteY7" fmla="*/ 21191 h 1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5714" h="108000">
                    <a:moveTo>
                      <a:pt x="115961" y="21191"/>
                    </a:moveTo>
                    <a:lnTo>
                      <a:pt x="115961" y="43338"/>
                    </a:lnTo>
                    <a:lnTo>
                      <a:pt x="266" y="110091"/>
                    </a:lnTo>
                    <a:lnTo>
                      <a:pt x="266" y="86158"/>
                    </a:lnTo>
                    <a:cubicBezTo>
                      <a:pt x="266" y="70080"/>
                      <a:pt x="10114" y="51361"/>
                      <a:pt x="22229" y="44365"/>
                    </a:cubicBezTo>
                    <a:lnTo>
                      <a:pt x="94033" y="2880"/>
                    </a:lnTo>
                    <a:cubicBezTo>
                      <a:pt x="106078" y="-4078"/>
                      <a:pt x="115961" y="3326"/>
                      <a:pt x="115961" y="19476"/>
                    </a:cubicBezTo>
                    <a:lnTo>
                      <a:pt x="115961" y="21191"/>
                    </a:lnTo>
                  </a:path>
                </a:pathLst>
              </a:custGeom>
              <a:solidFill>
                <a:srgbClr val="3A3A3A"/>
              </a:solidFill>
              <a:ln w="13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42BD370E-898A-4F84-966E-AAC6BE9FDD58}"/>
                  </a:ext>
                </a:extLst>
              </p:cNvPr>
              <p:cNvSpPr/>
              <p:nvPr/>
            </p:nvSpPr>
            <p:spPr>
              <a:xfrm>
                <a:off x="10187523" y="3157967"/>
                <a:ext cx="246857" cy="177429"/>
              </a:xfrm>
              <a:custGeom>
                <a:avLst/>
                <a:gdLst>
                  <a:gd name="connsiteX0" fmla="*/ 246953 w 246857"/>
                  <a:gd name="connsiteY0" fmla="*/ 10406 h 177428"/>
                  <a:gd name="connsiteX1" fmla="*/ 245484 w 246857"/>
                  <a:gd name="connsiteY1" fmla="*/ 32438 h 177428"/>
                  <a:gd name="connsiteX2" fmla="*/ 238734 w 246857"/>
                  <a:gd name="connsiteY2" fmla="*/ 46077 h 177428"/>
                  <a:gd name="connsiteX3" fmla="*/ 222962 w 246857"/>
                  <a:gd name="connsiteY3" fmla="*/ 61779 h 177428"/>
                  <a:gd name="connsiteX4" fmla="*/ 211841 w 246857"/>
                  <a:gd name="connsiteY4" fmla="*/ 65172 h 177428"/>
                  <a:gd name="connsiteX5" fmla="*/ 200650 w 246857"/>
                  <a:gd name="connsiteY5" fmla="*/ 65766 h 177428"/>
                  <a:gd name="connsiteX6" fmla="*/ 165154 w 246857"/>
                  <a:gd name="connsiteY6" fmla="*/ 73250 h 177428"/>
                  <a:gd name="connsiteX7" fmla="*/ 124552 w 246857"/>
                  <a:gd name="connsiteY7" fmla="*/ 91645 h 177428"/>
                  <a:gd name="connsiteX8" fmla="*/ 43173 w 246857"/>
                  <a:gd name="connsiteY8" fmla="*/ 159001 h 177428"/>
                  <a:gd name="connsiteX9" fmla="*/ 36493 w 246857"/>
                  <a:gd name="connsiteY9" fmla="*/ 166415 h 177428"/>
                  <a:gd name="connsiteX10" fmla="*/ 25547 w 246857"/>
                  <a:gd name="connsiteY10" fmla="*/ 175752 h 177428"/>
                  <a:gd name="connsiteX11" fmla="*/ 7676 w 246857"/>
                  <a:gd name="connsiteY11" fmla="*/ 177606 h 177428"/>
                  <a:gd name="connsiteX12" fmla="*/ 3375 w 246857"/>
                  <a:gd name="connsiteY12" fmla="*/ 173444 h 177428"/>
                  <a:gd name="connsiteX13" fmla="*/ 3305 w 246857"/>
                  <a:gd name="connsiteY13" fmla="*/ 173374 h 177428"/>
                  <a:gd name="connsiteX14" fmla="*/ 1591 w 246857"/>
                  <a:gd name="connsiteY14" fmla="*/ 170401 h 177428"/>
                  <a:gd name="connsiteX15" fmla="*/ 1591 w 246857"/>
                  <a:gd name="connsiteY15" fmla="*/ 169807 h 177428"/>
                  <a:gd name="connsiteX16" fmla="*/ 1661 w 246857"/>
                  <a:gd name="connsiteY16" fmla="*/ 151062 h 177428"/>
                  <a:gd name="connsiteX17" fmla="*/ 14426 w 246857"/>
                  <a:gd name="connsiteY17" fmla="*/ 127072 h 177428"/>
                  <a:gd name="connsiteX18" fmla="*/ 124692 w 246857"/>
                  <a:gd name="connsiteY18" fmla="*/ 33452 h 177428"/>
                  <a:gd name="connsiteX19" fmla="*/ 223661 w 246857"/>
                  <a:gd name="connsiteY19" fmla="*/ 719 h 177428"/>
                  <a:gd name="connsiteX20" fmla="*/ 233978 w 246857"/>
                  <a:gd name="connsiteY20" fmla="*/ 264 h 177428"/>
                  <a:gd name="connsiteX21" fmla="*/ 239818 w 246857"/>
                  <a:gd name="connsiteY21" fmla="*/ 1523 h 177428"/>
                  <a:gd name="connsiteX22" fmla="*/ 240588 w 246857"/>
                  <a:gd name="connsiteY22" fmla="*/ 1908 h 177428"/>
                  <a:gd name="connsiteX23" fmla="*/ 246953 w 246857"/>
                  <a:gd name="connsiteY23" fmla="*/ 10406 h 17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46857" h="177428">
                    <a:moveTo>
                      <a:pt x="246953" y="10406"/>
                    </a:moveTo>
                    <a:cubicBezTo>
                      <a:pt x="248806" y="16281"/>
                      <a:pt x="248282" y="24045"/>
                      <a:pt x="245484" y="32438"/>
                    </a:cubicBezTo>
                    <a:cubicBezTo>
                      <a:pt x="243875" y="37159"/>
                      <a:pt x="241532" y="41705"/>
                      <a:pt x="238734" y="46077"/>
                    </a:cubicBezTo>
                    <a:cubicBezTo>
                      <a:pt x="234468" y="52582"/>
                      <a:pt x="228802" y="58387"/>
                      <a:pt x="222962" y="61779"/>
                    </a:cubicBezTo>
                    <a:cubicBezTo>
                      <a:pt x="219115" y="64018"/>
                      <a:pt x="215233" y="65137"/>
                      <a:pt x="211841" y="65172"/>
                    </a:cubicBezTo>
                    <a:cubicBezTo>
                      <a:pt x="208099" y="65207"/>
                      <a:pt x="204322" y="65417"/>
                      <a:pt x="200650" y="65766"/>
                    </a:cubicBezTo>
                    <a:cubicBezTo>
                      <a:pt x="188935" y="66920"/>
                      <a:pt x="177009" y="69403"/>
                      <a:pt x="165154" y="73250"/>
                    </a:cubicBezTo>
                    <a:cubicBezTo>
                      <a:pt x="151760" y="77621"/>
                      <a:pt x="138086" y="83777"/>
                      <a:pt x="124552" y="91645"/>
                    </a:cubicBezTo>
                    <a:cubicBezTo>
                      <a:pt x="97274" y="107417"/>
                      <a:pt x="69122" y="130674"/>
                      <a:pt x="43173" y="159001"/>
                    </a:cubicBezTo>
                    <a:cubicBezTo>
                      <a:pt x="43173" y="159001"/>
                      <a:pt x="38486" y="164176"/>
                      <a:pt x="36493" y="166415"/>
                    </a:cubicBezTo>
                    <a:cubicBezTo>
                      <a:pt x="32961" y="170366"/>
                      <a:pt x="29394" y="173514"/>
                      <a:pt x="25547" y="175752"/>
                    </a:cubicBezTo>
                    <a:cubicBezTo>
                      <a:pt x="18833" y="179599"/>
                      <a:pt x="12293" y="180333"/>
                      <a:pt x="7676" y="177606"/>
                    </a:cubicBezTo>
                    <a:cubicBezTo>
                      <a:pt x="5963" y="176591"/>
                      <a:pt x="4564" y="175228"/>
                      <a:pt x="3375" y="173444"/>
                    </a:cubicBezTo>
                    <a:lnTo>
                      <a:pt x="3305" y="173374"/>
                    </a:lnTo>
                    <a:lnTo>
                      <a:pt x="1591" y="170401"/>
                    </a:lnTo>
                    <a:lnTo>
                      <a:pt x="1591" y="169807"/>
                    </a:lnTo>
                    <a:cubicBezTo>
                      <a:pt x="-192" y="164771"/>
                      <a:pt x="-192" y="158266"/>
                      <a:pt x="1661" y="151062"/>
                    </a:cubicBezTo>
                    <a:cubicBezTo>
                      <a:pt x="3830" y="142459"/>
                      <a:pt x="8376" y="133961"/>
                      <a:pt x="14426" y="127072"/>
                    </a:cubicBezTo>
                    <a:cubicBezTo>
                      <a:pt x="49083" y="87414"/>
                      <a:pt x="87167" y="55100"/>
                      <a:pt x="124692" y="33452"/>
                    </a:cubicBezTo>
                    <a:cubicBezTo>
                      <a:pt x="158334" y="13973"/>
                      <a:pt x="191662" y="2887"/>
                      <a:pt x="223661" y="719"/>
                    </a:cubicBezTo>
                    <a:cubicBezTo>
                      <a:pt x="227159" y="474"/>
                      <a:pt x="230551" y="299"/>
                      <a:pt x="233978" y="264"/>
                    </a:cubicBezTo>
                    <a:cubicBezTo>
                      <a:pt x="236112" y="229"/>
                      <a:pt x="238070" y="719"/>
                      <a:pt x="239818" y="1523"/>
                    </a:cubicBezTo>
                    <a:lnTo>
                      <a:pt x="240588" y="1908"/>
                    </a:lnTo>
                    <a:cubicBezTo>
                      <a:pt x="243630" y="3692"/>
                      <a:pt x="245764" y="6629"/>
                      <a:pt x="246953" y="10406"/>
                    </a:cubicBezTo>
                  </a:path>
                </a:pathLst>
              </a:custGeom>
              <a:solidFill>
                <a:srgbClr val="C0C4CC"/>
              </a:solidFill>
              <a:ln w="12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4CB8861E-75F4-45B7-A74A-3293A78CAB90}"/>
                  </a:ext>
                </a:extLst>
              </p:cNvPr>
              <p:cNvSpPr/>
              <p:nvPr/>
            </p:nvSpPr>
            <p:spPr>
              <a:xfrm>
                <a:off x="10129809" y="3124632"/>
                <a:ext cx="295714" cy="210857"/>
              </a:xfrm>
              <a:custGeom>
                <a:avLst/>
                <a:gdLst>
                  <a:gd name="connsiteX0" fmla="*/ 53248 w 295714"/>
                  <a:gd name="connsiteY0" fmla="*/ 203895 h 210857"/>
                  <a:gd name="connsiteX1" fmla="*/ 14770 w 295714"/>
                  <a:gd name="connsiteY1" fmla="*/ 181653 h 210857"/>
                  <a:gd name="connsiteX2" fmla="*/ 14700 w 295714"/>
                  <a:gd name="connsiteY2" fmla="*/ 181758 h 210857"/>
                  <a:gd name="connsiteX3" fmla="*/ 7577 w 295714"/>
                  <a:gd name="connsiteY3" fmla="*/ 177602 h 210857"/>
                  <a:gd name="connsiteX4" fmla="*/ 3352 w 295714"/>
                  <a:gd name="connsiteY4" fmla="*/ 173448 h 210857"/>
                  <a:gd name="connsiteX5" fmla="*/ 3282 w 295714"/>
                  <a:gd name="connsiteY5" fmla="*/ 173378 h 210857"/>
                  <a:gd name="connsiteX6" fmla="*/ 1571 w 295714"/>
                  <a:gd name="connsiteY6" fmla="*/ 170410 h 210857"/>
                  <a:gd name="connsiteX7" fmla="*/ 1571 w 295714"/>
                  <a:gd name="connsiteY7" fmla="*/ 169816 h 210857"/>
                  <a:gd name="connsiteX8" fmla="*/ 1571 w 295714"/>
                  <a:gd name="connsiteY8" fmla="*/ 151066 h 210857"/>
                  <a:gd name="connsiteX9" fmla="*/ 14385 w 295714"/>
                  <a:gd name="connsiteY9" fmla="*/ 127043 h 210857"/>
                  <a:gd name="connsiteX10" fmla="*/ 124582 w 295714"/>
                  <a:gd name="connsiteY10" fmla="*/ 33467 h 210857"/>
                  <a:gd name="connsiteX11" fmla="*/ 223675 w 295714"/>
                  <a:gd name="connsiteY11" fmla="*/ 716 h 210857"/>
                  <a:gd name="connsiteX12" fmla="*/ 233905 w 295714"/>
                  <a:gd name="connsiteY12" fmla="*/ 262 h 210857"/>
                  <a:gd name="connsiteX13" fmla="*/ 239806 w 295714"/>
                  <a:gd name="connsiteY13" fmla="*/ 1519 h 210857"/>
                  <a:gd name="connsiteX14" fmla="*/ 297523 w 295714"/>
                  <a:gd name="connsiteY14" fmla="*/ 34864 h 210857"/>
                  <a:gd name="connsiteX15" fmla="*/ 291692 w 295714"/>
                  <a:gd name="connsiteY15" fmla="*/ 33607 h 210857"/>
                  <a:gd name="connsiteX16" fmla="*/ 281357 w 295714"/>
                  <a:gd name="connsiteY16" fmla="*/ 34061 h 210857"/>
                  <a:gd name="connsiteX17" fmla="*/ 182404 w 295714"/>
                  <a:gd name="connsiteY17" fmla="*/ 66813 h 210857"/>
                  <a:gd name="connsiteX18" fmla="*/ 72137 w 295714"/>
                  <a:gd name="connsiteY18" fmla="*/ 160389 h 210857"/>
                  <a:gd name="connsiteX19" fmla="*/ 59358 w 295714"/>
                  <a:gd name="connsiteY19" fmla="*/ 184411 h 210857"/>
                  <a:gd name="connsiteX20" fmla="*/ 59323 w 295714"/>
                  <a:gd name="connsiteY20" fmla="*/ 203161 h 210857"/>
                  <a:gd name="connsiteX21" fmla="*/ 59323 w 295714"/>
                  <a:gd name="connsiteY21" fmla="*/ 203755 h 210857"/>
                  <a:gd name="connsiteX22" fmla="*/ 61034 w 295714"/>
                  <a:gd name="connsiteY22" fmla="*/ 206723 h 210857"/>
                  <a:gd name="connsiteX23" fmla="*/ 61104 w 295714"/>
                  <a:gd name="connsiteY23" fmla="*/ 206793 h 210857"/>
                  <a:gd name="connsiteX24" fmla="*/ 65363 w 295714"/>
                  <a:gd name="connsiteY24" fmla="*/ 210948 h 210857"/>
                  <a:gd name="connsiteX25" fmla="*/ 53248 w 295714"/>
                  <a:gd name="connsiteY25" fmla="*/ 203895 h 210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95714" h="210857">
                    <a:moveTo>
                      <a:pt x="53248" y="203895"/>
                    </a:moveTo>
                    <a:lnTo>
                      <a:pt x="14770" y="181653"/>
                    </a:lnTo>
                    <a:cubicBezTo>
                      <a:pt x="14770" y="181653"/>
                      <a:pt x="14700" y="181653"/>
                      <a:pt x="14700" y="181758"/>
                    </a:cubicBezTo>
                    <a:lnTo>
                      <a:pt x="7577" y="177602"/>
                    </a:lnTo>
                    <a:cubicBezTo>
                      <a:pt x="5901" y="176555"/>
                      <a:pt x="4469" y="175228"/>
                      <a:pt x="3352" y="173448"/>
                    </a:cubicBezTo>
                    <a:lnTo>
                      <a:pt x="3282" y="173378"/>
                    </a:lnTo>
                    <a:lnTo>
                      <a:pt x="1571" y="170410"/>
                    </a:lnTo>
                    <a:lnTo>
                      <a:pt x="1571" y="169816"/>
                    </a:lnTo>
                    <a:cubicBezTo>
                      <a:pt x="-175" y="164788"/>
                      <a:pt x="-175" y="158259"/>
                      <a:pt x="1571" y="151066"/>
                    </a:cubicBezTo>
                    <a:cubicBezTo>
                      <a:pt x="3806" y="142477"/>
                      <a:pt x="8310" y="133957"/>
                      <a:pt x="14385" y="127043"/>
                    </a:cubicBezTo>
                    <a:cubicBezTo>
                      <a:pt x="49023" y="87413"/>
                      <a:pt x="87186" y="55116"/>
                      <a:pt x="124582" y="33467"/>
                    </a:cubicBezTo>
                    <a:cubicBezTo>
                      <a:pt x="158276" y="13984"/>
                      <a:pt x="191656" y="2915"/>
                      <a:pt x="223675" y="716"/>
                    </a:cubicBezTo>
                    <a:cubicBezTo>
                      <a:pt x="227062" y="471"/>
                      <a:pt x="230484" y="297"/>
                      <a:pt x="233905" y="262"/>
                    </a:cubicBezTo>
                    <a:cubicBezTo>
                      <a:pt x="236035" y="262"/>
                      <a:pt x="238025" y="716"/>
                      <a:pt x="239806" y="1519"/>
                    </a:cubicBezTo>
                    <a:lnTo>
                      <a:pt x="297523" y="34864"/>
                    </a:lnTo>
                    <a:cubicBezTo>
                      <a:pt x="295777" y="34061"/>
                      <a:pt x="293822" y="33572"/>
                      <a:pt x="291692" y="33607"/>
                    </a:cubicBezTo>
                    <a:cubicBezTo>
                      <a:pt x="288270" y="33642"/>
                      <a:pt x="284883" y="33816"/>
                      <a:pt x="281357" y="34061"/>
                    </a:cubicBezTo>
                    <a:cubicBezTo>
                      <a:pt x="249338" y="36226"/>
                      <a:pt x="216028" y="47329"/>
                      <a:pt x="182404" y="66813"/>
                    </a:cubicBezTo>
                    <a:cubicBezTo>
                      <a:pt x="144868" y="88461"/>
                      <a:pt x="106809" y="120759"/>
                      <a:pt x="72137" y="160389"/>
                    </a:cubicBezTo>
                    <a:cubicBezTo>
                      <a:pt x="66062" y="167302"/>
                      <a:pt x="61523" y="175822"/>
                      <a:pt x="59358" y="184411"/>
                    </a:cubicBezTo>
                    <a:cubicBezTo>
                      <a:pt x="57507" y="191604"/>
                      <a:pt x="57507" y="198133"/>
                      <a:pt x="59323" y="203161"/>
                    </a:cubicBezTo>
                    <a:lnTo>
                      <a:pt x="59323" y="203755"/>
                    </a:lnTo>
                    <a:lnTo>
                      <a:pt x="61034" y="206723"/>
                    </a:lnTo>
                    <a:lnTo>
                      <a:pt x="61104" y="206793"/>
                    </a:lnTo>
                    <a:cubicBezTo>
                      <a:pt x="62256" y="208573"/>
                      <a:pt x="63687" y="209900"/>
                      <a:pt x="65363" y="210948"/>
                    </a:cubicBezTo>
                    <a:lnTo>
                      <a:pt x="53248" y="203895"/>
                    </a:lnTo>
                  </a:path>
                </a:pathLst>
              </a:custGeom>
              <a:solidFill>
                <a:srgbClr val="E4E4EF"/>
              </a:solidFill>
              <a:ln w="129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08D63CA5-A75D-4302-BA69-417B1907A395}"/>
                  </a:ext>
                </a:extLst>
              </p:cNvPr>
              <p:cNvSpPr/>
              <p:nvPr/>
            </p:nvSpPr>
            <p:spPr>
              <a:xfrm>
                <a:off x="10144246" y="3306035"/>
                <a:ext cx="38571" cy="20571"/>
              </a:xfrm>
              <a:custGeom>
                <a:avLst/>
                <a:gdLst>
                  <a:gd name="connsiteX0" fmla="*/ 326 w 38571"/>
                  <a:gd name="connsiteY0" fmla="*/ 257 h 20571"/>
                  <a:gd name="connsiteX1" fmla="*/ 38794 w 38571"/>
                  <a:gd name="connsiteY1" fmla="*/ 22509 h 20571"/>
                  <a:gd name="connsiteX2" fmla="*/ 257 w 38571"/>
                  <a:gd name="connsiteY2" fmla="*/ 360 h 20571"/>
                  <a:gd name="connsiteX3" fmla="*/ 326 w 38571"/>
                  <a:gd name="connsiteY3" fmla="*/ 257 h 20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571" h="20571">
                    <a:moveTo>
                      <a:pt x="326" y="257"/>
                    </a:moveTo>
                    <a:lnTo>
                      <a:pt x="38794" y="22509"/>
                    </a:lnTo>
                    <a:lnTo>
                      <a:pt x="257" y="360"/>
                    </a:lnTo>
                    <a:cubicBezTo>
                      <a:pt x="257" y="257"/>
                      <a:pt x="326" y="257"/>
                      <a:pt x="326" y="257"/>
                    </a:cubicBez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0A4554CD-488C-4677-A606-9F20C3F14D90}"/>
                  </a:ext>
                </a:extLst>
              </p:cNvPr>
              <p:cNvSpPr/>
              <p:nvPr/>
            </p:nvSpPr>
            <p:spPr>
              <a:xfrm>
                <a:off x="10108107" y="3306137"/>
                <a:ext cx="74571" cy="102857"/>
              </a:xfrm>
              <a:custGeom>
                <a:avLst/>
                <a:gdLst>
                  <a:gd name="connsiteX0" fmla="*/ 36396 w 74571"/>
                  <a:gd name="connsiteY0" fmla="*/ 257 h 102857"/>
                  <a:gd name="connsiteX1" fmla="*/ 74933 w 74571"/>
                  <a:gd name="connsiteY1" fmla="*/ 22406 h 102857"/>
                  <a:gd name="connsiteX2" fmla="*/ 38762 w 74571"/>
                  <a:gd name="connsiteY2" fmla="*/ 103389 h 102857"/>
                  <a:gd name="connsiteX3" fmla="*/ 293 w 74571"/>
                  <a:gd name="connsiteY3" fmla="*/ 81171 h 102857"/>
                  <a:gd name="connsiteX4" fmla="*/ 4545 w 74571"/>
                  <a:gd name="connsiteY4" fmla="*/ 48120 h 102857"/>
                  <a:gd name="connsiteX5" fmla="*/ 36396 w 74571"/>
                  <a:gd name="connsiteY5" fmla="*/ 257 h 10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571" h="102857">
                    <a:moveTo>
                      <a:pt x="36396" y="257"/>
                    </a:moveTo>
                    <a:lnTo>
                      <a:pt x="74933" y="22406"/>
                    </a:lnTo>
                    <a:cubicBezTo>
                      <a:pt x="37151" y="44040"/>
                      <a:pt x="38762" y="103389"/>
                      <a:pt x="38762" y="103389"/>
                    </a:cubicBezTo>
                    <a:lnTo>
                      <a:pt x="293" y="81171"/>
                    </a:lnTo>
                    <a:cubicBezTo>
                      <a:pt x="293" y="81171"/>
                      <a:pt x="-427" y="66189"/>
                      <a:pt x="4545" y="48120"/>
                    </a:cubicBezTo>
                    <a:cubicBezTo>
                      <a:pt x="8968" y="31869"/>
                      <a:pt x="18088" y="13046"/>
                      <a:pt x="36396" y="257"/>
                    </a:cubicBez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CE132A05-3FD0-4A08-A3E3-31F2F5AF0C2B}"/>
                  </a:ext>
                </a:extLst>
              </p:cNvPr>
              <p:cNvSpPr/>
              <p:nvPr/>
            </p:nvSpPr>
            <p:spPr>
              <a:xfrm>
                <a:off x="9891355" y="3529543"/>
                <a:ext cx="167143" cy="108000"/>
              </a:xfrm>
              <a:custGeom>
                <a:avLst/>
                <a:gdLst>
                  <a:gd name="connsiteX0" fmla="*/ 169114 w 167142"/>
                  <a:gd name="connsiteY0" fmla="*/ 94645 h 108000"/>
                  <a:gd name="connsiteX1" fmla="*/ 143639 w 167142"/>
                  <a:gd name="connsiteY1" fmla="*/ 109320 h 108000"/>
                  <a:gd name="connsiteX2" fmla="*/ 143708 w 167142"/>
                  <a:gd name="connsiteY2" fmla="*/ 107983 h 108000"/>
                  <a:gd name="connsiteX3" fmla="*/ 257 w 167142"/>
                  <a:gd name="connsiteY3" fmla="*/ 55148 h 108000"/>
                  <a:gd name="connsiteX4" fmla="*/ 95091 w 167142"/>
                  <a:gd name="connsiteY4" fmla="*/ 394 h 108000"/>
                  <a:gd name="connsiteX5" fmla="*/ 95228 w 167142"/>
                  <a:gd name="connsiteY5" fmla="*/ 257 h 108000"/>
                  <a:gd name="connsiteX6" fmla="*/ 169114 w 167142"/>
                  <a:gd name="connsiteY6" fmla="*/ 94645 h 1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7142" h="108000">
                    <a:moveTo>
                      <a:pt x="169114" y="94645"/>
                    </a:moveTo>
                    <a:lnTo>
                      <a:pt x="143639" y="109320"/>
                    </a:lnTo>
                    <a:cubicBezTo>
                      <a:pt x="143639" y="108874"/>
                      <a:pt x="143639" y="108428"/>
                      <a:pt x="143708" y="107983"/>
                    </a:cubicBezTo>
                    <a:cubicBezTo>
                      <a:pt x="106954" y="72703"/>
                      <a:pt x="56246" y="47365"/>
                      <a:pt x="257" y="55148"/>
                    </a:cubicBezTo>
                    <a:lnTo>
                      <a:pt x="95091" y="394"/>
                    </a:lnTo>
                    <a:lnTo>
                      <a:pt x="95228" y="257"/>
                    </a:lnTo>
                    <a:cubicBezTo>
                      <a:pt x="120222" y="21514"/>
                      <a:pt x="150085" y="54326"/>
                      <a:pt x="169114" y="94645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AC21A84F-4063-4C87-9C97-B70E6BD3B5F8}"/>
                  </a:ext>
                </a:extLst>
              </p:cNvPr>
              <p:cNvSpPr/>
              <p:nvPr/>
            </p:nvSpPr>
            <p:spPr>
              <a:xfrm>
                <a:off x="9891355" y="3583022"/>
                <a:ext cx="141429" cy="640286"/>
              </a:xfrm>
              <a:custGeom>
                <a:avLst/>
                <a:gdLst>
                  <a:gd name="connsiteX0" fmla="*/ 143708 w 141428"/>
                  <a:gd name="connsiteY0" fmla="*/ 54503 h 640285"/>
                  <a:gd name="connsiteX1" fmla="*/ 143639 w 141428"/>
                  <a:gd name="connsiteY1" fmla="*/ 55840 h 640285"/>
                  <a:gd name="connsiteX2" fmla="*/ 143639 w 141428"/>
                  <a:gd name="connsiteY2" fmla="*/ 640650 h 640285"/>
                  <a:gd name="connsiteX3" fmla="*/ 257 w 141428"/>
                  <a:gd name="connsiteY3" fmla="*/ 580548 h 640285"/>
                  <a:gd name="connsiteX4" fmla="*/ 257 w 141428"/>
                  <a:gd name="connsiteY4" fmla="*/ 1669 h 640285"/>
                  <a:gd name="connsiteX5" fmla="*/ 143708 w 141428"/>
                  <a:gd name="connsiteY5" fmla="*/ 54503 h 64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1428" h="640285">
                    <a:moveTo>
                      <a:pt x="143708" y="54503"/>
                    </a:moveTo>
                    <a:cubicBezTo>
                      <a:pt x="143639" y="54949"/>
                      <a:pt x="143639" y="55395"/>
                      <a:pt x="143639" y="55840"/>
                    </a:cubicBezTo>
                    <a:lnTo>
                      <a:pt x="143639" y="640650"/>
                    </a:lnTo>
                    <a:cubicBezTo>
                      <a:pt x="110211" y="595736"/>
                      <a:pt x="54943" y="572833"/>
                      <a:pt x="257" y="580548"/>
                    </a:cubicBezTo>
                    <a:lnTo>
                      <a:pt x="257" y="1669"/>
                    </a:lnTo>
                    <a:cubicBezTo>
                      <a:pt x="56246" y="-6114"/>
                      <a:pt x="106954" y="19223"/>
                      <a:pt x="143708" y="54503"/>
                    </a:cubicBezTo>
                  </a:path>
                </a:pathLst>
              </a:custGeom>
              <a:solidFill>
                <a:schemeClr val="bg2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38F925AF-0C1B-4501-85F2-91A69C0D43F0}"/>
                  </a:ext>
                </a:extLst>
              </p:cNvPr>
              <p:cNvSpPr/>
              <p:nvPr/>
            </p:nvSpPr>
            <p:spPr>
              <a:xfrm>
                <a:off x="9847401" y="3493278"/>
                <a:ext cx="138857" cy="678857"/>
              </a:xfrm>
              <a:custGeom>
                <a:avLst/>
                <a:gdLst>
                  <a:gd name="connsiteX0" fmla="*/ 139183 w 138857"/>
                  <a:gd name="connsiteY0" fmla="*/ 36522 h 678857"/>
                  <a:gd name="connsiteX1" fmla="*/ 139045 w 138857"/>
                  <a:gd name="connsiteY1" fmla="*/ 36659 h 678857"/>
                  <a:gd name="connsiteX2" fmla="*/ 44211 w 138857"/>
                  <a:gd name="connsiteY2" fmla="*/ 91413 h 678857"/>
                  <a:gd name="connsiteX3" fmla="*/ 44211 w 138857"/>
                  <a:gd name="connsiteY3" fmla="*/ 670291 h 678857"/>
                  <a:gd name="connsiteX4" fmla="*/ 36257 w 138857"/>
                  <a:gd name="connsiteY4" fmla="*/ 674817 h 678857"/>
                  <a:gd name="connsiteX5" fmla="*/ 257 w 138857"/>
                  <a:gd name="connsiteY5" fmla="*/ 654006 h 678857"/>
                  <a:gd name="connsiteX6" fmla="*/ 257 w 138857"/>
                  <a:gd name="connsiteY6" fmla="*/ 78521 h 678857"/>
                  <a:gd name="connsiteX7" fmla="*/ 109937 w 138857"/>
                  <a:gd name="connsiteY7" fmla="*/ 15230 h 678857"/>
                  <a:gd name="connsiteX8" fmla="*/ 139183 w 138857"/>
                  <a:gd name="connsiteY8" fmla="*/ 36522 h 678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8857" h="678857">
                    <a:moveTo>
                      <a:pt x="139183" y="36522"/>
                    </a:moveTo>
                    <a:lnTo>
                      <a:pt x="139045" y="36659"/>
                    </a:lnTo>
                    <a:lnTo>
                      <a:pt x="44211" y="91413"/>
                    </a:lnTo>
                    <a:lnTo>
                      <a:pt x="44211" y="670291"/>
                    </a:lnTo>
                    <a:lnTo>
                      <a:pt x="36257" y="674817"/>
                    </a:lnTo>
                    <a:cubicBezTo>
                      <a:pt x="16406" y="686303"/>
                      <a:pt x="257" y="676874"/>
                      <a:pt x="257" y="654006"/>
                    </a:cubicBezTo>
                    <a:lnTo>
                      <a:pt x="257" y="78521"/>
                    </a:lnTo>
                    <a:cubicBezTo>
                      <a:pt x="257" y="8647"/>
                      <a:pt x="49320" y="-19741"/>
                      <a:pt x="109937" y="15230"/>
                    </a:cubicBezTo>
                    <a:cubicBezTo>
                      <a:pt x="117788" y="19756"/>
                      <a:pt x="128005" y="27024"/>
                      <a:pt x="139183" y="36522"/>
                    </a:cubicBezTo>
                  </a:path>
                </a:pathLst>
              </a:custGeom>
              <a:solidFill>
                <a:schemeClr val="bg2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08D27348-61A6-489C-B0B9-B1261C9F3C0F}"/>
                  </a:ext>
                </a:extLst>
              </p:cNvPr>
              <p:cNvSpPr/>
              <p:nvPr/>
            </p:nvSpPr>
            <p:spPr>
              <a:xfrm>
                <a:off x="9881034" y="3572696"/>
                <a:ext cx="851143" cy="699429"/>
              </a:xfrm>
              <a:custGeom>
                <a:avLst/>
                <a:gdLst>
                  <a:gd name="connsiteX0" fmla="*/ 31729 w 851142"/>
                  <a:gd name="connsiteY0" fmla="*/ 579116 h 699428"/>
                  <a:gd name="connsiteX1" fmla="*/ 143671 w 851142"/>
                  <a:gd name="connsiteY1" fmla="*/ 623926 h 699428"/>
                  <a:gd name="connsiteX2" fmla="*/ 143671 w 851142"/>
                  <a:gd name="connsiteY2" fmla="*/ 69219 h 699428"/>
                  <a:gd name="connsiteX3" fmla="*/ 20876 w 851142"/>
                  <a:gd name="connsiteY3" fmla="*/ 21256 h 699428"/>
                  <a:gd name="connsiteX4" fmla="*/ 20876 w 851142"/>
                  <a:gd name="connsiteY4" fmla="*/ 579458 h 699428"/>
                  <a:gd name="connsiteX5" fmla="*/ 31729 w 851142"/>
                  <a:gd name="connsiteY5" fmla="*/ 579116 h 699428"/>
                  <a:gd name="connsiteX6" fmla="*/ 173909 w 851142"/>
                  <a:gd name="connsiteY6" fmla="*/ 700590 h 699428"/>
                  <a:gd name="connsiteX7" fmla="*/ 159415 w 851142"/>
                  <a:gd name="connsiteY7" fmla="*/ 696819 h 699428"/>
                  <a:gd name="connsiteX8" fmla="*/ 143671 w 851142"/>
                  <a:gd name="connsiteY8" fmla="*/ 664520 h 699428"/>
                  <a:gd name="connsiteX9" fmla="*/ 143671 w 851142"/>
                  <a:gd name="connsiteY9" fmla="*/ 654441 h 699428"/>
                  <a:gd name="connsiteX10" fmla="*/ 11974 w 851142"/>
                  <a:gd name="connsiteY10" fmla="*/ 601060 h 699428"/>
                  <a:gd name="connsiteX11" fmla="*/ 3807 w 851142"/>
                  <a:gd name="connsiteY11" fmla="*/ 598624 h 699428"/>
                  <a:gd name="connsiteX12" fmla="*/ 276 w 851142"/>
                  <a:gd name="connsiteY12" fmla="*/ 590877 h 699428"/>
                  <a:gd name="connsiteX13" fmla="*/ 276 w 851142"/>
                  <a:gd name="connsiteY13" fmla="*/ 11997 h 699428"/>
                  <a:gd name="connsiteX14" fmla="*/ 9141 w 851142"/>
                  <a:gd name="connsiteY14" fmla="*/ 1814 h 699428"/>
                  <a:gd name="connsiteX15" fmla="*/ 161108 w 851142"/>
                  <a:gd name="connsiteY15" fmla="*/ 57428 h 699428"/>
                  <a:gd name="connsiteX16" fmla="*/ 164198 w 851142"/>
                  <a:gd name="connsiteY16" fmla="*/ 66511 h 699428"/>
                  <a:gd name="connsiteX17" fmla="*/ 164198 w 851142"/>
                  <a:gd name="connsiteY17" fmla="*/ 664520 h 699428"/>
                  <a:gd name="connsiteX18" fmla="*/ 169679 w 851142"/>
                  <a:gd name="connsiteY18" fmla="*/ 679025 h 699428"/>
                  <a:gd name="connsiteX19" fmla="*/ 184982 w 851142"/>
                  <a:gd name="connsiteY19" fmla="*/ 676520 h 699428"/>
                  <a:gd name="connsiteX20" fmla="*/ 799616 w 851142"/>
                  <a:gd name="connsiteY20" fmla="*/ 321598 h 699428"/>
                  <a:gd name="connsiteX21" fmla="*/ 830590 w 851142"/>
                  <a:gd name="connsiteY21" fmla="*/ 267941 h 699428"/>
                  <a:gd name="connsiteX22" fmla="*/ 830590 w 851142"/>
                  <a:gd name="connsiteY22" fmla="*/ 21771 h 699428"/>
                  <a:gd name="connsiteX23" fmla="*/ 840854 w 851142"/>
                  <a:gd name="connsiteY23" fmla="*/ 11486 h 699428"/>
                  <a:gd name="connsiteX24" fmla="*/ 851154 w 851142"/>
                  <a:gd name="connsiteY24" fmla="*/ 21771 h 699428"/>
                  <a:gd name="connsiteX25" fmla="*/ 851154 w 851142"/>
                  <a:gd name="connsiteY25" fmla="*/ 267941 h 699428"/>
                  <a:gd name="connsiteX26" fmla="*/ 809916 w 851142"/>
                  <a:gd name="connsiteY26" fmla="*/ 339392 h 699428"/>
                  <a:gd name="connsiteX27" fmla="*/ 195246 w 851142"/>
                  <a:gd name="connsiteY27" fmla="*/ 694314 h 699428"/>
                  <a:gd name="connsiteX28" fmla="*/ 173909 w 851142"/>
                  <a:gd name="connsiteY28" fmla="*/ 700590 h 699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851142" h="699428">
                    <a:moveTo>
                      <a:pt x="31729" y="579116"/>
                    </a:moveTo>
                    <a:cubicBezTo>
                      <a:pt x="73371" y="579116"/>
                      <a:pt x="113469" y="595196"/>
                      <a:pt x="143671" y="623926"/>
                    </a:cubicBezTo>
                    <a:lnTo>
                      <a:pt x="143671" y="69219"/>
                    </a:lnTo>
                    <a:cubicBezTo>
                      <a:pt x="120421" y="47827"/>
                      <a:pt x="76792" y="17106"/>
                      <a:pt x="20876" y="21256"/>
                    </a:cubicBezTo>
                    <a:lnTo>
                      <a:pt x="20876" y="579458"/>
                    </a:lnTo>
                    <a:cubicBezTo>
                      <a:pt x="24482" y="579219"/>
                      <a:pt x="28124" y="579116"/>
                      <a:pt x="31729" y="579116"/>
                    </a:cubicBezTo>
                    <a:close/>
                    <a:moveTo>
                      <a:pt x="173909" y="700590"/>
                    </a:moveTo>
                    <a:cubicBezTo>
                      <a:pt x="168686" y="700590"/>
                      <a:pt x="163756" y="699354"/>
                      <a:pt x="159415" y="696819"/>
                    </a:cubicBezTo>
                    <a:cubicBezTo>
                      <a:pt x="149410" y="691058"/>
                      <a:pt x="143671" y="679265"/>
                      <a:pt x="143671" y="664520"/>
                    </a:cubicBezTo>
                    <a:lnTo>
                      <a:pt x="143671" y="654441"/>
                    </a:lnTo>
                    <a:cubicBezTo>
                      <a:pt x="112365" y="614395"/>
                      <a:pt x="62225" y="593996"/>
                      <a:pt x="11974" y="601060"/>
                    </a:cubicBezTo>
                    <a:cubicBezTo>
                      <a:pt x="9031" y="601468"/>
                      <a:pt x="6051" y="600578"/>
                      <a:pt x="3807" y="598624"/>
                    </a:cubicBezTo>
                    <a:cubicBezTo>
                      <a:pt x="1563" y="596704"/>
                      <a:pt x="276" y="593857"/>
                      <a:pt x="276" y="590877"/>
                    </a:cubicBezTo>
                    <a:lnTo>
                      <a:pt x="276" y="11997"/>
                    </a:lnTo>
                    <a:cubicBezTo>
                      <a:pt x="276" y="6854"/>
                      <a:pt x="4065" y="2535"/>
                      <a:pt x="9141" y="1814"/>
                    </a:cubicBezTo>
                    <a:cubicBezTo>
                      <a:pt x="80655" y="-8126"/>
                      <a:pt x="135063" y="32399"/>
                      <a:pt x="161108" y="57428"/>
                    </a:cubicBezTo>
                    <a:cubicBezTo>
                      <a:pt x="163573" y="59757"/>
                      <a:pt x="164749" y="63152"/>
                      <a:pt x="164198" y="66511"/>
                    </a:cubicBezTo>
                    <a:lnTo>
                      <a:pt x="164198" y="664520"/>
                    </a:lnTo>
                    <a:cubicBezTo>
                      <a:pt x="164198" y="671723"/>
                      <a:pt x="166221" y="677002"/>
                      <a:pt x="169679" y="679025"/>
                    </a:cubicBezTo>
                    <a:cubicBezTo>
                      <a:pt x="173174" y="681045"/>
                      <a:pt x="178728" y="680122"/>
                      <a:pt x="184982" y="676520"/>
                    </a:cubicBezTo>
                    <a:lnTo>
                      <a:pt x="799616" y="321598"/>
                    </a:lnTo>
                    <a:cubicBezTo>
                      <a:pt x="816390" y="311927"/>
                      <a:pt x="830590" y="287346"/>
                      <a:pt x="830590" y="267941"/>
                    </a:cubicBezTo>
                    <a:lnTo>
                      <a:pt x="830590" y="21771"/>
                    </a:lnTo>
                    <a:cubicBezTo>
                      <a:pt x="830590" y="16113"/>
                      <a:pt x="835188" y="11486"/>
                      <a:pt x="840854" y="11486"/>
                    </a:cubicBezTo>
                    <a:cubicBezTo>
                      <a:pt x="846519" y="11486"/>
                      <a:pt x="851154" y="16113"/>
                      <a:pt x="851154" y="21771"/>
                    </a:cubicBezTo>
                    <a:lnTo>
                      <a:pt x="851154" y="267941"/>
                    </a:lnTo>
                    <a:cubicBezTo>
                      <a:pt x="851154" y="294685"/>
                      <a:pt x="833018" y="326089"/>
                      <a:pt x="809916" y="339392"/>
                    </a:cubicBezTo>
                    <a:lnTo>
                      <a:pt x="195246" y="694314"/>
                    </a:lnTo>
                    <a:cubicBezTo>
                      <a:pt x="188036" y="698497"/>
                      <a:pt x="180715" y="700590"/>
                      <a:pt x="173909" y="700590"/>
                    </a:cubicBezTo>
                  </a:path>
                </a:pathLst>
              </a:custGeom>
              <a:solidFill>
                <a:srgbClr val="3A3A3A"/>
              </a:solidFill>
              <a:ln w="13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024C8B95-CAC4-4B7D-8C88-4EA6D30CF8FF}"/>
                  </a:ext>
                </a:extLst>
              </p:cNvPr>
              <p:cNvSpPr/>
              <p:nvPr/>
            </p:nvSpPr>
            <p:spPr>
              <a:xfrm>
                <a:off x="9837111" y="3482939"/>
                <a:ext cx="565714" cy="462857"/>
              </a:xfrm>
              <a:custGeom>
                <a:avLst/>
                <a:gdLst>
                  <a:gd name="connsiteX0" fmla="*/ 281409 w 565714"/>
                  <a:gd name="connsiteY0" fmla="*/ 464595 h 462857"/>
                  <a:gd name="connsiteX1" fmla="*/ 245265 w 565714"/>
                  <a:gd name="connsiteY1" fmla="*/ 448792 h 462857"/>
                  <a:gd name="connsiteX2" fmla="*/ 232463 w 565714"/>
                  <a:gd name="connsiteY2" fmla="*/ 414916 h 462857"/>
                  <a:gd name="connsiteX3" fmla="*/ 232463 w 565714"/>
                  <a:gd name="connsiteY3" fmla="*/ 222983 h 462857"/>
                  <a:gd name="connsiteX4" fmla="*/ 214061 w 565714"/>
                  <a:gd name="connsiteY4" fmla="*/ 145669 h 462857"/>
                  <a:gd name="connsiteX5" fmla="*/ 142817 w 565714"/>
                  <a:gd name="connsiteY5" fmla="*/ 54677 h 462857"/>
                  <a:gd name="connsiteX6" fmla="*/ 115093 w 565714"/>
                  <a:gd name="connsiteY6" fmla="*/ 34483 h 462857"/>
                  <a:gd name="connsiteX7" fmla="*/ 47780 w 565714"/>
                  <a:gd name="connsiteY7" fmla="*/ 26802 h 462857"/>
                  <a:gd name="connsiteX8" fmla="*/ 20820 w 565714"/>
                  <a:gd name="connsiteY8" fmla="*/ 88859 h 462857"/>
                  <a:gd name="connsiteX9" fmla="*/ 10558 w 565714"/>
                  <a:gd name="connsiteY9" fmla="*/ 99145 h 462857"/>
                  <a:gd name="connsiteX10" fmla="*/ 261 w 565714"/>
                  <a:gd name="connsiteY10" fmla="*/ 88859 h 462857"/>
                  <a:gd name="connsiteX11" fmla="*/ 37483 w 565714"/>
                  <a:gd name="connsiteY11" fmla="*/ 9009 h 462857"/>
                  <a:gd name="connsiteX12" fmla="*/ 125355 w 565714"/>
                  <a:gd name="connsiteY12" fmla="*/ 16686 h 462857"/>
                  <a:gd name="connsiteX13" fmla="*/ 156176 w 565714"/>
                  <a:gd name="connsiteY13" fmla="*/ 39009 h 462857"/>
                  <a:gd name="connsiteX14" fmla="*/ 232637 w 565714"/>
                  <a:gd name="connsiteY14" fmla="*/ 136858 h 462857"/>
                  <a:gd name="connsiteX15" fmla="*/ 253057 w 565714"/>
                  <a:gd name="connsiteY15" fmla="*/ 222983 h 462857"/>
                  <a:gd name="connsiteX16" fmla="*/ 253057 w 565714"/>
                  <a:gd name="connsiteY16" fmla="*/ 414916 h 462857"/>
                  <a:gd name="connsiteX17" fmla="*/ 260397 w 565714"/>
                  <a:gd name="connsiteY17" fmla="*/ 434801 h 462857"/>
                  <a:gd name="connsiteX18" fmla="*/ 292123 w 565714"/>
                  <a:gd name="connsiteY18" fmla="*/ 441866 h 462857"/>
                  <a:gd name="connsiteX19" fmla="*/ 552433 w 565714"/>
                  <a:gd name="connsiteY19" fmla="*/ 318849 h 462857"/>
                  <a:gd name="connsiteX20" fmla="*/ 566383 w 565714"/>
                  <a:gd name="connsiteY20" fmla="*/ 323030 h 462857"/>
                  <a:gd name="connsiteX21" fmla="*/ 562208 w 565714"/>
                  <a:gd name="connsiteY21" fmla="*/ 336952 h 462857"/>
                  <a:gd name="connsiteX22" fmla="*/ 300124 w 565714"/>
                  <a:gd name="connsiteY22" fmla="*/ 460859 h 462857"/>
                  <a:gd name="connsiteX23" fmla="*/ 281409 w 565714"/>
                  <a:gd name="connsiteY23" fmla="*/ 464595 h 46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65714" h="462857">
                    <a:moveTo>
                      <a:pt x="281409" y="464595"/>
                    </a:moveTo>
                    <a:cubicBezTo>
                      <a:pt x="268016" y="464595"/>
                      <a:pt x="254762" y="459075"/>
                      <a:pt x="245265" y="448792"/>
                    </a:cubicBezTo>
                    <a:cubicBezTo>
                      <a:pt x="237055" y="439911"/>
                      <a:pt x="232463" y="427840"/>
                      <a:pt x="232463" y="414916"/>
                    </a:cubicBezTo>
                    <a:lnTo>
                      <a:pt x="232463" y="222983"/>
                    </a:lnTo>
                    <a:cubicBezTo>
                      <a:pt x="232463" y="197477"/>
                      <a:pt x="226306" y="171453"/>
                      <a:pt x="214061" y="145669"/>
                    </a:cubicBezTo>
                    <a:cubicBezTo>
                      <a:pt x="193015" y="101271"/>
                      <a:pt x="160420" y="69625"/>
                      <a:pt x="142817" y="54677"/>
                    </a:cubicBezTo>
                    <a:cubicBezTo>
                      <a:pt x="132869" y="46241"/>
                      <a:pt x="123024" y="39075"/>
                      <a:pt x="115093" y="34483"/>
                    </a:cubicBezTo>
                    <a:cubicBezTo>
                      <a:pt x="89107" y="19501"/>
                      <a:pt x="65208" y="16756"/>
                      <a:pt x="47780" y="26802"/>
                    </a:cubicBezTo>
                    <a:cubicBezTo>
                      <a:pt x="30387" y="36849"/>
                      <a:pt x="20820" y="58893"/>
                      <a:pt x="20820" y="88859"/>
                    </a:cubicBezTo>
                    <a:cubicBezTo>
                      <a:pt x="20820" y="94550"/>
                      <a:pt x="16228" y="99145"/>
                      <a:pt x="10558" y="99145"/>
                    </a:cubicBezTo>
                    <a:cubicBezTo>
                      <a:pt x="4853" y="99145"/>
                      <a:pt x="261" y="94550"/>
                      <a:pt x="261" y="88859"/>
                    </a:cubicBezTo>
                    <a:cubicBezTo>
                      <a:pt x="261" y="51212"/>
                      <a:pt x="13480" y="22858"/>
                      <a:pt x="37483" y="9009"/>
                    </a:cubicBezTo>
                    <a:cubicBezTo>
                      <a:pt x="61521" y="-4878"/>
                      <a:pt x="92724" y="-2168"/>
                      <a:pt x="125355" y="16686"/>
                    </a:cubicBezTo>
                    <a:cubicBezTo>
                      <a:pt x="134364" y="21831"/>
                      <a:pt x="145288" y="29784"/>
                      <a:pt x="156176" y="39009"/>
                    </a:cubicBezTo>
                    <a:cubicBezTo>
                      <a:pt x="174995" y="55018"/>
                      <a:pt x="209956" y="88998"/>
                      <a:pt x="232637" y="136858"/>
                    </a:cubicBezTo>
                    <a:cubicBezTo>
                      <a:pt x="246204" y="165418"/>
                      <a:pt x="253057" y="194392"/>
                      <a:pt x="253057" y="222983"/>
                    </a:cubicBezTo>
                    <a:lnTo>
                      <a:pt x="253057" y="414916"/>
                    </a:lnTo>
                    <a:cubicBezTo>
                      <a:pt x="253057" y="422663"/>
                      <a:pt x="255666" y="429725"/>
                      <a:pt x="260397" y="434801"/>
                    </a:cubicBezTo>
                    <a:cubicBezTo>
                      <a:pt x="268468" y="443612"/>
                      <a:pt x="281269" y="446426"/>
                      <a:pt x="292123" y="441866"/>
                    </a:cubicBezTo>
                    <a:cubicBezTo>
                      <a:pt x="392031" y="399899"/>
                      <a:pt x="474754" y="360812"/>
                      <a:pt x="552433" y="318849"/>
                    </a:cubicBezTo>
                    <a:cubicBezTo>
                      <a:pt x="557443" y="316174"/>
                      <a:pt x="563670" y="318024"/>
                      <a:pt x="566383" y="323030"/>
                    </a:cubicBezTo>
                    <a:cubicBezTo>
                      <a:pt x="569096" y="328036"/>
                      <a:pt x="567218" y="334277"/>
                      <a:pt x="562208" y="336952"/>
                    </a:cubicBezTo>
                    <a:cubicBezTo>
                      <a:pt x="483938" y="379225"/>
                      <a:pt x="400658" y="418618"/>
                      <a:pt x="300124" y="460859"/>
                    </a:cubicBezTo>
                    <a:cubicBezTo>
                      <a:pt x="294106" y="463361"/>
                      <a:pt x="287705" y="464595"/>
                      <a:pt x="281409" y="464595"/>
                    </a:cubicBezTo>
                  </a:path>
                </a:pathLst>
              </a:custGeom>
              <a:solidFill>
                <a:srgbClr val="3A3A3A"/>
              </a:solidFill>
              <a:ln w="12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39326A9E-128B-4B7A-8999-4D456F382306}"/>
                  </a:ext>
                </a:extLst>
              </p:cNvPr>
              <p:cNvSpPr/>
              <p:nvPr/>
            </p:nvSpPr>
            <p:spPr>
              <a:xfrm>
                <a:off x="10423877" y="3090268"/>
                <a:ext cx="344571" cy="663429"/>
              </a:xfrm>
              <a:custGeom>
                <a:avLst/>
                <a:gdLst>
                  <a:gd name="connsiteX0" fmla="*/ 86219 w 344571"/>
                  <a:gd name="connsiteY0" fmla="*/ 664045 h 663428"/>
                  <a:gd name="connsiteX1" fmla="*/ 77482 w 344571"/>
                  <a:gd name="connsiteY1" fmla="*/ 659177 h 663428"/>
                  <a:gd name="connsiteX2" fmla="*/ 80814 w 344571"/>
                  <a:gd name="connsiteY2" fmla="*/ 645016 h 663428"/>
                  <a:gd name="connsiteX3" fmla="*/ 288579 w 344571"/>
                  <a:gd name="connsiteY3" fmla="*/ 498651 h 663428"/>
                  <a:gd name="connsiteX4" fmla="*/ 291170 w 344571"/>
                  <a:gd name="connsiteY4" fmla="*/ 496526 h 663428"/>
                  <a:gd name="connsiteX5" fmla="*/ 302906 w 344571"/>
                  <a:gd name="connsiteY5" fmla="*/ 484698 h 663428"/>
                  <a:gd name="connsiteX6" fmla="*/ 326008 w 344571"/>
                  <a:gd name="connsiteY6" fmla="*/ 420858 h 663428"/>
                  <a:gd name="connsiteX7" fmla="*/ 209242 w 344571"/>
                  <a:gd name="connsiteY7" fmla="*/ 34659 h 663428"/>
                  <a:gd name="connsiteX8" fmla="*/ 107025 w 344571"/>
                  <a:gd name="connsiteY8" fmla="*/ 34326 h 663428"/>
                  <a:gd name="connsiteX9" fmla="*/ 15693 w 344571"/>
                  <a:gd name="connsiteY9" fmla="*/ 87056 h 663428"/>
                  <a:gd name="connsiteX10" fmla="*/ 1661 w 344571"/>
                  <a:gd name="connsiteY10" fmla="*/ 83291 h 663428"/>
                  <a:gd name="connsiteX11" fmla="*/ 5401 w 344571"/>
                  <a:gd name="connsiteY11" fmla="*/ 69238 h 663428"/>
                  <a:gd name="connsiteX12" fmla="*/ 96548 w 344571"/>
                  <a:gd name="connsiteY12" fmla="*/ 16593 h 663428"/>
                  <a:gd name="connsiteX13" fmla="*/ 218941 w 344571"/>
                  <a:gd name="connsiteY13" fmla="*/ 16556 h 663428"/>
                  <a:gd name="connsiteX14" fmla="*/ 346592 w 344571"/>
                  <a:gd name="connsiteY14" fmla="*/ 420858 h 663428"/>
                  <a:gd name="connsiteX15" fmla="*/ 318715 w 344571"/>
                  <a:gd name="connsiteY15" fmla="*/ 497829 h 663428"/>
                  <a:gd name="connsiteX16" fmla="*/ 304832 w 344571"/>
                  <a:gd name="connsiteY16" fmla="*/ 511920 h 663428"/>
                  <a:gd name="connsiteX17" fmla="*/ 301315 w 344571"/>
                  <a:gd name="connsiteY17" fmla="*/ 514833 h 663428"/>
                  <a:gd name="connsiteX18" fmla="*/ 91661 w 344571"/>
                  <a:gd name="connsiteY18" fmla="*/ 662502 h 663428"/>
                  <a:gd name="connsiteX19" fmla="*/ 86219 w 344571"/>
                  <a:gd name="connsiteY19" fmla="*/ 664045 h 663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44571" h="663428">
                    <a:moveTo>
                      <a:pt x="86219" y="664045"/>
                    </a:moveTo>
                    <a:cubicBezTo>
                      <a:pt x="82776" y="664045"/>
                      <a:pt x="79407" y="662331"/>
                      <a:pt x="77482" y="659177"/>
                    </a:cubicBezTo>
                    <a:cubicBezTo>
                      <a:pt x="74483" y="654342"/>
                      <a:pt x="75964" y="648000"/>
                      <a:pt x="80814" y="645016"/>
                    </a:cubicBezTo>
                    <a:cubicBezTo>
                      <a:pt x="150599" y="601749"/>
                      <a:pt x="218571" y="553884"/>
                      <a:pt x="288579" y="498651"/>
                    </a:cubicBezTo>
                    <a:cubicBezTo>
                      <a:pt x="289468" y="497966"/>
                      <a:pt x="290319" y="497244"/>
                      <a:pt x="291170" y="496526"/>
                    </a:cubicBezTo>
                    <a:cubicBezTo>
                      <a:pt x="296132" y="492136"/>
                      <a:pt x="299871" y="488363"/>
                      <a:pt x="302906" y="484698"/>
                    </a:cubicBezTo>
                    <a:cubicBezTo>
                      <a:pt x="317826" y="466731"/>
                      <a:pt x="326008" y="444033"/>
                      <a:pt x="326008" y="420858"/>
                    </a:cubicBezTo>
                    <a:cubicBezTo>
                      <a:pt x="326008" y="269521"/>
                      <a:pt x="295428" y="77568"/>
                      <a:pt x="209242" y="34659"/>
                    </a:cubicBezTo>
                    <a:cubicBezTo>
                      <a:pt x="167926" y="10891"/>
                      <a:pt x="125573" y="23257"/>
                      <a:pt x="107025" y="34326"/>
                    </a:cubicBezTo>
                    <a:cubicBezTo>
                      <a:pt x="105803" y="35030"/>
                      <a:pt x="66968" y="57465"/>
                      <a:pt x="15693" y="87056"/>
                    </a:cubicBezTo>
                    <a:cubicBezTo>
                      <a:pt x="10769" y="89881"/>
                      <a:pt x="4475" y="88208"/>
                      <a:pt x="1661" y="83291"/>
                    </a:cubicBezTo>
                    <a:cubicBezTo>
                      <a:pt x="-1189" y="78367"/>
                      <a:pt x="514" y="72077"/>
                      <a:pt x="5401" y="69238"/>
                    </a:cubicBezTo>
                    <a:cubicBezTo>
                      <a:pt x="59489" y="38028"/>
                      <a:pt x="95289" y="17370"/>
                      <a:pt x="96548" y="16593"/>
                    </a:cubicBezTo>
                    <a:cubicBezTo>
                      <a:pt x="102730" y="12965"/>
                      <a:pt x="158670" y="-18208"/>
                      <a:pt x="218941" y="16556"/>
                    </a:cubicBezTo>
                    <a:cubicBezTo>
                      <a:pt x="340409" y="76979"/>
                      <a:pt x="346592" y="363945"/>
                      <a:pt x="346592" y="420858"/>
                    </a:cubicBezTo>
                    <a:cubicBezTo>
                      <a:pt x="346592" y="448835"/>
                      <a:pt x="336670" y="476161"/>
                      <a:pt x="318715" y="497829"/>
                    </a:cubicBezTo>
                    <a:cubicBezTo>
                      <a:pt x="315013" y="502320"/>
                      <a:pt x="310607" y="506778"/>
                      <a:pt x="304832" y="511920"/>
                    </a:cubicBezTo>
                    <a:cubicBezTo>
                      <a:pt x="303684" y="512912"/>
                      <a:pt x="302499" y="513875"/>
                      <a:pt x="301315" y="514833"/>
                    </a:cubicBezTo>
                    <a:cubicBezTo>
                      <a:pt x="230714" y="570514"/>
                      <a:pt x="162113" y="618824"/>
                      <a:pt x="91661" y="662502"/>
                    </a:cubicBezTo>
                    <a:cubicBezTo>
                      <a:pt x="89921" y="663564"/>
                      <a:pt x="88070" y="664045"/>
                      <a:pt x="86219" y="664045"/>
                    </a:cubicBezTo>
                  </a:path>
                </a:pathLst>
              </a:custGeom>
              <a:solidFill>
                <a:srgbClr val="3A3A3A"/>
              </a:solidFill>
              <a:ln w="137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5B72A356-95E8-4C23-9524-AF2416404B57}"/>
                  </a:ext>
                </a:extLst>
              </p:cNvPr>
              <p:cNvSpPr/>
              <p:nvPr/>
            </p:nvSpPr>
            <p:spPr>
              <a:xfrm>
                <a:off x="9837115" y="3343702"/>
                <a:ext cx="285429" cy="838286"/>
              </a:xfrm>
              <a:custGeom>
                <a:avLst/>
                <a:gdLst>
                  <a:gd name="connsiteX0" fmla="*/ 30463 w 285428"/>
                  <a:gd name="connsiteY0" fmla="*/ 839548 h 838285"/>
                  <a:gd name="connsiteX1" fmla="*/ 15994 w 285428"/>
                  <a:gd name="connsiteY1" fmla="*/ 835811 h 838285"/>
                  <a:gd name="connsiteX2" fmla="*/ 257 w 285428"/>
                  <a:gd name="connsiteY2" fmla="*/ 803582 h 838285"/>
                  <a:gd name="connsiteX3" fmla="*/ 257 w 285428"/>
                  <a:gd name="connsiteY3" fmla="*/ 205195 h 838285"/>
                  <a:gd name="connsiteX4" fmla="*/ 41400 w 285428"/>
                  <a:gd name="connsiteY4" fmla="*/ 133744 h 838285"/>
                  <a:gd name="connsiteX5" fmla="*/ 270393 w 285428"/>
                  <a:gd name="connsiteY5" fmla="*/ 1641 h 838285"/>
                  <a:gd name="connsiteX6" fmla="*/ 284416 w 285428"/>
                  <a:gd name="connsiteY6" fmla="*/ 5413 h 838285"/>
                  <a:gd name="connsiteX7" fmla="*/ 280679 w 285428"/>
                  <a:gd name="connsiteY7" fmla="*/ 19435 h 838285"/>
                  <a:gd name="connsiteX8" fmla="*/ 51686 w 285428"/>
                  <a:gd name="connsiteY8" fmla="*/ 151538 h 838285"/>
                  <a:gd name="connsiteX9" fmla="*/ 20829 w 285428"/>
                  <a:gd name="connsiteY9" fmla="*/ 205195 h 838285"/>
                  <a:gd name="connsiteX10" fmla="*/ 20829 w 285428"/>
                  <a:gd name="connsiteY10" fmla="*/ 803582 h 838285"/>
                  <a:gd name="connsiteX11" fmla="*/ 26280 w 285428"/>
                  <a:gd name="connsiteY11" fmla="*/ 817982 h 838285"/>
                  <a:gd name="connsiteX12" fmla="*/ 41400 w 285428"/>
                  <a:gd name="connsiteY12" fmla="*/ 815479 h 838285"/>
                  <a:gd name="connsiteX13" fmla="*/ 49388 w 285428"/>
                  <a:gd name="connsiteY13" fmla="*/ 810954 h 838285"/>
                  <a:gd name="connsiteX14" fmla="*/ 63411 w 285428"/>
                  <a:gd name="connsiteY14" fmla="*/ 814759 h 838285"/>
                  <a:gd name="connsiteX15" fmla="*/ 59571 w 285428"/>
                  <a:gd name="connsiteY15" fmla="*/ 828816 h 838285"/>
                  <a:gd name="connsiteX16" fmla="*/ 51651 w 285428"/>
                  <a:gd name="connsiteY16" fmla="*/ 833308 h 838285"/>
                  <a:gd name="connsiteX17" fmla="*/ 30463 w 285428"/>
                  <a:gd name="connsiteY17" fmla="*/ 839548 h 838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85428" h="838285">
                    <a:moveTo>
                      <a:pt x="30463" y="839548"/>
                    </a:moveTo>
                    <a:cubicBezTo>
                      <a:pt x="25251" y="839548"/>
                      <a:pt x="20348" y="838314"/>
                      <a:pt x="15994" y="835811"/>
                    </a:cubicBezTo>
                    <a:cubicBezTo>
                      <a:pt x="5983" y="830016"/>
                      <a:pt x="257" y="818291"/>
                      <a:pt x="257" y="803582"/>
                    </a:cubicBezTo>
                    <a:lnTo>
                      <a:pt x="257" y="205195"/>
                    </a:lnTo>
                    <a:cubicBezTo>
                      <a:pt x="257" y="178487"/>
                      <a:pt x="18326" y="147115"/>
                      <a:pt x="41400" y="133744"/>
                    </a:cubicBezTo>
                    <a:cubicBezTo>
                      <a:pt x="41503" y="133710"/>
                      <a:pt x="139148" y="77413"/>
                      <a:pt x="270393" y="1641"/>
                    </a:cubicBezTo>
                    <a:cubicBezTo>
                      <a:pt x="275297" y="-1204"/>
                      <a:pt x="281605" y="476"/>
                      <a:pt x="284416" y="5413"/>
                    </a:cubicBezTo>
                    <a:cubicBezTo>
                      <a:pt x="287262" y="10316"/>
                      <a:pt x="285582" y="16624"/>
                      <a:pt x="280679" y="19435"/>
                    </a:cubicBezTo>
                    <a:cubicBezTo>
                      <a:pt x="87960" y="130727"/>
                      <a:pt x="57137" y="148453"/>
                      <a:pt x="51686" y="151538"/>
                    </a:cubicBezTo>
                    <a:cubicBezTo>
                      <a:pt x="34886" y="161070"/>
                      <a:pt x="20829" y="185824"/>
                      <a:pt x="20829" y="205195"/>
                    </a:cubicBezTo>
                    <a:lnTo>
                      <a:pt x="20829" y="803582"/>
                    </a:lnTo>
                    <a:cubicBezTo>
                      <a:pt x="20829" y="810714"/>
                      <a:pt x="22817" y="815994"/>
                      <a:pt x="26280" y="817982"/>
                    </a:cubicBezTo>
                    <a:cubicBezTo>
                      <a:pt x="29708" y="819971"/>
                      <a:pt x="35228" y="819045"/>
                      <a:pt x="41400" y="815479"/>
                    </a:cubicBezTo>
                    <a:lnTo>
                      <a:pt x="49388" y="810954"/>
                    </a:lnTo>
                    <a:cubicBezTo>
                      <a:pt x="54326" y="808142"/>
                      <a:pt x="60600" y="809822"/>
                      <a:pt x="63411" y="814759"/>
                    </a:cubicBezTo>
                    <a:cubicBezTo>
                      <a:pt x="66222" y="819697"/>
                      <a:pt x="64508" y="826005"/>
                      <a:pt x="59571" y="828816"/>
                    </a:cubicBezTo>
                    <a:lnTo>
                      <a:pt x="51651" y="833308"/>
                    </a:lnTo>
                    <a:cubicBezTo>
                      <a:pt x="44520" y="837456"/>
                      <a:pt x="37251" y="839548"/>
                      <a:pt x="30463" y="839548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6B1902D7-6F30-4923-A833-5B7BB444EF6A}"/>
                  </a:ext>
                </a:extLst>
              </p:cNvPr>
              <p:cNvSpPr/>
              <p:nvPr/>
            </p:nvSpPr>
            <p:spPr>
              <a:xfrm>
                <a:off x="9881056" y="3519381"/>
                <a:ext cx="115714" cy="74571"/>
              </a:xfrm>
              <a:custGeom>
                <a:avLst/>
                <a:gdLst>
                  <a:gd name="connsiteX0" fmla="*/ 10556 w 115714"/>
                  <a:gd name="connsiteY0" fmla="*/ 75596 h 74571"/>
                  <a:gd name="connsiteX1" fmla="*/ 1642 w 115714"/>
                  <a:gd name="connsiteY1" fmla="*/ 70453 h 74571"/>
                  <a:gd name="connsiteX2" fmla="*/ 5413 w 115714"/>
                  <a:gd name="connsiteY2" fmla="*/ 56396 h 74571"/>
                  <a:gd name="connsiteX3" fmla="*/ 100247 w 115714"/>
                  <a:gd name="connsiteY3" fmla="*/ 1641 h 74571"/>
                  <a:gd name="connsiteX4" fmla="*/ 114304 w 115714"/>
                  <a:gd name="connsiteY4" fmla="*/ 5413 h 74571"/>
                  <a:gd name="connsiteX5" fmla="*/ 110533 w 115714"/>
                  <a:gd name="connsiteY5" fmla="*/ 19470 h 74571"/>
                  <a:gd name="connsiteX6" fmla="*/ 15699 w 115714"/>
                  <a:gd name="connsiteY6" fmla="*/ 74224 h 74571"/>
                  <a:gd name="connsiteX7" fmla="*/ 10556 w 115714"/>
                  <a:gd name="connsiteY7" fmla="*/ 75596 h 74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5714" h="74571">
                    <a:moveTo>
                      <a:pt x="10556" y="75596"/>
                    </a:moveTo>
                    <a:cubicBezTo>
                      <a:pt x="6990" y="75596"/>
                      <a:pt x="3527" y="73744"/>
                      <a:pt x="1642" y="70453"/>
                    </a:cubicBezTo>
                    <a:cubicBezTo>
                      <a:pt x="-1204" y="65550"/>
                      <a:pt x="476" y="59241"/>
                      <a:pt x="5413" y="56396"/>
                    </a:cubicBezTo>
                    <a:lnTo>
                      <a:pt x="100247" y="1641"/>
                    </a:lnTo>
                    <a:cubicBezTo>
                      <a:pt x="105150" y="-1204"/>
                      <a:pt x="111458" y="476"/>
                      <a:pt x="114304" y="5413"/>
                    </a:cubicBezTo>
                    <a:cubicBezTo>
                      <a:pt x="117150" y="10350"/>
                      <a:pt x="115470" y="16624"/>
                      <a:pt x="110533" y="19470"/>
                    </a:cubicBezTo>
                    <a:lnTo>
                      <a:pt x="15699" y="74224"/>
                    </a:lnTo>
                    <a:cubicBezTo>
                      <a:pt x="14053" y="75150"/>
                      <a:pt x="12304" y="75596"/>
                      <a:pt x="10556" y="75596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C2EFFDD2-9049-4ED2-862D-EBD79C22CE60}"/>
                  </a:ext>
                </a:extLst>
              </p:cNvPr>
              <p:cNvSpPr/>
              <p:nvPr/>
            </p:nvSpPr>
            <p:spPr>
              <a:xfrm>
                <a:off x="10383934" y="3712540"/>
                <a:ext cx="136286" cy="200571"/>
              </a:xfrm>
              <a:custGeom>
                <a:avLst/>
                <a:gdLst>
                  <a:gd name="connsiteX0" fmla="*/ 112940 w 136285"/>
                  <a:gd name="connsiteY0" fmla="*/ 20833 h 200571"/>
                  <a:gd name="connsiteX1" fmla="*/ 109426 w 136285"/>
                  <a:gd name="connsiteY1" fmla="*/ 22068 h 200571"/>
                  <a:gd name="connsiteX2" fmla="*/ 37635 w 136285"/>
                  <a:gd name="connsiteY2" fmla="*/ 63553 h 200571"/>
                  <a:gd name="connsiteX3" fmla="*/ 20814 w 136285"/>
                  <a:gd name="connsiteY3" fmla="*/ 96432 h 200571"/>
                  <a:gd name="connsiteX4" fmla="*/ 20814 w 136285"/>
                  <a:gd name="connsiteY4" fmla="*/ 171588 h 200571"/>
                  <a:gd name="connsiteX5" fmla="*/ 23262 w 136285"/>
                  <a:gd name="connsiteY5" fmla="*/ 180399 h 200571"/>
                  <a:gd name="connsiteX6" fmla="*/ 27344 w 136285"/>
                  <a:gd name="connsiteY6" fmla="*/ 179267 h 200571"/>
                  <a:gd name="connsiteX7" fmla="*/ 99135 w 136285"/>
                  <a:gd name="connsiteY7" fmla="*/ 137782 h 200571"/>
                  <a:gd name="connsiteX8" fmla="*/ 115921 w 136285"/>
                  <a:gd name="connsiteY8" fmla="*/ 104832 h 200571"/>
                  <a:gd name="connsiteX9" fmla="*/ 115921 w 136285"/>
                  <a:gd name="connsiteY9" fmla="*/ 29747 h 200571"/>
                  <a:gd name="connsiteX10" fmla="*/ 113472 w 136285"/>
                  <a:gd name="connsiteY10" fmla="*/ 20936 h 200571"/>
                  <a:gd name="connsiteX11" fmla="*/ 112940 w 136285"/>
                  <a:gd name="connsiteY11" fmla="*/ 20833 h 200571"/>
                  <a:gd name="connsiteX12" fmla="*/ 23724 w 136285"/>
                  <a:gd name="connsiteY12" fmla="*/ 201074 h 200571"/>
                  <a:gd name="connsiteX13" fmla="*/ 12971 w 136285"/>
                  <a:gd name="connsiteY13" fmla="*/ 198229 h 200571"/>
                  <a:gd name="connsiteX14" fmla="*/ 266 w 136285"/>
                  <a:gd name="connsiteY14" fmla="*/ 171588 h 200571"/>
                  <a:gd name="connsiteX15" fmla="*/ 266 w 136285"/>
                  <a:gd name="connsiteY15" fmla="*/ 96432 h 200571"/>
                  <a:gd name="connsiteX16" fmla="*/ 27344 w 136285"/>
                  <a:gd name="connsiteY16" fmla="*/ 45727 h 200571"/>
                  <a:gd name="connsiteX17" fmla="*/ 99135 w 136285"/>
                  <a:gd name="connsiteY17" fmla="*/ 4238 h 200571"/>
                  <a:gd name="connsiteX18" fmla="*/ 123763 w 136285"/>
                  <a:gd name="connsiteY18" fmla="*/ 3107 h 200571"/>
                  <a:gd name="connsiteX19" fmla="*/ 136504 w 136285"/>
                  <a:gd name="connsiteY19" fmla="*/ 29747 h 200571"/>
                  <a:gd name="connsiteX20" fmla="*/ 136504 w 136285"/>
                  <a:gd name="connsiteY20" fmla="*/ 104832 h 200571"/>
                  <a:gd name="connsiteX21" fmla="*/ 109426 w 136285"/>
                  <a:gd name="connsiteY21" fmla="*/ 155611 h 200571"/>
                  <a:gd name="connsiteX22" fmla="*/ 37635 w 136285"/>
                  <a:gd name="connsiteY22" fmla="*/ 197096 h 200571"/>
                  <a:gd name="connsiteX23" fmla="*/ 23724 w 136285"/>
                  <a:gd name="connsiteY23" fmla="*/ 201074 h 200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6285" h="200571">
                    <a:moveTo>
                      <a:pt x="112940" y="20833"/>
                    </a:moveTo>
                    <a:cubicBezTo>
                      <a:pt x="112265" y="20833"/>
                      <a:pt x="111023" y="21141"/>
                      <a:pt x="109426" y="22068"/>
                    </a:cubicBezTo>
                    <a:lnTo>
                      <a:pt x="37635" y="63553"/>
                    </a:lnTo>
                    <a:cubicBezTo>
                      <a:pt x="28656" y="68730"/>
                      <a:pt x="20814" y="84090"/>
                      <a:pt x="20814" y="96432"/>
                    </a:cubicBezTo>
                    <a:lnTo>
                      <a:pt x="20814" y="171588"/>
                    </a:lnTo>
                    <a:cubicBezTo>
                      <a:pt x="20814" y="177624"/>
                      <a:pt x="22623" y="180055"/>
                      <a:pt x="23262" y="180399"/>
                    </a:cubicBezTo>
                    <a:cubicBezTo>
                      <a:pt x="23653" y="180673"/>
                      <a:pt x="25143" y="180538"/>
                      <a:pt x="27344" y="179267"/>
                    </a:cubicBezTo>
                    <a:lnTo>
                      <a:pt x="99135" y="137782"/>
                    </a:lnTo>
                    <a:cubicBezTo>
                      <a:pt x="108078" y="132605"/>
                      <a:pt x="115921" y="117210"/>
                      <a:pt x="115921" y="104832"/>
                    </a:cubicBezTo>
                    <a:lnTo>
                      <a:pt x="115921" y="29747"/>
                    </a:lnTo>
                    <a:cubicBezTo>
                      <a:pt x="115921" y="23714"/>
                      <a:pt x="114111" y="21312"/>
                      <a:pt x="113472" y="20936"/>
                    </a:cubicBezTo>
                    <a:cubicBezTo>
                      <a:pt x="113365" y="20868"/>
                      <a:pt x="113188" y="20833"/>
                      <a:pt x="112940" y="20833"/>
                    </a:cubicBezTo>
                    <a:close/>
                    <a:moveTo>
                      <a:pt x="23724" y="201074"/>
                    </a:moveTo>
                    <a:cubicBezTo>
                      <a:pt x="19926" y="201074"/>
                      <a:pt x="16271" y="200113"/>
                      <a:pt x="12971" y="198229"/>
                    </a:cubicBezTo>
                    <a:cubicBezTo>
                      <a:pt x="4880" y="193565"/>
                      <a:pt x="266" y="183828"/>
                      <a:pt x="266" y="171588"/>
                    </a:cubicBezTo>
                    <a:lnTo>
                      <a:pt x="266" y="96432"/>
                    </a:lnTo>
                    <a:cubicBezTo>
                      <a:pt x="266" y="76754"/>
                      <a:pt x="12155" y="54503"/>
                      <a:pt x="27344" y="45727"/>
                    </a:cubicBezTo>
                    <a:lnTo>
                      <a:pt x="99135" y="4238"/>
                    </a:lnTo>
                    <a:cubicBezTo>
                      <a:pt x="107616" y="-630"/>
                      <a:pt x="116559" y="-1042"/>
                      <a:pt x="123763" y="3107"/>
                    </a:cubicBezTo>
                    <a:cubicBezTo>
                      <a:pt x="131855" y="7805"/>
                      <a:pt x="136504" y="17507"/>
                      <a:pt x="136504" y="29747"/>
                    </a:cubicBezTo>
                    <a:lnTo>
                      <a:pt x="136504" y="104832"/>
                    </a:lnTo>
                    <a:cubicBezTo>
                      <a:pt x="136504" y="124549"/>
                      <a:pt x="124615" y="146835"/>
                      <a:pt x="109426" y="155611"/>
                    </a:cubicBezTo>
                    <a:lnTo>
                      <a:pt x="37635" y="197096"/>
                    </a:lnTo>
                    <a:cubicBezTo>
                      <a:pt x="33022" y="199737"/>
                      <a:pt x="28266" y="201074"/>
                      <a:pt x="23724" y="201074"/>
                    </a:cubicBezTo>
                  </a:path>
                </a:pathLst>
              </a:custGeom>
              <a:solidFill>
                <a:srgbClr val="3A3A3A"/>
              </a:solidFill>
              <a:ln w="1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56B389F8-FF87-4392-9EBE-36CCF971186F}"/>
                  </a:ext>
                </a:extLst>
              </p:cNvPr>
              <p:cNvSpPr/>
              <p:nvPr/>
            </p:nvSpPr>
            <p:spPr>
              <a:xfrm>
                <a:off x="10383864" y="3755632"/>
                <a:ext cx="136286" cy="87429"/>
              </a:xfrm>
              <a:custGeom>
                <a:avLst/>
                <a:gdLst>
                  <a:gd name="connsiteX0" fmla="*/ 10575 w 136285"/>
                  <a:gd name="connsiteY0" fmla="*/ 87614 h 87428"/>
                  <a:gd name="connsiteX1" fmla="*/ 1665 w 136285"/>
                  <a:gd name="connsiteY1" fmla="*/ 82471 h 87428"/>
                  <a:gd name="connsiteX2" fmla="*/ 5428 w 136285"/>
                  <a:gd name="connsiteY2" fmla="*/ 68414 h 87428"/>
                  <a:gd name="connsiteX3" fmla="*/ 121110 w 136285"/>
                  <a:gd name="connsiteY3" fmla="*/ 1628 h 87428"/>
                  <a:gd name="connsiteX4" fmla="*/ 135131 w 136285"/>
                  <a:gd name="connsiteY4" fmla="*/ 5398 h 87428"/>
                  <a:gd name="connsiteX5" fmla="*/ 131404 w 136285"/>
                  <a:gd name="connsiteY5" fmla="*/ 19458 h 87428"/>
                  <a:gd name="connsiteX6" fmla="*/ 15721 w 136285"/>
                  <a:gd name="connsiteY6" fmla="*/ 86212 h 87428"/>
                  <a:gd name="connsiteX7" fmla="*/ 10575 w 136285"/>
                  <a:gd name="connsiteY7" fmla="*/ 87614 h 8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6285" h="87428">
                    <a:moveTo>
                      <a:pt x="10575" y="87614"/>
                    </a:moveTo>
                    <a:cubicBezTo>
                      <a:pt x="7025" y="87614"/>
                      <a:pt x="3582" y="85765"/>
                      <a:pt x="1665" y="82471"/>
                    </a:cubicBezTo>
                    <a:cubicBezTo>
                      <a:pt x="-1210" y="77537"/>
                      <a:pt x="494" y="71261"/>
                      <a:pt x="5428" y="68414"/>
                    </a:cubicBezTo>
                    <a:lnTo>
                      <a:pt x="121110" y="1628"/>
                    </a:lnTo>
                    <a:cubicBezTo>
                      <a:pt x="126008" y="-1183"/>
                      <a:pt x="132327" y="496"/>
                      <a:pt x="135131" y="5398"/>
                    </a:cubicBezTo>
                    <a:cubicBezTo>
                      <a:pt x="137971" y="10335"/>
                      <a:pt x="136302" y="16611"/>
                      <a:pt x="131404" y="19458"/>
                    </a:cubicBezTo>
                    <a:lnTo>
                      <a:pt x="15721" y="86212"/>
                    </a:lnTo>
                    <a:cubicBezTo>
                      <a:pt x="14089" y="87171"/>
                      <a:pt x="12314" y="87614"/>
                      <a:pt x="10575" y="87614"/>
                    </a:cubicBezTo>
                  </a:path>
                </a:pathLst>
              </a:custGeom>
              <a:solidFill>
                <a:srgbClr val="3A3A3A"/>
              </a:solidFill>
              <a:ln w="131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34E7E113-30D5-4FDB-AC72-FD9DD6F4DF24}"/>
                  </a:ext>
                </a:extLst>
              </p:cNvPr>
              <p:cNvSpPr/>
              <p:nvPr/>
            </p:nvSpPr>
            <p:spPr>
              <a:xfrm>
                <a:off x="10024439" y="3613656"/>
                <a:ext cx="46286" cy="33429"/>
              </a:xfrm>
              <a:custGeom>
                <a:avLst/>
                <a:gdLst>
                  <a:gd name="connsiteX0" fmla="*/ 10556 w 46285"/>
                  <a:gd name="connsiteY0" fmla="*/ 35492 h 33428"/>
                  <a:gd name="connsiteX1" fmla="*/ 1641 w 46285"/>
                  <a:gd name="connsiteY1" fmla="*/ 30349 h 33428"/>
                  <a:gd name="connsiteX2" fmla="*/ 5413 w 46285"/>
                  <a:gd name="connsiteY2" fmla="*/ 16292 h 33428"/>
                  <a:gd name="connsiteX3" fmla="*/ 30887 w 46285"/>
                  <a:gd name="connsiteY3" fmla="*/ 1618 h 33428"/>
                  <a:gd name="connsiteX4" fmla="*/ 44944 w 46285"/>
                  <a:gd name="connsiteY4" fmla="*/ 5423 h 33428"/>
                  <a:gd name="connsiteX5" fmla="*/ 41173 w 46285"/>
                  <a:gd name="connsiteY5" fmla="*/ 19446 h 33428"/>
                  <a:gd name="connsiteX6" fmla="*/ 15664 w 46285"/>
                  <a:gd name="connsiteY6" fmla="*/ 34120 h 33428"/>
                  <a:gd name="connsiteX7" fmla="*/ 10556 w 46285"/>
                  <a:gd name="connsiteY7" fmla="*/ 35492 h 33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6285" h="33428">
                    <a:moveTo>
                      <a:pt x="10556" y="35492"/>
                    </a:moveTo>
                    <a:cubicBezTo>
                      <a:pt x="6990" y="35492"/>
                      <a:pt x="3527" y="33640"/>
                      <a:pt x="1641" y="30349"/>
                    </a:cubicBezTo>
                    <a:cubicBezTo>
                      <a:pt x="-1204" y="25412"/>
                      <a:pt x="476" y="19137"/>
                      <a:pt x="5413" y="16292"/>
                    </a:cubicBezTo>
                    <a:lnTo>
                      <a:pt x="30887" y="1618"/>
                    </a:lnTo>
                    <a:cubicBezTo>
                      <a:pt x="35824" y="-1194"/>
                      <a:pt x="42098" y="486"/>
                      <a:pt x="44944" y="5423"/>
                    </a:cubicBezTo>
                    <a:cubicBezTo>
                      <a:pt x="47790" y="10326"/>
                      <a:pt x="46076" y="16635"/>
                      <a:pt x="41173" y="19446"/>
                    </a:cubicBezTo>
                    <a:lnTo>
                      <a:pt x="15664" y="34120"/>
                    </a:lnTo>
                    <a:cubicBezTo>
                      <a:pt x="14053" y="35046"/>
                      <a:pt x="12304" y="35492"/>
                      <a:pt x="10556" y="35492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EBBB6494-3FA5-4C19-92D3-9085A2522B7C}"/>
                  </a:ext>
                </a:extLst>
              </p:cNvPr>
              <p:cNvSpPr/>
              <p:nvPr/>
            </p:nvSpPr>
            <p:spPr>
              <a:xfrm>
                <a:off x="10177216" y="3147714"/>
                <a:ext cx="267429" cy="198000"/>
              </a:xfrm>
              <a:custGeom>
                <a:avLst/>
                <a:gdLst>
                  <a:gd name="connsiteX0" fmla="*/ 22177 w 267428"/>
                  <a:gd name="connsiteY0" fmla="*/ 177969 h 198000"/>
                  <a:gd name="connsiteX1" fmla="*/ 22212 w 267428"/>
                  <a:gd name="connsiteY1" fmla="*/ 178004 h 198000"/>
                  <a:gd name="connsiteX2" fmla="*/ 23158 w 267428"/>
                  <a:gd name="connsiteY2" fmla="*/ 178985 h 198000"/>
                  <a:gd name="connsiteX3" fmla="*/ 30690 w 267428"/>
                  <a:gd name="connsiteY3" fmla="*/ 177093 h 198000"/>
                  <a:gd name="connsiteX4" fmla="*/ 39064 w 267428"/>
                  <a:gd name="connsiteY4" fmla="*/ 169875 h 198000"/>
                  <a:gd name="connsiteX5" fmla="*/ 45826 w 267428"/>
                  <a:gd name="connsiteY5" fmla="*/ 162378 h 198000"/>
                  <a:gd name="connsiteX6" fmla="*/ 129631 w 267428"/>
                  <a:gd name="connsiteY6" fmla="*/ 93007 h 198000"/>
                  <a:gd name="connsiteX7" fmla="*/ 172235 w 267428"/>
                  <a:gd name="connsiteY7" fmla="*/ 73772 h 198000"/>
                  <a:gd name="connsiteX8" fmla="*/ 209899 w 267428"/>
                  <a:gd name="connsiteY8" fmla="*/ 65819 h 198000"/>
                  <a:gd name="connsiteX9" fmla="*/ 222021 w 267428"/>
                  <a:gd name="connsiteY9" fmla="*/ 65188 h 198000"/>
                  <a:gd name="connsiteX10" fmla="*/ 228047 w 267428"/>
                  <a:gd name="connsiteY10" fmla="*/ 63156 h 198000"/>
                  <a:gd name="connsiteX11" fmla="*/ 240344 w 267428"/>
                  <a:gd name="connsiteY11" fmla="*/ 50754 h 198000"/>
                  <a:gd name="connsiteX12" fmla="*/ 245985 w 267428"/>
                  <a:gd name="connsiteY12" fmla="*/ 39437 h 198000"/>
                  <a:gd name="connsiteX13" fmla="*/ 247422 w 267428"/>
                  <a:gd name="connsiteY13" fmla="*/ 23776 h 198000"/>
                  <a:gd name="connsiteX14" fmla="*/ 245810 w 267428"/>
                  <a:gd name="connsiteY14" fmla="*/ 21148 h 198000"/>
                  <a:gd name="connsiteX15" fmla="*/ 244374 w 267428"/>
                  <a:gd name="connsiteY15" fmla="*/ 20833 h 198000"/>
                  <a:gd name="connsiteX16" fmla="*/ 234669 w 267428"/>
                  <a:gd name="connsiteY16" fmla="*/ 21253 h 198000"/>
                  <a:gd name="connsiteX17" fmla="*/ 140107 w 267428"/>
                  <a:gd name="connsiteY17" fmla="*/ 52646 h 198000"/>
                  <a:gd name="connsiteX18" fmla="*/ 32442 w 267428"/>
                  <a:gd name="connsiteY18" fmla="*/ 144089 h 198000"/>
                  <a:gd name="connsiteX19" fmla="*/ 21932 w 267428"/>
                  <a:gd name="connsiteY19" fmla="*/ 163849 h 198000"/>
                  <a:gd name="connsiteX20" fmla="*/ 21581 w 267428"/>
                  <a:gd name="connsiteY20" fmla="*/ 176672 h 198000"/>
                  <a:gd name="connsiteX21" fmla="*/ 21756 w 267428"/>
                  <a:gd name="connsiteY21" fmla="*/ 177233 h 198000"/>
                  <a:gd name="connsiteX22" fmla="*/ 24314 w 267428"/>
                  <a:gd name="connsiteY22" fmla="*/ 199796 h 198000"/>
                  <a:gd name="connsiteX23" fmla="*/ 12717 w 267428"/>
                  <a:gd name="connsiteY23" fmla="*/ 196713 h 198000"/>
                  <a:gd name="connsiteX24" fmla="*/ 5395 w 267428"/>
                  <a:gd name="connsiteY24" fmla="*/ 189846 h 198000"/>
                  <a:gd name="connsiteX25" fmla="*/ 4659 w 267428"/>
                  <a:gd name="connsiteY25" fmla="*/ 188795 h 198000"/>
                  <a:gd name="connsiteX26" fmla="*/ 2977 w 267428"/>
                  <a:gd name="connsiteY26" fmla="*/ 185817 h 198000"/>
                  <a:gd name="connsiteX27" fmla="*/ 1646 w 267428"/>
                  <a:gd name="connsiteY27" fmla="*/ 181928 h 198000"/>
                  <a:gd name="connsiteX28" fmla="*/ 1961 w 267428"/>
                  <a:gd name="connsiteY28" fmla="*/ 158769 h 198000"/>
                  <a:gd name="connsiteX29" fmla="*/ 16991 w 267428"/>
                  <a:gd name="connsiteY29" fmla="*/ 130530 h 198000"/>
                  <a:gd name="connsiteX30" fmla="*/ 129807 w 267428"/>
                  <a:gd name="connsiteY30" fmla="*/ 34848 h 198000"/>
                  <a:gd name="connsiteX31" fmla="*/ 233268 w 267428"/>
                  <a:gd name="connsiteY31" fmla="*/ 723 h 198000"/>
                  <a:gd name="connsiteX32" fmla="*/ 244129 w 267428"/>
                  <a:gd name="connsiteY32" fmla="*/ 267 h 198000"/>
                  <a:gd name="connsiteX33" fmla="*/ 254359 w 267428"/>
                  <a:gd name="connsiteY33" fmla="*/ 2474 h 198000"/>
                  <a:gd name="connsiteX34" fmla="*/ 255060 w 267428"/>
                  <a:gd name="connsiteY34" fmla="*/ 2790 h 198000"/>
                  <a:gd name="connsiteX35" fmla="*/ 256006 w 267428"/>
                  <a:gd name="connsiteY35" fmla="*/ 3280 h 198000"/>
                  <a:gd name="connsiteX36" fmla="*/ 267042 w 267428"/>
                  <a:gd name="connsiteY36" fmla="*/ 17610 h 198000"/>
                  <a:gd name="connsiteX37" fmla="*/ 265500 w 267428"/>
                  <a:gd name="connsiteY37" fmla="*/ 45989 h 198000"/>
                  <a:gd name="connsiteX38" fmla="*/ 257582 w 267428"/>
                  <a:gd name="connsiteY38" fmla="*/ 61965 h 198000"/>
                  <a:gd name="connsiteX39" fmla="*/ 238348 w 267428"/>
                  <a:gd name="connsiteY39" fmla="*/ 80955 h 198000"/>
                  <a:gd name="connsiteX40" fmla="*/ 222231 w 267428"/>
                  <a:gd name="connsiteY40" fmla="*/ 85755 h 198000"/>
                  <a:gd name="connsiteX41" fmla="*/ 211896 w 267428"/>
                  <a:gd name="connsiteY41" fmla="*/ 86280 h 198000"/>
                  <a:gd name="connsiteX42" fmla="*/ 178576 w 267428"/>
                  <a:gd name="connsiteY42" fmla="*/ 93322 h 198000"/>
                  <a:gd name="connsiteX43" fmla="*/ 139967 w 267428"/>
                  <a:gd name="connsiteY43" fmla="*/ 110805 h 198000"/>
                  <a:gd name="connsiteX44" fmla="*/ 61031 w 267428"/>
                  <a:gd name="connsiteY44" fmla="*/ 176217 h 198000"/>
                  <a:gd name="connsiteX45" fmla="*/ 54480 w 267428"/>
                  <a:gd name="connsiteY45" fmla="*/ 183504 h 198000"/>
                  <a:gd name="connsiteX46" fmla="*/ 40921 w 267428"/>
                  <a:gd name="connsiteY46" fmla="*/ 194926 h 198000"/>
                  <a:gd name="connsiteX47" fmla="*/ 24314 w 267428"/>
                  <a:gd name="connsiteY47" fmla="*/ 199796 h 19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267428" h="198000">
                    <a:moveTo>
                      <a:pt x="22177" y="177969"/>
                    </a:moveTo>
                    <a:lnTo>
                      <a:pt x="22212" y="178004"/>
                    </a:lnTo>
                    <a:cubicBezTo>
                      <a:pt x="22597" y="178634"/>
                      <a:pt x="22912" y="178845"/>
                      <a:pt x="23158" y="178985"/>
                    </a:cubicBezTo>
                    <a:cubicBezTo>
                      <a:pt x="23964" y="179510"/>
                      <a:pt x="26731" y="179370"/>
                      <a:pt x="30690" y="177093"/>
                    </a:cubicBezTo>
                    <a:cubicBezTo>
                      <a:pt x="33423" y="175551"/>
                      <a:pt x="36156" y="173169"/>
                      <a:pt x="39064" y="169875"/>
                    </a:cubicBezTo>
                    <a:cubicBezTo>
                      <a:pt x="41096" y="167598"/>
                      <a:pt x="45826" y="162378"/>
                      <a:pt x="45826" y="162378"/>
                    </a:cubicBezTo>
                    <a:cubicBezTo>
                      <a:pt x="72418" y="133333"/>
                      <a:pt x="101393" y="109368"/>
                      <a:pt x="129631" y="93007"/>
                    </a:cubicBezTo>
                    <a:cubicBezTo>
                      <a:pt x="143751" y="84843"/>
                      <a:pt x="158081" y="78362"/>
                      <a:pt x="172235" y="73772"/>
                    </a:cubicBezTo>
                    <a:cubicBezTo>
                      <a:pt x="184673" y="69708"/>
                      <a:pt x="197356" y="67045"/>
                      <a:pt x="209899" y="65819"/>
                    </a:cubicBezTo>
                    <a:cubicBezTo>
                      <a:pt x="213858" y="65434"/>
                      <a:pt x="217922" y="65223"/>
                      <a:pt x="222021" y="65188"/>
                    </a:cubicBezTo>
                    <a:cubicBezTo>
                      <a:pt x="223668" y="65154"/>
                      <a:pt x="225875" y="64418"/>
                      <a:pt x="228047" y="63156"/>
                    </a:cubicBezTo>
                    <a:cubicBezTo>
                      <a:pt x="232322" y="60669"/>
                      <a:pt x="236911" y="56044"/>
                      <a:pt x="240344" y="50754"/>
                    </a:cubicBezTo>
                    <a:cubicBezTo>
                      <a:pt x="242867" y="46900"/>
                      <a:pt x="244759" y="43081"/>
                      <a:pt x="245985" y="39437"/>
                    </a:cubicBezTo>
                    <a:cubicBezTo>
                      <a:pt x="248052" y="33236"/>
                      <a:pt x="248578" y="27560"/>
                      <a:pt x="247422" y="23776"/>
                    </a:cubicBezTo>
                    <a:cubicBezTo>
                      <a:pt x="247107" y="22900"/>
                      <a:pt x="246616" y="21709"/>
                      <a:pt x="245810" y="21148"/>
                    </a:cubicBezTo>
                    <a:cubicBezTo>
                      <a:pt x="245285" y="20938"/>
                      <a:pt x="244829" y="20798"/>
                      <a:pt x="244374" y="20833"/>
                    </a:cubicBezTo>
                    <a:cubicBezTo>
                      <a:pt x="241151" y="20868"/>
                      <a:pt x="237962" y="21043"/>
                      <a:pt x="234669" y="21253"/>
                    </a:cubicBezTo>
                    <a:cubicBezTo>
                      <a:pt x="204328" y="23321"/>
                      <a:pt x="172550" y="33866"/>
                      <a:pt x="140107" y="52646"/>
                    </a:cubicBezTo>
                    <a:cubicBezTo>
                      <a:pt x="103565" y="73737"/>
                      <a:pt x="66322" y="105375"/>
                      <a:pt x="32442" y="144089"/>
                    </a:cubicBezTo>
                    <a:cubicBezTo>
                      <a:pt x="27397" y="149800"/>
                      <a:pt x="23683" y="156807"/>
                      <a:pt x="21932" y="163849"/>
                    </a:cubicBezTo>
                    <a:cubicBezTo>
                      <a:pt x="20600" y="168929"/>
                      <a:pt x="20495" y="173589"/>
                      <a:pt x="21581" y="176672"/>
                    </a:cubicBezTo>
                    <a:cubicBezTo>
                      <a:pt x="21651" y="176848"/>
                      <a:pt x="21686" y="177058"/>
                      <a:pt x="21756" y="177233"/>
                    </a:cubicBezTo>
                    <a:close/>
                    <a:moveTo>
                      <a:pt x="24314" y="199796"/>
                    </a:moveTo>
                    <a:cubicBezTo>
                      <a:pt x="20144" y="199796"/>
                      <a:pt x="16186" y="198780"/>
                      <a:pt x="12717" y="196713"/>
                    </a:cubicBezTo>
                    <a:cubicBezTo>
                      <a:pt x="9844" y="195031"/>
                      <a:pt x="7392" y="192719"/>
                      <a:pt x="5395" y="189846"/>
                    </a:cubicBezTo>
                    <a:cubicBezTo>
                      <a:pt x="5114" y="189495"/>
                      <a:pt x="4869" y="189145"/>
                      <a:pt x="4659" y="188795"/>
                    </a:cubicBezTo>
                    <a:lnTo>
                      <a:pt x="2977" y="185817"/>
                    </a:lnTo>
                    <a:cubicBezTo>
                      <a:pt x="2276" y="184626"/>
                      <a:pt x="1821" y="183294"/>
                      <a:pt x="1646" y="181928"/>
                    </a:cubicBezTo>
                    <a:cubicBezTo>
                      <a:pt x="-281" y="175201"/>
                      <a:pt x="-211" y="167248"/>
                      <a:pt x="1961" y="158769"/>
                    </a:cubicBezTo>
                    <a:cubicBezTo>
                      <a:pt x="4519" y="148679"/>
                      <a:pt x="9844" y="138623"/>
                      <a:pt x="16991" y="130530"/>
                    </a:cubicBezTo>
                    <a:cubicBezTo>
                      <a:pt x="52308" y="90134"/>
                      <a:pt x="91337" y="57060"/>
                      <a:pt x="129807" y="34848"/>
                    </a:cubicBezTo>
                    <a:cubicBezTo>
                      <a:pt x="164948" y="14492"/>
                      <a:pt x="199773" y="3000"/>
                      <a:pt x="233268" y="723"/>
                    </a:cubicBezTo>
                    <a:cubicBezTo>
                      <a:pt x="236911" y="477"/>
                      <a:pt x="240520" y="302"/>
                      <a:pt x="244129" y="267"/>
                    </a:cubicBezTo>
                    <a:cubicBezTo>
                      <a:pt x="247842" y="197"/>
                      <a:pt x="251136" y="968"/>
                      <a:pt x="254359" y="2474"/>
                    </a:cubicBezTo>
                    <a:cubicBezTo>
                      <a:pt x="254604" y="2579"/>
                      <a:pt x="254849" y="2684"/>
                      <a:pt x="255060" y="2790"/>
                    </a:cubicBezTo>
                    <a:cubicBezTo>
                      <a:pt x="255410" y="2965"/>
                      <a:pt x="255690" y="3105"/>
                      <a:pt x="256006" y="3280"/>
                    </a:cubicBezTo>
                    <a:cubicBezTo>
                      <a:pt x="261191" y="6328"/>
                      <a:pt x="265045" y="11268"/>
                      <a:pt x="267042" y="17610"/>
                    </a:cubicBezTo>
                    <a:cubicBezTo>
                      <a:pt x="269564" y="25668"/>
                      <a:pt x="269004" y="35478"/>
                      <a:pt x="265500" y="45989"/>
                    </a:cubicBezTo>
                    <a:cubicBezTo>
                      <a:pt x="263713" y="51279"/>
                      <a:pt x="261051" y="56675"/>
                      <a:pt x="257582" y="61965"/>
                    </a:cubicBezTo>
                    <a:cubicBezTo>
                      <a:pt x="252327" y="70059"/>
                      <a:pt x="245495" y="76820"/>
                      <a:pt x="238348" y="80955"/>
                    </a:cubicBezTo>
                    <a:cubicBezTo>
                      <a:pt x="233057" y="84038"/>
                      <a:pt x="227451" y="85684"/>
                      <a:pt x="222231" y="85755"/>
                    </a:cubicBezTo>
                    <a:cubicBezTo>
                      <a:pt x="218728" y="85789"/>
                      <a:pt x="215259" y="85965"/>
                      <a:pt x="211896" y="86280"/>
                    </a:cubicBezTo>
                    <a:cubicBezTo>
                      <a:pt x="200824" y="87366"/>
                      <a:pt x="189648" y="89748"/>
                      <a:pt x="178576" y="93322"/>
                    </a:cubicBezTo>
                    <a:cubicBezTo>
                      <a:pt x="165824" y="97492"/>
                      <a:pt x="152825" y="103377"/>
                      <a:pt x="139967" y="110805"/>
                    </a:cubicBezTo>
                    <a:cubicBezTo>
                      <a:pt x="113480" y="126151"/>
                      <a:pt x="86187" y="148749"/>
                      <a:pt x="61031" y="176217"/>
                    </a:cubicBezTo>
                    <a:cubicBezTo>
                      <a:pt x="61031" y="176217"/>
                      <a:pt x="56407" y="181297"/>
                      <a:pt x="54480" y="183504"/>
                    </a:cubicBezTo>
                    <a:cubicBezTo>
                      <a:pt x="50030" y="188514"/>
                      <a:pt x="45616" y="192263"/>
                      <a:pt x="40921" y="194926"/>
                    </a:cubicBezTo>
                    <a:cubicBezTo>
                      <a:pt x="35315" y="198149"/>
                      <a:pt x="29639" y="199796"/>
                      <a:pt x="24314" y="199796"/>
                    </a:cubicBezTo>
                  </a:path>
                </a:pathLst>
              </a:custGeom>
              <a:solidFill>
                <a:srgbClr val="3A3A3A"/>
              </a:solidFill>
              <a:ln w="12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6F95C4F2-D537-40CA-B01E-24AF5601D5C0}"/>
                  </a:ext>
                </a:extLst>
              </p:cNvPr>
              <p:cNvSpPr/>
              <p:nvPr/>
            </p:nvSpPr>
            <p:spPr>
              <a:xfrm>
                <a:off x="10119520" y="3114357"/>
                <a:ext cx="318857" cy="231429"/>
              </a:xfrm>
              <a:custGeom>
                <a:avLst/>
                <a:gdLst>
                  <a:gd name="connsiteX0" fmla="*/ 75657 w 318857"/>
                  <a:gd name="connsiteY0" fmla="*/ 231498 h 231428"/>
                  <a:gd name="connsiteX1" fmla="*/ 70513 w 318857"/>
                  <a:gd name="connsiteY1" fmla="*/ 230133 h 231428"/>
                  <a:gd name="connsiteX2" fmla="*/ 12705 w 318857"/>
                  <a:gd name="connsiteY2" fmla="*/ 196785 h 231428"/>
                  <a:gd name="connsiteX3" fmla="*/ 5286 w 318857"/>
                  <a:gd name="connsiteY3" fmla="*/ 189716 h 231428"/>
                  <a:gd name="connsiteX4" fmla="*/ 4656 w 318857"/>
                  <a:gd name="connsiteY4" fmla="*/ 188771 h 231428"/>
                  <a:gd name="connsiteX5" fmla="*/ 2941 w 318857"/>
                  <a:gd name="connsiteY5" fmla="*/ 185797 h 231428"/>
                  <a:gd name="connsiteX6" fmla="*/ 1682 w 318857"/>
                  <a:gd name="connsiteY6" fmla="*/ 181912 h 231428"/>
                  <a:gd name="connsiteX7" fmla="*/ 1891 w 318857"/>
                  <a:gd name="connsiteY7" fmla="*/ 158887 h 231428"/>
                  <a:gd name="connsiteX8" fmla="*/ 16973 w 318857"/>
                  <a:gd name="connsiteY8" fmla="*/ 130542 h 231428"/>
                  <a:gd name="connsiteX9" fmla="*/ 129722 w 318857"/>
                  <a:gd name="connsiteY9" fmla="*/ 34836 h 231428"/>
                  <a:gd name="connsiteX10" fmla="*/ 233232 w 318857"/>
                  <a:gd name="connsiteY10" fmla="*/ 717 h 231428"/>
                  <a:gd name="connsiteX11" fmla="*/ 244080 w 318857"/>
                  <a:gd name="connsiteY11" fmla="*/ 262 h 231428"/>
                  <a:gd name="connsiteX12" fmla="*/ 254403 w 318857"/>
                  <a:gd name="connsiteY12" fmla="*/ 2467 h 231428"/>
                  <a:gd name="connsiteX13" fmla="*/ 255243 w 318857"/>
                  <a:gd name="connsiteY13" fmla="*/ 2887 h 231428"/>
                  <a:gd name="connsiteX14" fmla="*/ 313752 w 318857"/>
                  <a:gd name="connsiteY14" fmla="*/ 36621 h 231428"/>
                  <a:gd name="connsiteX15" fmla="*/ 317496 w 318857"/>
                  <a:gd name="connsiteY15" fmla="*/ 50653 h 231428"/>
                  <a:gd name="connsiteX16" fmla="*/ 303429 w 318857"/>
                  <a:gd name="connsiteY16" fmla="*/ 54432 h 231428"/>
                  <a:gd name="connsiteX17" fmla="*/ 245515 w 318857"/>
                  <a:gd name="connsiteY17" fmla="*/ 21013 h 231428"/>
                  <a:gd name="connsiteX18" fmla="*/ 244290 w 318857"/>
                  <a:gd name="connsiteY18" fmla="*/ 20838 h 231428"/>
                  <a:gd name="connsiteX19" fmla="*/ 234667 w 318857"/>
                  <a:gd name="connsiteY19" fmla="*/ 21258 h 231428"/>
                  <a:gd name="connsiteX20" fmla="*/ 140010 w 318857"/>
                  <a:gd name="connsiteY20" fmla="*/ 52647 h 231428"/>
                  <a:gd name="connsiteX21" fmla="*/ 32441 w 318857"/>
                  <a:gd name="connsiteY21" fmla="*/ 144085 h 231428"/>
                  <a:gd name="connsiteX22" fmla="*/ 21838 w 318857"/>
                  <a:gd name="connsiteY22" fmla="*/ 163926 h 231428"/>
                  <a:gd name="connsiteX23" fmla="*/ 21558 w 318857"/>
                  <a:gd name="connsiteY23" fmla="*/ 176663 h 231428"/>
                  <a:gd name="connsiteX24" fmla="*/ 21733 w 318857"/>
                  <a:gd name="connsiteY24" fmla="*/ 177224 h 231428"/>
                  <a:gd name="connsiteX25" fmla="*/ 22188 w 318857"/>
                  <a:gd name="connsiteY25" fmla="*/ 177958 h 231428"/>
                  <a:gd name="connsiteX26" fmla="*/ 22397 w 318857"/>
                  <a:gd name="connsiteY26" fmla="*/ 178273 h 231428"/>
                  <a:gd name="connsiteX27" fmla="*/ 23237 w 318857"/>
                  <a:gd name="connsiteY27" fmla="*/ 179078 h 231428"/>
                  <a:gd name="connsiteX28" fmla="*/ 80801 w 318857"/>
                  <a:gd name="connsiteY28" fmla="*/ 212287 h 231428"/>
                  <a:gd name="connsiteX29" fmla="*/ 84581 w 318857"/>
                  <a:gd name="connsiteY29" fmla="*/ 226354 h 231428"/>
                  <a:gd name="connsiteX30" fmla="*/ 75657 w 318857"/>
                  <a:gd name="connsiteY30" fmla="*/ 231498 h 23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18857" h="231428">
                    <a:moveTo>
                      <a:pt x="75657" y="231498"/>
                    </a:moveTo>
                    <a:cubicBezTo>
                      <a:pt x="73908" y="231498"/>
                      <a:pt x="72158" y="231043"/>
                      <a:pt x="70513" y="230133"/>
                    </a:cubicBezTo>
                    <a:lnTo>
                      <a:pt x="12705" y="196785"/>
                    </a:lnTo>
                    <a:cubicBezTo>
                      <a:pt x="9590" y="194860"/>
                      <a:pt x="7140" y="192516"/>
                      <a:pt x="5286" y="189716"/>
                    </a:cubicBezTo>
                    <a:cubicBezTo>
                      <a:pt x="5041" y="189401"/>
                      <a:pt x="4831" y="189086"/>
                      <a:pt x="4656" y="188771"/>
                    </a:cubicBezTo>
                    <a:lnTo>
                      <a:pt x="2941" y="185797"/>
                    </a:lnTo>
                    <a:cubicBezTo>
                      <a:pt x="2276" y="184607"/>
                      <a:pt x="1821" y="183277"/>
                      <a:pt x="1682" y="181912"/>
                    </a:cubicBezTo>
                    <a:cubicBezTo>
                      <a:pt x="-278" y="175264"/>
                      <a:pt x="-208" y="167355"/>
                      <a:pt x="1891" y="158887"/>
                    </a:cubicBezTo>
                    <a:cubicBezTo>
                      <a:pt x="4551" y="148599"/>
                      <a:pt x="9905" y="138556"/>
                      <a:pt x="16973" y="130542"/>
                    </a:cubicBezTo>
                    <a:cubicBezTo>
                      <a:pt x="52107" y="90265"/>
                      <a:pt x="91124" y="57161"/>
                      <a:pt x="129722" y="34836"/>
                    </a:cubicBezTo>
                    <a:cubicBezTo>
                      <a:pt x="164925" y="14505"/>
                      <a:pt x="199744" y="3027"/>
                      <a:pt x="233232" y="717"/>
                    </a:cubicBezTo>
                    <a:cubicBezTo>
                      <a:pt x="236837" y="472"/>
                      <a:pt x="240476" y="297"/>
                      <a:pt x="244080" y="262"/>
                    </a:cubicBezTo>
                    <a:cubicBezTo>
                      <a:pt x="247719" y="333"/>
                      <a:pt x="251114" y="962"/>
                      <a:pt x="254403" y="2467"/>
                    </a:cubicBezTo>
                    <a:cubicBezTo>
                      <a:pt x="254683" y="2572"/>
                      <a:pt x="254998" y="2712"/>
                      <a:pt x="255243" y="2887"/>
                    </a:cubicBezTo>
                    <a:lnTo>
                      <a:pt x="313752" y="36621"/>
                    </a:lnTo>
                    <a:cubicBezTo>
                      <a:pt x="318651" y="39455"/>
                      <a:pt x="320330" y="45719"/>
                      <a:pt x="317496" y="50653"/>
                    </a:cubicBezTo>
                    <a:cubicBezTo>
                      <a:pt x="314627" y="55587"/>
                      <a:pt x="308328" y="57267"/>
                      <a:pt x="303429" y="54432"/>
                    </a:cubicBezTo>
                    <a:lnTo>
                      <a:pt x="245515" y="21013"/>
                    </a:lnTo>
                    <a:cubicBezTo>
                      <a:pt x="245095" y="20874"/>
                      <a:pt x="244745" y="20804"/>
                      <a:pt x="244290" y="20838"/>
                    </a:cubicBezTo>
                    <a:cubicBezTo>
                      <a:pt x="241105" y="20874"/>
                      <a:pt x="237886" y="21013"/>
                      <a:pt x="234667" y="21258"/>
                    </a:cubicBezTo>
                    <a:cubicBezTo>
                      <a:pt x="204293" y="23323"/>
                      <a:pt x="172484" y="33891"/>
                      <a:pt x="140010" y="52647"/>
                    </a:cubicBezTo>
                    <a:cubicBezTo>
                      <a:pt x="103372" y="73853"/>
                      <a:pt x="66174" y="105452"/>
                      <a:pt x="32441" y="144085"/>
                    </a:cubicBezTo>
                    <a:cubicBezTo>
                      <a:pt x="27437" y="149789"/>
                      <a:pt x="23657" y="156823"/>
                      <a:pt x="21838" y="163926"/>
                    </a:cubicBezTo>
                    <a:cubicBezTo>
                      <a:pt x="20613" y="168895"/>
                      <a:pt x="20508" y="173584"/>
                      <a:pt x="21558" y="176663"/>
                    </a:cubicBezTo>
                    <a:cubicBezTo>
                      <a:pt x="21628" y="176838"/>
                      <a:pt x="21698" y="177013"/>
                      <a:pt x="21733" y="177224"/>
                    </a:cubicBezTo>
                    <a:lnTo>
                      <a:pt x="22188" y="177958"/>
                    </a:lnTo>
                    <a:cubicBezTo>
                      <a:pt x="22258" y="178063"/>
                      <a:pt x="22328" y="178168"/>
                      <a:pt x="22397" y="178273"/>
                    </a:cubicBezTo>
                    <a:cubicBezTo>
                      <a:pt x="22572" y="178553"/>
                      <a:pt x="22747" y="178798"/>
                      <a:pt x="23237" y="179078"/>
                    </a:cubicBezTo>
                    <a:lnTo>
                      <a:pt x="80801" y="212287"/>
                    </a:lnTo>
                    <a:cubicBezTo>
                      <a:pt x="85735" y="215156"/>
                      <a:pt x="87415" y="221420"/>
                      <a:pt x="84581" y="226354"/>
                    </a:cubicBezTo>
                    <a:cubicBezTo>
                      <a:pt x="82691" y="229643"/>
                      <a:pt x="79227" y="231498"/>
                      <a:pt x="75657" y="231498"/>
                    </a:cubicBezTo>
                  </a:path>
                </a:pathLst>
              </a:custGeom>
              <a:solidFill>
                <a:srgbClr val="3A3A3A"/>
              </a:solidFill>
              <a:ln w="12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0051683C-1D69-478B-96A1-12CF11FF19C2}"/>
                  </a:ext>
                </a:extLst>
              </p:cNvPr>
              <p:cNvSpPr/>
              <p:nvPr/>
            </p:nvSpPr>
            <p:spPr>
              <a:xfrm>
                <a:off x="10136310" y="3318000"/>
                <a:ext cx="56571" cy="100286"/>
              </a:xfrm>
              <a:custGeom>
                <a:avLst/>
                <a:gdLst>
                  <a:gd name="connsiteX0" fmla="*/ 10559 w 56571"/>
                  <a:gd name="connsiteY0" fmla="*/ 101811 h 100285"/>
                  <a:gd name="connsiteX1" fmla="*/ 273 w 56571"/>
                  <a:gd name="connsiteY1" fmla="*/ 91800 h 100285"/>
                  <a:gd name="connsiteX2" fmla="*/ 41622 w 56571"/>
                  <a:gd name="connsiteY2" fmla="*/ 1594 h 100285"/>
                  <a:gd name="connsiteX3" fmla="*/ 46730 w 56571"/>
                  <a:gd name="connsiteY3" fmla="*/ 257 h 100285"/>
                  <a:gd name="connsiteX4" fmla="*/ 57050 w 56571"/>
                  <a:gd name="connsiteY4" fmla="*/ 10543 h 100285"/>
                  <a:gd name="connsiteX5" fmla="*/ 51222 w 56571"/>
                  <a:gd name="connsiteY5" fmla="*/ 19834 h 100285"/>
                  <a:gd name="connsiteX6" fmla="*/ 20845 w 56571"/>
                  <a:gd name="connsiteY6" fmla="*/ 91251 h 100285"/>
                  <a:gd name="connsiteX7" fmla="*/ 10833 w 56571"/>
                  <a:gd name="connsiteY7" fmla="*/ 101811 h 100285"/>
                  <a:gd name="connsiteX8" fmla="*/ 10559 w 56571"/>
                  <a:gd name="connsiteY8" fmla="*/ 101811 h 10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6571" h="100285">
                    <a:moveTo>
                      <a:pt x="10559" y="101811"/>
                    </a:moveTo>
                    <a:cubicBezTo>
                      <a:pt x="5005" y="101811"/>
                      <a:pt x="445" y="97388"/>
                      <a:pt x="273" y="91800"/>
                    </a:cubicBezTo>
                    <a:cubicBezTo>
                      <a:pt x="205" y="89126"/>
                      <a:pt x="-1030" y="26006"/>
                      <a:pt x="41622" y="1594"/>
                    </a:cubicBezTo>
                    <a:cubicBezTo>
                      <a:pt x="43164" y="703"/>
                      <a:pt x="44913" y="257"/>
                      <a:pt x="46730" y="257"/>
                    </a:cubicBezTo>
                    <a:cubicBezTo>
                      <a:pt x="52387" y="257"/>
                      <a:pt x="57050" y="4851"/>
                      <a:pt x="57050" y="10543"/>
                    </a:cubicBezTo>
                    <a:cubicBezTo>
                      <a:pt x="57050" y="14623"/>
                      <a:pt x="54650" y="18154"/>
                      <a:pt x="51222" y="19834"/>
                    </a:cubicBezTo>
                    <a:cubicBezTo>
                      <a:pt x="19919" y="38417"/>
                      <a:pt x="20845" y="90737"/>
                      <a:pt x="20845" y="91251"/>
                    </a:cubicBezTo>
                    <a:cubicBezTo>
                      <a:pt x="20982" y="96943"/>
                      <a:pt x="16490" y="101640"/>
                      <a:pt x="10833" y="101811"/>
                    </a:cubicBezTo>
                    <a:cubicBezTo>
                      <a:pt x="10730" y="101811"/>
                      <a:pt x="10662" y="101811"/>
                      <a:pt x="10559" y="101811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5E307986-600F-42AD-9B8A-18475D8E15C3}"/>
                  </a:ext>
                </a:extLst>
              </p:cNvPr>
              <p:cNvSpPr/>
              <p:nvPr/>
            </p:nvSpPr>
            <p:spPr>
              <a:xfrm>
                <a:off x="10097841" y="3295810"/>
                <a:ext cx="95143" cy="123429"/>
              </a:xfrm>
              <a:custGeom>
                <a:avLst/>
                <a:gdLst>
                  <a:gd name="connsiteX0" fmla="*/ 49028 w 95142"/>
                  <a:gd name="connsiteY0" fmla="*/ 124001 h 123428"/>
                  <a:gd name="connsiteX1" fmla="*/ 43885 w 95142"/>
                  <a:gd name="connsiteY1" fmla="*/ 122630 h 123428"/>
                  <a:gd name="connsiteX2" fmla="*/ 5417 w 95142"/>
                  <a:gd name="connsiteY2" fmla="*/ 100378 h 123428"/>
                  <a:gd name="connsiteX3" fmla="*/ 308 w 95142"/>
                  <a:gd name="connsiteY3" fmla="*/ 91978 h 123428"/>
                  <a:gd name="connsiteX4" fmla="*/ 4868 w 95142"/>
                  <a:gd name="connsiteY4" fmla="*/ 55704 h 123428"/>
                  <a:gd name="connsiteX5" fmla="*/ 40388 w 95142"/>
                  <a:gd name="connsiteY5" fmla="*/ 2390 h 123428"/>
                  <a:gd name="connsiteX6" fmla="*/ 51874 w 95142"/>
                  <a:gd name="connsiteY6" fmla="*/ 1567 h 123428"/>
                  <a:gd name="connsiteX7" fmla="*/ 90342 w 95142"/>
                  <a:gd name="connsiteY7" fmla="*/ 23818 h 123428"/>
                  <a:gd name="connsiteX8" fmla="*/ 94114 w 95142"/>
                  <a:gd name="connsiteY8" fmla="*/ 37876 h 123428"/>
                  <a:gd name="connsiteX9" fmla="*/ 80056 w 95142"/>
                  <a:gd name="connsiteY9" fmla="*/ 41612 h 123428"/>
                  <a:gd name="connsiteX10" fmla="*/ 47588 w 95142"/>
                  <a:gd name="connsiteY10" fmla="*/ 22858 h 123428"/>
                  <a:gd name="connsiteX11" fmla="*/ 24719 w 95142"/>
                  <a:gd name="connsiteY11" fmla="*/ 61155 h 123428"/>
                  <a:gd name="connsiteX12" fmla="*/ 20914 w 95142"/>
                  <a:gd name="connsiteY12" fmla="*/ 85567 h 123428"/>
                  <a:gd name="connsiteX13" fmla="*/ 54171 w 95142"/>
                  <a:gd name="connsiteY13" fmla="*/ 104801 h 123428"/>
                  <a:gd name="connsiteX14" fmla="*/ 57942 w 95142"/>
                  <a:gd name="connsiteY14" fmla="*/ 118858 h 123428"/>
                  <a:gd name="connsiteX15" fmla="*/ 49028 w 95142"/>
                  <a:gd name="connsiteY15" fmla="*/ 124001 h 123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5142" h="123428">
                    <a:moveTo>
                      <a:pt x="49028" y="124001"/>
                    </a:moveTo>
                    <a:cubicBezTo>
                      <a:pt x="47279" y="124001"/>
                      <a:pt x="45496" y="123555"/>
                      <a:pt x="43885" y="122630"/>
                    </a:cubicBezTo>
                    <a:lnTo>
                      <a:pt x="5417" y="100378"/>
                    </a:lnTo>
                    <a:cubicBezTo>
                      <a:pt x="2399" y="98630"/>
                      <a:pt x="479" y="95475"/>
                      <a:pt x="308" y="91978"/>
                    </a:cubicBezTo>
                    <a:cubicBezTo>
                      <a:pt x="274" y="91327"/>
                      <a:pt x="-447" y="75144"/>
                      <a:pt x="4868" y="55704"/>
                    </a:cubicBezTo>
                    <a:cubicBezTo>
                      <a:pt x="11142" y="32870"/>
                      <a:pt x="23416" y="14424"/>
                      <a:pt x="40388" y="2390"/>
                    </a:cubicBezTo>
                    <a:cubicBezTo>
                      <a:pt x="43474" y="-10"/>
                      <a:pt x="48239" y="-524"/>
                      <a:pt x="51874" y="1567"/>
                    </a:cubicBezTo>
                    <a:lnTo>
                      <a:pt x="90342" y="23818"/>
                    </a:lnTo>
                    <a:cubicBezTo>
                      <a:pt x="95245" y="26664"/>
                      <a:pt x="96925" y="32938"/>
                      <a:pt x="94114" y="37876"/>
                    </a:cubicBezTo>
                    <a:cubicBezTo>
                      <a:pt x="91233" y="42778"/>
                      <a:pt x="84959" y="44458"/>
                      <a:pt x="80056" y="41612"/>
                    </a:cubicBezTo>
                    <a:lnTo>
                      <a:pt x="47588" y="22858"/>
                    </a:lnTo>
                    <a:cubicBezTo>
                      <a:pt x="36822" y="32081"/>
                      <a:pt x="29176" y="44938"/>
                      <a:pt x="24719" y="61155"/>
                    </a:cubicBezTo>
                    <a:cubicBezTo>
                      <a:pt x="21976" y="71133"/>
                      <a:pt x="21153" y="80115"/>
                      <a:pt x="20914" y="85567"/>
                    </a:cubicBezTo>
                    <a:lnTo>
                      <a:pt x="54171" y="104801"/>
                    </a:lnTo>
                    <a:cubicBezTo>
                      <a:pt x="59108" y="107647"/>
                      <a:pt x="60788" y="113955"/>
                      <a:pt x="57942" y="118858"/>
                    </a:cubicBezTo>
                    <a:cubicBezTo>
                      <a:pt x="56022" y="122150"/>
                      <a:pt x="52559" y="124001"/>
                      <a:pt x="49028" y="124001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3E4BFBF1-BC9B-471B-BDF9-CA181BE9CE3D}"/>
                  </a:ext>
                </a:extLst>
              </p:cNvPr>
              <p:cNvSpPr/>
              <p:nvPr/>
            </p:nvSpPr>
            <p:spPr>
              <a:xfrm>
                <a:off x="10423968" y="3174441"/>
                <a:ext cx="33429" cy="69429"/>
              </a:xfrm>
              <a:custGeom>
                <a:avLst/>
                <a:gdLst>
                  <a:gd name="connsiteX0" fmla="*/ 23328 w 33428"/>
                  <a:gd name="connsiteY0" fmla="*/ 71241 h 69428"/>
                  <a:gd name="connsiteX1" fmla="*/ 22942 w 33428"/>
                  <a:gd name="connsiteY1" fmla="*/ 71241 h 69428"/>
                  <a:gd name="connsiteX2" fmla="*/ 13042 w 33428"/>
                  <a:gd name="connsiteY2" fmla="*/ 60569 h 69428"/>
                  <a:gd name="connsiteX3" fmla="*/ 1561 w 33428"/>
                  <a:gd name="connsiteY3" fmla="*/ 15561 h 69428"/>
                  <a:gd name="connsiteX4" fmla="*/ 5564 w 33428"/>
                  <a:gd name="connsiteY4" fmla="*/ 1553 h 69428"/>
                  <a:gd name="connsiteX5" fmla="*/ 19537 w 33428"/>
                  <a:gd name="connsiteY5" fmla="*/ 5555 h 69428"/>
                  <a:gd name="connsiteX6" fmla="*/ 33615 w 33428"/>
                  <a:gd name="connsiteY6" fmla="*/ 61341 h 69428"/>
                  <a:gd name="connsiteX7" fmla="*/ 23328 w 33428"/>
                  <a:gd name="connsiteY7" fmla="*/ 71241 h 69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28" h="69428">
                    <a:moveTo>
                      <a:pt x="23328" y="71241"/>
                    </a:moveTo>
                    <a:cubicBezTo>
                      <a:pt x="23188" y="71241"/>
                      <a:pt x="23047" y="71241"/>
                      <a:pt x="22942" y="71241"/>
                    </a:cubicBezTo>
                    <a:cubicBezTo>
                      <a:pt x="17255" y="70996"/>
                      <a:pt x="12831" y="66221"/>
                      <a:pt x="13042" y="60569"/>
                    </a:cubicBezTo>
                    <a:cubicBezTo>
                      <a:pt x="13042" y="60358"/>
                      <a:pt x="13603" y="37257"/>
                      <a:pt x="1561" y="15561"/>
                    </a:cubicBezTo>
                    <a:cubicBezTo>
                      <a:pt x="-1212" y="10576"/>
                      <a:pt x="614" y="4327"/>
                      <a:pt x="5564" y="1553"/>
                    </a:cubicBezTo>
                    <a:cubicBezTo>
                      <a:pt x="10514" y="-1185"/>
                      <a:pt x="16798" y="570"/>
                      <a:pt x="19537" y="5555"/>
                    </a:cubicBezTo>
                    <a:cubicBezTo>
                      <a:pt x="34492" y="32448"/>
                      <a:pt x="33649" y="60183"/>
                      <a:pt x="33615" y="61341"/>
                    </a:cubicBezTo>
                    <a:cubicBezTo>
                      <a:pt x="33404" y="66888"/>
                      <a:pt x="28840" y="71241"/>
                      <a:pt x="23328" y="71241"/>
                    </a:cubicBezTo>
                  </a:path>
                </a:pathLst>
              </a:custGeom>
              <a:solidFill>
                <a:srgbClr val="3A3A3A"/>
              </a:solidFill>
              <a:ln w="13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</p:grpSp>
      <p:sp>
        <p:nvSpPr>
          <p:cNvPr id="446" name="Rectangle: Rounded Corners 445">
            <a:extLst>
              <a:ext uri="{FF2B5EF4-FFF2-40B4-BE49-F238E27FC236}">
                <a16:creationId xmlns:a16="http://schemas.microsoft.com/office/drawing/2014/main" id="{30D60FCA-037C-4BF0-9EE3-0F4DA4A55E9E}"/>
              </a:ext>
            </a:extLst>
          </p:cNvPr>
          <p:cNvSpPr/>
          <p:nvPr/>
        </p:nvSpPr>
        <p:spPr>
          <a:xfrm>
            <a:off x="622570" y="4990260"/>
            <a:ext cx="5393790" cy="1258996"/>
          </a:xfrm>
          <a:prstGeom prst="roundRect">
            <a:avLst>
              <a:gd name="adj" fmla="val 12746"/>
            </a:avLst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0" rtlCol="0" anchor="ctr"/>
          <a:lstStyle/>
          <a:p>
            <a:r>
              <a:rPr lang="ru-RU" sz="1300" b="1" dirty="0">
                <a:solidFill>
                  <a:srgbClr val="49A9F6"/>
                </a:solidFill>
              </a:rPr>
              <a:t>85 </a:t>
            </a:r>
            <a:r>
              <a:rPr lang="ru-RU" sz="1300" b="1" dirty="0" err="1">
                <a:solidFill>
                  <a:srgbClr val="49A9F6"/>
                </a:solidFill>
              </a:rPr>
              <a:t>фоиз</a:t>
            </a:r>
            <a:r>
              <a:rPr lang="ru-RU" sz="1300" b="1" dirty="0">
                <a:solidFill>
                  <a:srgbClr val="7740FF"/>
                </a:solidFill>
              </a:rPr>
              <a:t> </a:t>
            </a:r>
            <a:r>
              <a:rPr lang="ru-RU" sz="1300" b="1" dirty="0" err="1">
                <a:solidFill>
                  <a:srgbClr val="004BD2"/>
                </a:solidFill>
              </a:rPr>
              <a:t>фирибгарлар</a:t>
            </a:r>
            <a:r>
              <a:rPr lang="ru-RU" sz="1300" b="1" dirty="0">
                <a:solidFill>
                  <a:srgbClr val="004BD2"/>
                </a:solidFill>
              </a:rPr>
              <a:t> «</a:t>
            </a:r>
            <a:r>
              <a:rPr lang="ru-RU" sz="1300" b="1" dirty="0" err="1">
                <a:solidFill>
                  <a:srgbClr val="004BD2"/>
                </a:solidFill>
              </a:rPr>
              <a:t>қизил</a:t>
            </a:r>
            <a:r>
              <a:rPr lang="ru-RU" sz="1300" b="1" dirty="0">
                <a:solidFill>
                  <a:srgbClr val="004BD2"/>
                </a:solidFill>
              </a:rPr>
              <a:t> </a:t>
            </a:r>
            <a:r>
              <a:rPr lang="ru-RU" sz="1300" b="1" dirty="0" err="1">
                <a:solidFill>
                  <a:srgbClr val="004BD2"/>
                </a:solidFill>
              </a:rPr>
              <a:t>байроқлар</a:t>
            </a:r>
            <a:r>
              <a:rPr lang="ru-RU" sz="1300" b="1" dirty="0">
                <a:solidFill>
                  <a:srgbClr val="004BD2"/>
                </a:solidFill>
              </a:rPr>
              <a:t>» </a:t>
            </a:r>
            <a:r>
              <a:rPr lang="ru-RU" sz="1300" b="1" dirty="0" err="1">
                <a:solidFill>
                  <a:srgbClr val="004BD2"/>
                </a:solidFill>
              </a:rPr>
              <a:t>мавжудлиги</a:t>
            </a:r>
            <a:r>
              <a:rPr lang="ru-RU" sz="1300" b="1" dirty="0">
                <a:solidFill>
                  <a:srgbClr val="004BD2"/>
                </a:solidFill>
              </a:rPr>
              <a:t> </a:t>
            </a:r>
            <a:r>
              <a:rPr lang="ru-RU" sz="1300" b="1" dirty="0" err="1">
                <a:solidFill>
                  <a:srgbClr val="004BD2"/>
                </a:solidFill>
              </a:rPr>
              <a:t>билан</a:t>
            </a:r>
            <a:r>
              <a:rPr lang="ru-RU" sz="1300" b="1" dirty="0">
                <a:solidFill>
                  <a:srgbClr val="004BD2"/>
                </a:solidFill>
              </a:rPr>
              <a:t> </a:t>
            </a:r>
            <a:r>
              <a:rPr lang="ru-RU" sz="1300" b="1" dirty="0" err="1">
                <a:solidFill>
                  <a:srgbClr val="004BD2"/>
                </a:solidFill>
              </a:rPr>
              <a:t>хатти-ҳаракатни</a:t>
            </a:r>
            <a:r>
              <a:rPr lang="ru-RU" sz="1300" b="1" dirty="0">
                <a:solidFill>
                  <a:srgbClr val="004BD2"/>
                </a:solidFill>
              </a:rPr>
              <a:t> </a:t>
            </a:r>
            <a:r>
              <a:rPr lang="ru-RU" sz="1300" b="1" dirty="0" err="1">
                <a:solidFill>
                  <a:srgbClr val="004BD2"/>
                </a:solidFill>
              </a:rPr>
              <a:t>намойиш</a:t>
            </a:r>
            <a:r>
              <a:rPr lang="ru-RU" sz="1300" b="1" dirty="0">
                <a:solidFill>
                  <a:srgbClr val="004BD2"/>
                </a:solidFill>
              </a:rPr>
              <a:t> </a:t>
            </a:r>
            <a:r>
              <a:rPr lang="ru-RU" sz="1300" b="1" dirty="0" err="1">
                <a:solidFill>
                  <a:srgbClr val="004BD2"/>
                </a:solidFill>
              </a:rPr>
              <a:t>этдилар</a:t>
            </a:r>
            <a:r>
              <a:rPr lang="ru-RU" sz="1300" b="1" dirty="0">
                <a:solidFill>
                  <a:schemeClr val="tx2"/>
                </a:solidFill>
              </a:rPr>
              <a:t>. </a:t>
            </a:r>
            <a:r>
              <a:rPr lang="ru-RU" sz="1300" dirty="0">
                <a:solidFill>
                  <a:schemeClr val="tx2"/>
                </a:solidFill>
              </a:rPr>
              <a:t>Ушбу статистика </a:t>
            </a:r>
            <a:r>
              <a:rPr lang="ru-RU" sz="1300" dirty="0" err="1">
                <a:solidFill>
                  <a:schemeClr val="tx2"/>
                </a:solidFill>
              </a:rPr>
              <a:t>қоидабузарликларни</a:t>
            </a:r>
            <a:r>
              <a:rPr lang="ru-RU" sz="1300" dirty="0">
                <a:solidFill>
                  <a:schemeClr val="tx2"/>
                </a:solidFill>
              </a:rPr>
              <a:t> </a:t>
            </a:r>
            <a:r>
              <a:rPr lang="ru-RU" sz="1300" dirty="0" err="1">
                <a:solidFill>
                  <a:schemeClr val="tx2"/>
                </a:solidFill>
              </a:rPr>
              <a:t>ўз</a:t>
            </a:r>
            <a:r>
              <a:rPr lang="ru-RU" sz="1300" dirty="0">
                <a:solidFill>
                  <a:schemeClr val="tx2"/>
                </a:solidFill>
              </a:rPr>
              <a:t> </a:t>
            </a:r>
            <a:r>
              <a:rPr lang="ru-RU" sz="1300" dirty="0" err="1">
                <a:solidFill>
                  <a:schemeClr val="tx2"/>
                </a:solidFill>
              </a:rPr>
              <a:t>вақтида</a:t>
            </a:r>
            <a:r>
              <a:rPr lang="ru-RU" sz="1300" dirty="0">
                <a:solidFill>
                  <a:schemeClr val="tx2"/>
                </a:solidFill>
              </a:rPr>
              <a:t> </a:t>
            </a:r>
            <a:r>
              <a:rPr lang="ru-RU" sz="1300" dirty="0" err="1">
                <a:solidFill>
                  <a:schemeClr val="tx2"/>
                </a:solidFill>
              </a:rPr>
              <a:t>аниқлаш</a:t>
            </a:r>
            <a:r>
              <a:rPr lang="ru-RU" sz="1300" dirty="0">
                <a:solidFill>
                  <a:schemeClr val="tx2"/>
                </a:solidFill>
              </a:rPr>
              <a:t> </a:t>
            </a:r>
            <a:r>
              <a:rPr lang="ru-RU" sz="1300" dirty="0" err="1">
                <a:solidFill>
                  <a:schemeClr val="tx2"/>
                </a:solidFill>
              </a:rPr>
              <a:t>учун</a:t>
            </a:r>
            <a:r>
              <a:rPr lang="ru-RU" sz="1300" dirty="0">
                <a:solidFill>
                  <a:schemeClr val="tx2"/>
                </a:solidFill>
              </a:rPr>
              <a:t> </a:t>
            </a:r>
            <a:r>
              <a:rPr lang="ru-RU" sz="1300" dirty="0" err="1">
                <a:solidFill>
                  <a:schemeClr val="tx2"/>
                </a:solidFill>
              </a:rPr>
              <a:t>ходимларнинг</a:t>
            </a:r>
            <a:r>
              <a:rPr lang="ru-RU" sz="1300" dirty="0">
                <a:solidFill>
                  <a:schemeClr val="tx2"/>
                </a:solidFill>
              </a:rPr>
              <a:t> </a:t>
            </a:r>
            <a:r>
              <a:rPr lang="ru-RU" sz="1300" dirty="0" err="1">
                <a:solidFill>
                  <a:schemeClr val="tx2"/>
                </a:solidFill>
              </a:rPr>
              <a:t>хатти-ҳаракатларини</a:t>
            </a:r>
            <a:r>
              <a:rPr lang="ru-RU" sz="1300" dirty="0">
                <a:solidFill>
                  <a:schemeClr val="tx2"/>
                </a:solidFill>
              </a:rPr>
              <a:t> мониторинг </a:t>
            </a:r>
            <a:r>
              <a:rPr lang="ru-RU" sz="1300" dirty="0" err="1">
                <a:solidFill>
                  <a:schemeClr val="tx2"/>
                </a:solidFill>
              </a:rPr>
              <a:t>қилиш</a:t>
            </a:r>
            <a:r>
              <a:rPr lang="ru-RU" sz="1300" dirty="0">
                <a:solidFill>
                  <a:schemeClr val="tx2"/>
                </a:solidFill>
              </a:rPr>
              <a:t> </a:t>
            </a:r>
            <a:r>
              <a:rPr lang="ru-RU" sz="1300" dirty="0" err="1">
                <a:solidFill>
                  <a:schemeClr val="tx2"/>
                </a:solidFill>
              </a:rPr>
              <a:t>усулларига</a:t>
            </a:r>
            <a:r>
              <a:rPr lang="ru-RU" sz="1300" dirty="0">
                <a:solidFill>
                  <a:schemeClr val="tx2"/>
                </a:solidFill>
              </a:rPr>
              <a:t> </a:t>
            </a:r>
            <a:r>
              <a:rPr lang="ru-RU" sz="1300" dirty="0" err="1">
                <a:solidFill>
                  <a:schemeClr val="tx2"/>
                </a:solidFill>
              </a:rPr>
              <a:t>эга</a:t>
            </a:r>
            <a:r>
              <a:rPr lang="ru-RU" sz="1300" dirty="0">
                <a:solidFill>
                  <a:schemeClr val="tx2"/>
                </a:solidFill>
              </a:rPr>
              <a:t> </a:t>
            </a:r>
            <a:r>
              <a:rPr lang="ru-RU" sz="1300" dirty="0" err="1">
                <a:solidFill>
                  <a:schemeClr val="tx2"/>
                </a:solidFill>
              </a:rPr>
              <a:t>бўлиш</a:t>
            </a:r>
            <a:r>
              <a:rPr lang="ru-RU" sz="1300" dirty="0">
                <a:solidFill>
                  <a:schemeClr val="tx2"/>
                </a:solidFill>
              </a:rPr>
              <a:t> </a:t>
            </a:r>
            <a:r>
              <a:rPr lang="ru-RU" sz="1300" dirty="0" err="1">
                <a:solidFill>
                  <a:schemeClr val="tx2"/>
                </a:solidFill>
              </a:rPr>
              <a:t>муҳимлигини</a:t>
            </a:r>
            <a:r>
              <a:rPr lang="ru-RU" sz="1300" dirty="0">
                <a:solidFill>
                  <a:schemeClr val="tx2"/>
                </a:solidFill>
              </a:rPr>
              <a:t> </a:t>
            </a:r>
            <a:r>
              <a:rPr lang="ru-RU" sz="1300" dirty="0" err="1">
                <a:solidFill>
                  <a:schemeClr val="tx2"/>
                </a:solidFill>
              </a:rPr>
              <a:t>кўрсатади</a:t>
            </a:r>
            <a:r>
              <a:rPr lang="ru-RU" sz="13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569" name="Group 568">
            <a:extLst>
              <a:ext uri="{FF2B5EF4-FFF2-40B4-BE49-F238E27FC236}">
                <a16:creationId xmlns:a16="http://schemas.microsoft.com/office/drawing/2014/main" id="{00211695-87DF-4AD3-B624-A74B2918C10B}"/>
              </a:ext>
            </a:extLst>
          </p:cNvPr>
          <p:cNvGrpSpPr/>
          <p:nvPr/>
        </p:nvGrpSpPr>
        <p:grpSpPr>
          <a:xfrm flipH="1">
            <a:off x="560653" y="5035036"/>
            <a:ext cx="1261622" cy="1186804"/>
            <a:chOff x="381081" y="3584935"/>
            <a:chExt cx="2820480" cy="2653218"/>
          </a:xfrm>
        </p:grpSpPr>
        <p:sp>
          <p:nvSpPr>
            <p:cNvPr id="570" name="Freeform: Shape 569">
              <a:extLst>
                <a:ext uri="{FF2B5EF4-FFF2-40B4-BE49-F238E27FC236}">
                  <a16:creationId xmlns:a16="http://schemas.microsoft.com/office/drawing/2014/main" id="{CA39E025-594A-4C86-935B-6750220504F1}"/>
                </a:ext>
              </a:extLst>
            </p:cNvPr>
            <p:cNvSpPr/>
            <p:nvPr/>
          </p:nvSpPr>
          <p:spPr>
            <a:xfrm>
              <a:off x="435110" y="4449508"/>
              <a:ext cx="425021" cy="483465"/>
            </a:xfrm>
            <a:custGeom>
              <a:avLst/>
              <a:gdLst>
                <a:gd name="connsiteX0" fmla="*/ 387271 w 387000"/>
                <a:gd name="connsiteY0" fmla="*/ 18092 h 435857"/>
                <a:gd name="connsiteX1" fmla="*/ 387271 w 387000"/>
                <a:gd name="connsiteY1" fmla="*/ 195367 h 435857"/>
                <a:gd name="connsiteX2" fmla="*/ 362115 w 387000"/>
                <a:gd name="connsiteY2" fmla="*/ 238927 h 435857"/>
                <a:gd name="connsiteX3" fmla="*/ 228598 w 387000"/>
                <a:gd name="connsiteY3" fmla="*/ 315984 h 435857"/>
                <a:gd name="connsiteX4" fmla="*/ 193723 w 387000"/>
                <a:gd name="connsiteY4" fmla="*/ 426178 h 435857"/>
                <a:gd name="connsiteX5" fmla="*/ 158799 w 387000"/>
                <a:gd name="connsiteY5" fmla="*/ 356287 h 435857"/>
                <a:gd name="connsiteX6" fmla="*/ 25282 w 387000"/>
                <a:gd name="connsiteY6" fmla="*/ 433395 h 435857"/>
                <a:gd name="connsiteX7" fmla="*/ 7531 w 387000"/>
                <a:gd name="connsiteY7" fmla="*/ 435161 h 435857"/>
                <a:gd name="connsiteX8" fmla="*/ 7161 w 387000"/>
                <a:gd name="connsiteY8" fmla="*/ 434921 h 435857"/>
                <a:gd name="connsiteX9" fmla="*/ 129 w 387000"/>
                <a:gd name="connsiteY9" fmla="*/ 418841 h 435857"/>
                <a:gd name="connsiteX10" fmla="*/ 129 w 387000"/>
                <a:gd name="connsiteY10" fmla="*/ 241567 h 435857"/>
                <a:gd name="connsiteX11" fmla="*/ 25282 w 387000"/>
                <a:gd name="connsiteY11" fmla="*/ 198041 h 435857"/>
                <a:gd name="connsiteX12" fmla="*/ 362115 w 387000"/>
                <a:gd name="connsiteY12" fmla="*/ 3590 h 435857"/>
                <a:gd name="connsiteX13" fmla="*/ 379915 w 387000"/>
                <a:gd name="connsiteY13" fmla="*/ 1824 h 435857"/>
                <a:gd name="connsiteX14" fmla="*/ 387271 w 387000"/>
                <a:gd name="connsiteY14" fmla="*/ 18092 h 435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87000" h="435857">
                  <a:moveTo>
                    <a:pt x="387271" y="18092"/>
                  </a:moveTo>
                  <a:lnTo>
                    <a:pt x="387271" y="195367"/>
                  </a:lnTo>
                  <a:cubicBezTo>
                    <a:pt x="387271" y="211395"/>
                    <a:pt x="376017" y="230921"/>
                    <a:pt x="362115" y="238927"/>
                  </a:cubicBezTo>
                  <a:lnTo>
                    <a:pt x="228598" y="315984"/>
                  </a:lnTo>
                  <a:lnTo>
                    <a:pt x="193723" y="426178"/>
                  </a:lnTo>
                  <a:lnTo>
                    <a:pt x="158799" y="356287"/>
                  </a:lnTo>
                  <a:lnTo>
                    <a:pt x="25282" y="433395"/>
                  </a:lnTo>
                  <a:cubicBezTo>
                    <a:pt x="18367" y="437390"/>
                    <a:pt x="12103" y="437784"/>
                    <a:pt x="7531" y="435161"/>
                  </a:cubicBezTo>
                  <a:lnTo>
                    <a:pt x="7161" y="434921"/>
                  </a:lnTo>
                  <a:cubicBezTo>
                    <a:pt x="2798" y="432230"/>
                    <a:pt x="129" y="426658"/>
                    <a:pt x="129" y="418841"/>
                  </a:cubicBezTo>
                  <a:lnTo>
                    <a:pt x="129" y="241567"/>
                  </a:lnTo>
                  <a:cubicBezTo>
                    <a:pt x="129" y="225538"/>
                    <a:pt x="11429" y="206064"/>
                    <a:pt x="25282" y="198041"/>
                  </a:cubicBezTo>
                  <a:lnTo>
                    <a:pt x="362115" y="3590"/>
                  </a:lnTo>
                  <a:cubicBezTo>
                    <a:pt x="369055" y="-456"/>
                    <a:pt x="375389" y="-833"/>
                    <a:pt x="379915" y="1824"/>
                  </a:cubicBezTo>
                  <a:cubicBezTo>
                    <a:pt x="384463" y="4447"/>
                    <a:pt x="387271" y="10087"/>
                    <a:pt x="387271" y="18092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1" name="Freeform: Shape 570">
              <a:extLst>
                <a:ext uri="{FF2B5EF4-FFF2-40B4-BE49-F238E27FC236}">
                  <a16:creationId xmlns:a16="http://schemas.microsoft.com/office/drawing/2014/main" id="{070F02A1-18D8-4FEC-B99D-22A8594738D2}"/>
                </a:ext>
              </a:extLst>
            </p:cNvPr>
            <p:cNvSpPr/>
            <p:nvPr/>
          </p:nvSpPr>
          <p:spPr>
            <a:xfrm>
              <a:off x="386728" y="4421301"/>
              <a:ext cx="464558" cy="510563"/>
            </a:xfrm>
            <a:custGeom>
              <a:avLst/>
              <a:gdLst>
                <a:gd name="connsiteX0" fmla="*/ 379913 w 423000"/>
                <a:gd name="connsiteY0" fmla="*/ 1831 h 460285"/>
                <a:gd name="connsiteX1" fmla="*/ 423969 w 423000"/>
                <a:gd name="connsiteY1" fmla="*/ 27254 h 460285"/>
                <a:gd name="connsiteX2" fmla="*/ 406169 w 423000"/>
                <a:gd name="connsiteY2" fmla="*/ 29020 h 460285"/>
                <a:gd name="connsiteX3" fmla="*/ 69336 w 423000"/>
                <a:gd name="connsiteY3" fmla="*/ 223471 h 460285"/>
                <a:gd name="connsiteX4" fmla="*/ 44182 w 423000"/>
                <a:gd name="connsiteY4" fmla="*/ 266997 h 460285"/>
                <a:gd name="connsiteX5" fmla="*/ 44182 w 423000"/>
                <a:gd name="connsiteY5" fmla="*/ 444271 h 460285"/>
                <a:gd name="connsiteX6" fmla="*/ 51214 w 423000"/>
                <a:gd name="connsiteY6" fmla="*/ 460351 h 460285"/>
                <a:gd name="connsiteX7" fmla="*/ 7507 w 423000"/>
                <a:gd name="connsiteY7" fmla="*/ 435134 h 460285"/>
                <a:gd name="connsiteX8" fmla="*/ 129 w 423000"/>
                <a:gd name="connsiteY8" fmla="*/ 418848 h 460285"/>
                <a:gd name="connsiteX9" fmla="*/ 129 w 423000"/>
                <a:gd name="connsiteY9" fmla="*/ 241574 h 460285"/>
                <a:gd name="connsiteX10" fmla="*/ 25306 w 423000"/>
                <a:gd name="connsiteY10" fmla="*/ 198014 h 460285"/>
                <a:gd name="connsiteX11" fmla="*/ 362115 w 423000"/>
                <a:gd name="connsiteY11" fmla="*/ 3597 h 460285"/>
                <a:gd name="connsiteX12" fmla="*/ 379913 w 423000"/>
                <a:gd name="connsiteY12" fmla="*/ 1831 h 46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3000" h="460285">
                  <a:moveTo>
                    <a:pt x="379913" y="1831"/>
                  </a:moveTo>
                  <a:lnTo>
                    <a:pt x="423969" y="27254"/>
                  </a:lnTo>
                  <a:cubicBezTo>
                    <a:pt x="419443" y="24597"/>
                    <a:pt x="413109" y="24974"/>
                    <a:pt x="406169" y="29020"/>
                  </a:cubicBezTo>
                  <a:lnTo>
                    <a:pt x="69336" y="223471"/>
                  </a:lnTo>
                  <a:cubicBezTo>
                    <a:pt x="55483" y="231494"/>
                    <a:pt x="44182" y="250968"/>
                    <a:pt x="44182" y="266997"/>
                  </a:cubicBezTo>
                  <a:lnTo>
                    <a:pt x="44182" y="444271"/>
                  </a:lnTo>
                  <a:cubicBezTo>
                    <a:pt x="44182" y="452088"/>
                    <a:pt x="46851" y="457660"/>
                    <a:pt x="51214" y="460351"/>
                  </a:cubicBezTo>
                  <a:lnTo>
                    <a:pt x="7507" y="435134"/>
                  </a:lnTo>
                  <a:cubicBezTo>
                    <a:pt x="2983" y="432545"/>
                    <a:pt x="129" y="426888"/>
                    <a:pt x="129" y="418848"/>
                  </a:cubicBezTo>
                  <a:lnTo>
                    <a:pt x="129" y="241574"/>
                  </a:lnTo>
                  <a:cubicBezTo>
                    <a:pt x="129" y="225545"/>
                    <a:pt x="11383" y="206071"/>
                    <a:pt x="25306" y="198014"/>
                  </a:cubicBezTo>
                  <a:lnTo>
                    <a:pt x="362115" y="3597"/>
                  </a:lnTo>
                  <a:cubicBezTo>
                    <a:pt x="369077" y="-449"/>
                    <a:pt x="375343" y="-843"/>
                    <a:pt x="379913" y="1831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2" name="Freeform: Shape 571">
              <a:extLst>
                <a:ext uri="{FF2B5EF4-FFF2-40B4-BE49-F238E27FC236}">
                  <a16:creationId xmlns:a16="http://schemas.microsoft.com/office/drawing/2014/main" id="{BFDE0783-C6D4-485B-BD33-EBB0D349EA67}"/>
                </a:ext>
              </a:extLst>
            </p:cNvPr>
            <p:cNvSpPr/>
            <p:nvPr/>
          </p:nvSpPr>
          <p:spPr>
            <a:xfrm>
              <a:off x="429462" y="4443822"/>
              <a:ext cx="436318" cy="494875"/>
            </a:xfrm>
            <a:custGeom>
              <a:avLst/>
              <a:gdLst>
                <a:gd name="connsiteX0" fmla="*/ 15233 w 397285"/>
                <a:gd name="connsiteY0" fmla="*/ 435830 h 446142"/>
                <a:gd name="connsiteX1" fmla="*/ 27854 w 397285"/>
                <a:gd name="connsiteY1" fmla="*/ 434064 h 446142"/>
                <a:gd name="connsiteX2" fmla="*/ 161373 w 397285"/>
                <a:gd name="connsiteY2" fmla="*/ 356955 h 446142"/>
                <a:gd name="connsiteX3" fmla="*/ 165423 w 397285"/>
                <a:gd name="connsiteY3" fmla="*/ 356492 h 446142"/>
                <a:gd name="connsiteX4" fmla="*/ 168545 w 397285"/>
                <a:gd name="connsiteY4" fmla="*/ 359115 h 446142"/>
                <a:gd name="connsiteX5" fmla="*/ 197793 w 397285"/>
                <a:gd name="connsiteY5" fmla="*/ 417658 h 446142"/>
                <a:gd name="connsiteX6" fmla="*/ 228838 w 397285"/>
                <a:gd name="connsiteY6" fmla="*/ 319549 h 446142"/>
                <a:gd name="connsiteX7" fmla="*/ 231171 w 397285"/>
                <a:gd name="connsiteY7" fmla="*/ 316652 h 446142"/>
                <a:gd name="connsiteX8" fmla="*/ 364687 w 397285"/>
                <a:gd name="connsiteY8" fmla="*/ 239595 h 446142"/>
                <a:gd name="connsiteX9" fmla="*/ 387269 w 397285"/>
                <a:gd name="connsiteY9" fmla="*/ 200492 h 446142"/>
                <a:gd name="connsiteX10" fmla="*/ 387269 w 397285"/>
                <a:gd name="connsiteY10" fmla="*/ 23218 h 446142"/>
                <a:gd name="connsiteX11" fmla="*/ 382481 w 397285"/>
                <a:gd name="connsiteY11" fmla="*/ 11389 h 446142"/>
                <a:gd name="connsiteX12" fmla="*/ 369845 w 397285"/>
                <a:gd name="connsiteY12" fmla="*/ 13155 h 446142"/>
                <a:gd name="connsiteX13" fmla="*/ 32997 w 397285"/>
                <a:gd name="connsiteY13" fmla="*/ 207607 h 446142"/>
                <a:gd name="connsiteX14" fmla="*/ 10414 w 397285"/>
                <a:gd name="connsiteY14" fmla="*/ 246692 h 446142"/>
                <a:gd name="connsiteX15" fmla="*/ 10414 w 397285"/>
                <a:gd name="connsiteY15" fmla="*/ 423967 h 446142"/>
                <a:gd name="connsiteX16" fmla="*/ 15003 w 397285"/>
                <a:gd name="connsiteY16" fmla="*/ 435675 h 446142"/>
                <a:gd name="connsiteX17" fmla="*/ 19202 w 397285"/>
                <a:gd name="connsiteY17" fmla="*/ 447110 h 446142"/>
                <a:gd name="connsiteX18" fmla="*/ 10109 w 397285"/>
                <a:gd name="connsiteY18" fmla="*/ 444744 h 446142"/>
                <a:gd name="connsiteX19" fmla="*/ 9759 w 397285"/>
                <a:gd name="connsiteY19" fmla="*/ 444521 h 446142"/>
                <a:gd name="connsiteX20" fmla="*/ 9603 w 397285"/>
                <a:gd name="connsiteY20" fmla="*/ 444435 h 446142"/>
                <a:gd name="connsiteX21" fmla="*/ 129 w 397285"/>
                <a:gd name="connsiteY21" fmla="*/ 423967 h 446142"/>
                <a:gd name="connsiteX22" fmla="*/ 129 w 397285"/>
                <a:gd name="connsiteY22" fmla="*/ 246692 h 446142"/>
                <a:gd name="connsiteX23" fmla="*/ 27847 w 397285"/>
                <a:gd name="connsiteY23" fmla="*/ 198710 h 446142"/>
                <a:gd name="connsiteX24" fmla="*/ 364687 w 397285"/>
                <a:gd name="connsiteY24" fmla="*/ 4258 h 446142"/>
                <a:gd name="connsiteX25" fmla="*/ 387633 w 397285"/>
                <a:gd name="connsiteY25" fmla="*/ 2492 h 446142"/>
                <a:gd name="connsiteX26" fmla="*/ 397555 w 397285"/>
                <a:gd name="connsiteY26" fmla="*/ 23218 h 446142"/>
                <a:gd name="connsiteX27" fmla="*/ 397555 w 397285"/>
                <a:gd name="connsiteY27" fmla="*/ 200492 h 446142"/>
                <a:gd name="connsiteX28" fmla="*/ 369826 w 397285"/>
                <a:gd name="connsiteY28" fmla="*/ 248510 h 446142"/>
                <a:gd name="connsiteX29" fmla="*/ 238044 w 397285"/>
                <a:gd name="connsiteY29" fmla="*/ 324555 h 446142"/>
                <a:gd name="connsiteX30" fmla="*/ 203769 w 397285"/>
                <a:gd name="connsiteY30" fmla="*/ 432864 h 446142"/>
                <a:gd name="connsiteX31" fmla="*/ 199269 w 397285"/>
                <a:gd name="connsiteY31" fmla="*/ 436430 h 446142"/>
                <a:gd name="connsiteX32" fmla="*/ 194265 w 397285"/>
                <a:gd name="connsiteY32" fmla="*/ 433601 h 446142"/>
                <a:gd name="connsiteX33" fmla="*/ 161784 w 397285"/>
                <a:gd name="connsiteY33" fmla="*/ 368595 h 446142"/>
                <a:gd name="connsiteX34" fmla="*/ 32997 w 397285"/>
                <a:gd name="connsiteY34" fmla="*/ 442978 h 446142"/>
                <a:gd name="connsiteX35" fmla="*/ 19202 w 397285"/>
                <a:gd name="connsiteY35" fmla="*/ 447110 h 446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97285" h="446142">
                  <a:moveTo>
                    <a:pt x="15233" y="435830"/>
                  </a:moveTo>
                  <a:cubicBezTo>
                    <a:pt x="18327" y="437595"/>
                    <a:pt x="22812" y="436978"/>
                    <a:pt x="27854" y="434064"/>
                  </a:cubicBezTo>
                  <a:lnTo>
                    <a:pt x="161373" y="356955"/>
                  </a:lnTo>
                  <a:cubicBezTo>
                    <a:pt x="162600" y="356252"/>
                    <a:pt x="164066" y="356081"/>
                    <a:pt x="165423" y="356492"/>
                  </a:cubicBezTo>
                  <a:cubicBezTo>
                    <a:pt x="166781" y="356904"/>
                    <a:pt x="167911" y="357847"/>
                    <a:pt x="168545" y="359115"/>
                  </a:cubicBezTo>
                  <a:lnTo>
                    <a:pt x="197793" y="417658"/>
                  </a:lnTo>
                  <a:lnTo>
                    <a:pt x="228838" y="319549"/>
                  </a:lnTo>
                  <a:cubicBezTo>
                    <a:pt x="229227" y="318332"/>
                    <a:pt x="230059" y="317287"/>
                    <a:pt x="231171" y="316652"/>
                  </a:cubicBezTo>
                  <a:lnTo>
                    <a:pt x="364687" y="239595"/>
                  </a:lnTo>
                  <a:cubicBezTo>
                    <a:pt x="376930" y="232549"/>
                    <a:pt x="387269" y="214635"/>
                    <a:pt x="387269" y="200492"/>
                  </a:cubicBezTo>
                  <a:lnTo>
                    <a:pt x="387269" y="23218"/>
                  </a:lnTo>
                  <a:cubicBezTo>
                    <a:pt x="387269" y="17475"/>
                    <a:pt x="385527" y="13155"/>
                    <a:pt x="382481" y="11389"/>
                  </a:cubicBezTo>
                  <a:cubicBezTo>
                    <a:pt x="379425" y="9624"/>
                    <a:pt x="374815" y="10258"/>
                    <a:pt x="369845" y="13155"/>
                  </a:cubicBezTo>
                  <a:lnTo>
                    <a:pt x="32997" y="207607"/>
                  </a:lnTo>
                  <a:cubicBezTo>
                    <a:pt x="20758" y="214704"/>
                    <a:pt x="10414" y="232601"/>
                    <a:pt x="10414" y="246692"/>
                  </a:cubicBezTo>
                  <a:lnTo>
                    <a:pt x="10414" y="423967"/>
                  </a:lnTo>
                  <a:cubicBezTo>
                    <a:pt x="10414" y="429607"/>
                    <a:pt x="12087" y="433875"/>
                    <a:pt x="15003" y="435675"/>
                  </a:cubicBezTo>
                  <a:close/>
                  <a:moveTo>
                    <a:pt x="19202" y="447110"/>
                  </a:moveTo>
                  <a:cubicBezTo>
                    <a:pt x="15936" y="447110"/>
                    <a:pt x="12862" y="446321"/>
                    <a:pt x="10109" y="444744"/>
                  </a:cubicBezTo>
                  <a:lnTo>
                    <a:pt x="9759" y="444521"/>
                  </a:lnTo>
                  <a:lnTo>
                    <a:pt x="9603" y="444435"/>
                  </a:lnTo>
                  <a:cubicBezTo>
                    <a:pt x="3494" y="440664"/>
                    <a:pt x="129" y="433395"/>
                    <a:pt x="129" y="423967"/>
                  </a:cubicBezTo>
                  <a:lnTo>
                    <a:pt x="129" y="246692"/>
                  </a:lnTo>
                  <a:cubicBezTo>
                    <a:pt x="129" y="228795"/>
                    <a:pt x="12305" y="207710"/>
                    <a:pt x="27847" y="198710"/>
                  </a:cubicBezTo>
                  <a:lnTo>
                    <a:pt x="364687" y="4258"/>
                  </a:lnTo>
                  <a:cubicBezTo>
                    <a:pt x="372929" y="-542"/>
                    <a:pt x="381297" y="-1193"/>
                    <a:pt x="387633" y="2492"/>
                  </a:cubicBezTo>
                  <a:cubicBezTo>
                    <a:pt x="394027" y="6212"/>
                    <a:pt x="397555" y="13567"/>
                    <a:pt x="397555" y="23218"/>
                  </a:cubicBezTo>
                  <a:lnTo>
                    <a:pt x="397555" y="200492"/>
                  </a:lnTo>
                  <a:cubicBezTo>
                    <a:pt x="397555" y="218458"/>
                    <a:pt x="385375" y="239544"/>
                    <a:pt x="369826" y="248510"/>
                  </a:cubicBezTo>
                  <a:lnTo>
                    <a:pt x="238044" y="324555"/>
                  </a:lnTo>
                  <a:lnTo>
                    <a:pt x="203769" y="432864"/>
                  </a:lnTo>
                  <a:cubicBezTo>
                    <a:pt x="203136" y="434852"/>
                    <a:pt x="201357" y="436275"/>
                    <a:pt x="199269" y="436430"/>
                  </a:cubicBezTo>
                  <a:cubicBezTo>
                    <a:pt x="197174" y="436601"/>
                    <a:pt x="195201" y="435487"/>
                    <a:pt x="194265" y="433601"/>
                  </a:cubicBezTo>
                  <a:lnTo>
                    <a:pt x="161784" y="368595"/>
                  </a:lnTo>
                  <a:lnTo>
                    <a:pt x="32997" y="442978"/>
                  </a:lnTo>
                  <a:cubicBezTo>
                    <a:pt x="28234" y="445721"/>
                    <a:pt x="23544" y="447110"/>
                    <a:pt x="19202" y="447110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3" name="Freeform: Shape 572">
              <a:extLst>
                <a:ext uri="{FF2B5EF4-FFF2-40B4-BE49-F238E27FC236}">
                  <a16:creationId xmlns:a16="http://schemas.microsoft.com/office/drawing/2014/main" id="{A83DF341-372E-4BB1-967F-086F4AECF6C7}"/>
                </a:ext>
              </a:extLst>
            </p:cNvPr>
            <p:cNvSpPr/>
            <p:nvPr/>
          </p:nvSpPr>
          <p:spPr>
            <a:xfrm>
              <a:off x="710129" y="4569188"/>
              <a:ext cx="91781" cy="118370"/>
            </a:xfrm>
            <a:custGeom>
              <a:avLst/>
              <a:gdLst>
                <a:gd name="connsiteX0" fmla="*/ 83570 w 83571"/>
                <a:gd name="connsiteY0" fmla="*/ 11014 h 106714"/>
                <a:gd name="connsiteX1" fmla="*/ 58764 w 83571"/>
                <a:gd name="connsiteY1" fmla="*/ 47323 h 106714"/>
                <a:gd name="connsiteX2" fmla="*/ 67617 w 83571"/>
                <a:gd name="connsiteY2" fmla="*/ 76860 h 106714"/>
                <a:gd name="connsiteX3" fmla="*/ 41835 w 83571"/>
                <a:gd name="connsiteY3" fmla="*/ 71323 h 106714"/>
                <a:gd name="connsiteX4" fmla="*/ 16053 w 83571"/>
                <a:gd name="connsiteY4" fmla="*/ 106637 h 106714"/>
                <a:gd name="connsiteX5" fmla="*/ 24905 w 83571"/>
                <a:gd name="connsiteY5" fmla="*/ 66917 h 106714"/>
                <a:gd name="connsiteX6" fmla="*/ 129 w 83571"/>
                <a:gd name="connsiteY6" fmla="*/ 59186 h 106714"/>
                <a:gd name="connsiteX7" fmla="*/ 31373 w 83571"/>
                <a:gd name="connsiteY7" fmla="*/ 40191 h 106714"/>
                <a:gd name="connsiteX8" fmla="*/ 41835 w 83571"/>
                <a:gd name="connsiteY8" fmla="*/ 129 h 106714"/>
                <a:gd name="connsiteX9" fmla="*/ 52325 w 83571"/>
                <a:gd name="connsiteY9" fmla="*/ 28123 h 106714"/>
                <a:gd name="connsiteX10" fmla="*/ 83570 w 83571"/>
                <a:gd name="connsiteY10" fmla="*/ 11014 h 10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3571" h="106714">
                  <a:moveTo>
                    <a:pt x="83570" y="11014"/>
                  </a:moveTo>
                  <a:lnTo>
                    <a:pt x="58764" y="47323"/>
                  </a:lnTo>
                  <a:lnTo>
                    <a:pt x="67617" y="76860"/>
                  </a:lnTo>
                  <a:lnTo>
                    <a:pt x="41835" y="71323"/>
                  </a:lnTo>
                  <a:lnTo>
                    <a:pt x="16053" y="106637"/>
                  </a:lnTo>
                  <a:lnTo>
                    <a:pt x="24905" y="66917"/>
                  </a:lnTo>
                  <a:lnTo>
                    <a:pt x="129" y="59186"/>
                  </a:lnTo>
                  <a:lnTo>
                    <a:pt x="31373" y="40191"/>
                  </a:lnTo>
                  <a:lnTo>
                    <a:pt x="41835" y="129"/>
                  </a:lnTo>
                  <a:lnTo>
                    <a:pt x="52325" y="28123"/>
                  </a:lnTo>
                  <a:lnTo>
                    <a:pt x="83570" y="11014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4" name="Freeform: Shape 573">
              <a:extLst>
                <a:ext uri="{FF2B5EF4-FFF2-40B4-BE49-F238E27FC236}">
                  <a16:creationId xmlns:a16="http://schemas.microsoft.com/office/drawing/2014/main" id="{9BD6A57D-5C8C-424D-B9BD-51DBFDDDF7EC}"/>
                </a:ext>
              </a:extLst>
            </p:cNvPr>
            <p:cNvSpPr/>
            <p:nvPr/>
          </p:nvSpPr>
          <p:spPr>
            <a:xfrm>
              <a:off x="698833" y="4557781"/>
              <a:ext cx="114374" cy="141189"/>
            </a:xfrm>
            <a:custGeom>
              <a:avLst/>
              <a:gdLst>
                <a:gd name="connsiteX0" fmla="*/ 52124 w 104142"/>
                <a:gd name="connsiteY0" fmla="*/ 129 h 127285"/>
                <a:gd name="connsiteX1" fmla="*/ 51591 w 104142"/>
                <a:gd name="connsiteY1" fmla="*/ 129 h 127285"/>
                <a:gd name="connsiteX2" fmla="*/ 42168 w 104142"/>
                <a:gd name="connsiteY2" fmla="*/ 7809 h 127285"/>
                <a:gd name="connsiteX3" fmla="*/ 32758 w 104142"/>
                <a:gd name="connsiteY3" fmla="*/ 43843 h 127285"/>
                <a:gd name="connsiteX4" fmla="*/ 5070 w 104142"/>
                <a:gd name="connsiteY4" fmla="*/ 60677 h 127285"/>
                <a:gd name="connsiteX5" fmla="*/ 205 w 104142"/>
                <a:gd name="connsiteY5" fmla="*/ 70723 h 127285"/>
                <a:gd name="connsiteX6" fmla="*/ 7350 w 104142"/>
                <a:gd name="connsiteY6" fmla="*/ 79294 h 127285"/>
                <a:gd name="connsiteX7" fmla="*/ 23093 w 104142"/>
                <a:gd name="connsiteY7" fmla="*/ 84197 h 127285"/>
                <a:gd name="connsiteX8" fmla="*/ 16299 w 104142"/>
                <a:gd name="connsiteY8" fmla="*/ 114694 h 127285"/>
                <a:gd name="connsiteX9" fmla="*/ 22098 w 104142"/>
                <a:gd name="connsiteY9" fmla="*/ 126300 h 127285"/>
                <a:gd name="connsiteX10" fmla="*/ 26334 w 104142"/>
                <a:gd name="connsiteY10" fmla="*/ 127209 h 127285"/>
                <a:gd name="connsiteX11" fmla="*/ 34647 w 104142"/>
                <a:gd name="connsiteY11" fmla="*/ 122991 h 127285"/>
                <a:gd name="connsiteX12" fmla="*/ 56489 w 104142"/>
                <a:gd name="connsiteY12" fmla="*/ 93060 h 127285"/>
                <a:gd name="connsiteX13" fmla="*/ 75738 w 104142"/>
                <a:gd name="connsiteY13" fmla="*/ 97209 h 127285"/>
                <a:gd name="connsiteX14" fmla="*/ 77902 w 104142"/>
                <a:gd name="connsiteY14" fmla="*/ 97432 h 127285"/>
                <a:gd name="connsiteX15" fmla="*/ 85457 w 104142"/>
                <a:gd name="connsiteY15" fmla="*/ 94123 h 127285"/>
                <a:gd name="connsiteX16" fmla="*/ 87756 w 104142"/>
                <a:gd name="connsiteY16" fmla="*/ 84197 h 127285"/>
                <a:gd name="connsiteX17" fmla="*/ 80310 w 104142"/>
                <a:gd name="connsiteY17" fmla="*/ 59357 h 127285"/>
                <a:gd name="connsiteX18" fmla="*/ 102346 w 104142"/>
                <a:gd name="connsiteY18" fmla="*/ 27111 h 127285"/>
                <a:gd name="connsiteX19" fmla="*/ 101477 w 104142"/>
                <a:gd name="connsiteY19" fmla="*/ 14391 h 127285"/>
                <a:gd name="connsiteX20" fmla="*/ 93850 w 104142"/>
                <a:gd name="connsiteY20" fmla="*/ 11014 h 127285"/>
                <a:gd name="connsiteX21" fmla="*/ 88916 w 104142"/>
                <a:gd name="connsiteY21" fmla="*/ 12283 h 127285"/>
                <a:gd name="connsiteX22" fmla="*/ 68079 w 104142"/>
                <a:gd name="connsiteY22" fmla="*/ 23683 h 127285"/>
                <a:gd name="connsiteX23" fmla="*/ 61752 w 104142"/>
                <a:gd name="connsiteY23" fmla="*/ 6797 h 127285"/>
                <a:gd name="connsiteX24" fmla="*/ 52124 w 104142"/>
                <a:gd name="connsiteY24" fmla="*/ 129 h 127285"/>
                <a:gd name="connsiteX25" fmla="*/ 52121 w 104142"/>
                <a:gd name="connsiteY25" fmla="*/ 10414 h 127285"/>
                <a:gd name="connsiteX26" fmla="*/ 62610 w 104142"/>
                <a:gd name="connsiteY26" fmla="*/ 38409 h 127285"/>
                <a:gd name="connsiteX27" fmla="*/ 93855 w 104142"/>
                <a:gd name="connsiteY27" fmla="*/ 21300 h 127285"/>
                <a:gd name="connsiteX28" fmla="*/ 69049 w 104142"/>
                <a:gd name="connsiteY28" fmla="*/ 57609 h 127285"/>
                <a:gd name="connsiteX29" fmla="*/ 77902 w 104142"/>
                <a:gd name="connsiteY29" fmla="*/ 87146 h 127285"/>
                <a:gd name="connsiteX30" fmla="*/ 52121 w 104142"/>
                <a:gd name="connsiteY30" fmla="*/ 81609 h 127285"/>
                <a:gd name="connsiteX31" fmla="*/ 26338 w 104142"/>
                <a:gd name="connsiteY31" fmla="*/ 116923 h 127285"/>
                <a:gd name="connsiteX32" fmla="*/ 35190 w 104142"/>
                <a:gd name="connsiteY32" fmla="*/ 77203 h 127285"/>
                <a:gd name="connsiteX33" fmla="*/ 10414 w 104142"/>
                <a:gd name="connsiteY33" fmla="*/ 69471 h 127285"/>
                <a:gd name="connsiteX34" fmla="*/ 41658 w 104142"/>
                <a:gd name="connsiteY34" fmla="*/ 50477 h 127285"/>
                <a:gd name="connsiteX35" fmla="*/ 52121 w 104142"/>
                <a:gd name="connsiteY35" fmla="*/ 10414 h 127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04142" h="127285">
                  <a:moveTo>
                    <a:pt x="52124" y="129"/>
                  </a:moveTo>
                  <a:cubicBezTo>
                    <a:pt x="51946" y="129"/>
                    <a:pt x="51769" y="129"/>
                    <a:pt x="51591" y="129"/>
                  </a:cubicBezTo>
                  <a:cubicBezTo>
                    <a:pt x="47113" y="369"/>
                    <a:pt x="43301" y="3471"/>
                    <a:pt x="42168" y="7809"/>
                  </a:cubicBezTo>
                  <a:lnTo>
                    <a:pt x="32758" y="43843"/>
                  </a:lnTo>
                  <a:lnTo>
                    <a:pt x="5070" y="60677"/>
                  </a:lnTo>
                  <a:cubicBezTo>
                    <a:pt x="1618" y="62786"/>
                    <a:pt x="-287" y="66711"/>
                    <a:pt x="205" y="70723"/>
                  </a:cubicBezTo>
                  <a:cubicBezTo>
                    <a:pt x="697" y="74734"/>
                    <a:pt x="3492" y="78094"/>
                    <a:pt x="7350" y="79294"/>
                  </a:cubicBezTo>
                  <a:lnTo>
                    <a:pt x="23093" y="84197"/>
                  </a:lnTo>
                  <a:lnTo>
                    <a:pt x="16299" y="114694"/>
                  </a:lnTo>
                  <a:cubicBezTo>
                    <a:pt x="15238" y="119443"/>
                    <a:pt x="17660" y="124294"/>
                    <a:pt x="22098" y="126300"/>
                  </a:cubicBezTo>
                  <a:cubicBezTo>
                    <a:pt x="23465" y="126917"/>
                    <a:pt x="24908" y="127209"/>
                    <a:pt x="26334" y="127209"/>
                  </a:cubicBezTo>
                  <a:cubicBezTo>
                    <a:pt x="29538" y="127209"/>
                    <a:pt x="32658" y="125717"/>
                    <a:pt x="34647" y="122991"/>
                  </a:cubicBezTo>
                  <a:lnTo>
                    <a:pt x="56489" y="93060"/>
                  </a:lnTo>
                  <a:lnTo>
                    <a:pt x="75738" y="97209"/>
                  </a:lnTo>
                  <a:cubicBezTo>
                    <a:pt x="76458" y="97363"/>
                    <a:pt x="77184" y="97432"/>
                    <a:pt x="77902" y="97432"/>
                  </a:cubicBezTo>
                  <a:cubicBezTo>
                    <a:pt x="80739" y="97432"/>
                    <a:pt x="83489" y="96266"/>
                    <a:pt x="85457" y="94123"/>
                  </a:cubicBezTo>
                  <a:cubicBezTo>
                    <a:pt x="87925" y="91466"/>
                    <a:pt x="88800" y="87677"/>
                    <a:pt x="87756" y="84197"/>
                  </a:cubicBezTo>
                  <a:lnTo>
                    <a:pt x="80310" y="59357"/>
                  </a:lnTo>
                  <a:lnTo>
                    <a:pt x="102346" y="27111"/>
                  </a:lnTo>
                  <a:cubicBezTo>
                    <a:pt x="105030" y="23169"/>
                    <a:pt x="104670" y="17923"/>
                    <a:pt x="101477" y="14391"/>
                  </a:cubicBezTo>
                  <a:cubicBezTo>
                    <a:pt x="99474" y="12180"/>
                    <a:pt x="96682" y="11014"/>
                    <a:pt x="93850" y="11014"/>
                  </a:cubicBezTo>
                  <a:cubicBezTo>
                    <a:pt x="92168" y="11014"/>
                    <a:pt x="90471" y="11426"/>
                    <a:pt x="88916" y="12283"/>
                  </a:cubicBezTo>
                  <a:lnTo>
                    <a:pt x="68079" y="23683"/>
                  </a:lnTo>
                  <a:lnTo>
                    <a:pt x="61752" y="6797"/>
                  </a:lnTo>
                  <a:cubicBezTo>
                    <a:pt x="60241" y="2769"/>
                    <a:pt x="56391" y="129"/>
                    <a:pt x="52124" y="129"/>
                  </a:cubicBezTo>
                  <a:close/>
                  <a:moveTo>
                    <a:pt x="52121" y="10414"/>
                  </a:moveTo>
                  <a:lnTo>
                    <a:pt x="62610" y="38409"/>
                  </a:lnTo>
                  <a:lnTo>
                    <a:pt x="93855" y="21300"/>
                  </a:lnTo>
                  <a:lnTo>
                    <a:pt x="69049" y="57609"/>
                  </a:lnTo>
                  <a:lnTo>
                    <a:pt x="77902" y="87146"/>
                  </a:lnTo>
                  <a:lnTo>
                    <a:pt x="52121" y="81609"/>
                  </a:lnTo>
                  <a:lnTo>
                    <a:pt x="26338" y="116923"/>
                  </a:lnTo>
                  <a:lnTo>
                    <a:pt x="35190" y="77203"/>
                  </a:lnTo>
                  <a:lnTo>
                    <a:pt x="10414" y="69471"/>
                  </a:lnTo>
                  <a:lnTo>
                    <a:pt x="41658" y="50477"/>
                  </a:lnTo>
                  <a:lnTo>
                    <a:pt x="52121" y="10414"/>
                  </a:ln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5" name="Freeform: Shape 574">
              <a:extLst>
                <a:ext uri="{FF2B5EF4-FFF2-40B4-BE49-F238E27FC236}">
                  <a16:creationId xmlns:a16="http://schemas.microsoft.com/office/drawing/2014/main" id="{57FB807C-BC0B-4D28-AB95-1A94F9410E70}"/>
                </a:ext>
              </a:extLst>
            </p:cNvPr>
            <p:cNvSpPr/>
            <p:nvPr/>
          </p:nvSpPr>
          <p:spPr>
            <a:xfrm>
              <a:off x="603463" y="4631388"/>
              <a:ext cx="91781" cy="118370"/>
            </a:xfrm>
            <a:custGeom>
              <a:avLst/>
              <a:gdLst>
                <a:gd name="connsiteX0" fmla="*/ 83568 w 83571"/>
                <a:gd name="connsiteY0" fmla="*/ 11014 h 106714"/>
                <a:gd name="connsiteX1" fmla="*/ 58764 w 83571"/>
                <a:gd name="connsiteY1" fmla="*/ 47323 h 106714"/>
                <a:gd name="connsiteX2" fmla="*/ 67617 w 83571"/>
                <a:gd name="connsiteY2" fmla="*/ 76860 h 106714"/>
                <a:gd name="connsiteX3" fmla="*/ 41834 w 83571"/>
                <a:gd name="connsiteY3" fmla="*/ 71323 h 106714"/>
                <a:gd name="connsiteX4" fmla="*/ 16053 w 83571"/>
                <a:gd name="connsiteY4" fmla="*/ 106637 h 106714"/>
                <a:gd name="connsiteX5" fmla="*/ 24905 w 83571"/>
                <a:gd name="connsiteY5" fmla="*/ 66917 h 106714"/>
                <a:gd name="connsiteX6" fmla="*/ 129 w 83571"/>
                <a:gd name="connsiteY6" fmla="*/ 59186 h 106714"/>
                <a:gd name="connsiteX7" fmla="*/ 31371 w 83571"/>
                <a:gd name="connsiteY7" fmla="*/ 40191 h 106714"/>
                <a:gd name="connsiteX8" fmla="*/ 41834 w 83571"/>
                <a:gd name="connsiteY8" fmla="*/ 129 h 106714"/>
                <a:gd name="connsiteX9" fmla="*/ 52325 w 83571"/>
                <a:gd name="connsiteY9" fmla="*/ 28123 h 106714"/>
                <a:gd name="connsiteX10" fmla="*/ 83568 w 83571"/>
                <a:gd name="connsiteY10" fmla="*/ 11014 h 10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3571" h="106714">
                  <a:moveTo>
                    <a:pt x="83568" y="11014"/>
                  </a:moveTo>
                  <a:lnTo>
                    <a:pt x="58764" y="47323"/>
                  </a:lnTo>
                  <a:lnTo>
                    <a:pt x="67617" y="76860"/>
                  </a:lnTo>
                  <a:lnTo>
                    <a:pt x="41834" y="71323"/>
                  </a:lnTo>
                  <a:lnTo>
                    <a:pt x="16053" y="106637"/>
                  </a:lnTo>
                  <a:lnTo>
                    <a:pt x="24905" y="66917"/>
                  </a:lnTo>
                  <a:lnTo>
                    <a:pt x="129" y="59186"/>
                  </a:lnTo>
                  <a:lnTo>
                    <a:pt x="31371" y="40191"/>
                  </a:lnTo>
                  <a:lnTo>
                    <a:pt x="41834" y="129"/>
                  </a:lnTo>
                  <a:lnTo>
                    <a:pt x="52325" y="28123"/>
                  </a:lnTo>
                  <a:lnTo>
                    <a:pt x="83568" y="11014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6" name="Freeform: Shape 575">
              <a:extLst>
                <a:ext uri="{FF2B5EF4-FFF2-40B4-BE49-F238E27FC236}">
                  <a16:creationId xmlns:a16="http://schemas.microsoft.com/office/drawing/2014/main" id="{0BEE7923-2FAB-4D0D-83F2-D3C90B23165D}"/>
                </a:ext>
              </a:extLst>
            </p:cNvPr>
            <p:cNvSpPr/>
            <p:nvPr/>
          </p:nvSpPr>
          <p:spPr>
            <a:xfrm>
              <a:off x="592168" y="4619980"/>
              <a:ext cx="114374" cy="141189"/>
            </a:xfrm>
            <a:custGeom>
              <a:avLst/>
              <a:gdLst>
                <a:gd name="connsiteX0" fmla="*/ 52122 w 104142"/>
                <a:gd name="connsiteY0" fmla="*/ 129 h 127285"/>
                <a:gd name="connsiteX1" fmla="*/ 51589 w 104142"/>
                <a:gd name="connsiteY1" fmla="*/ 129 h 127285"/>
                <a:gd name="connsiteX2" fmla="*/ 42168 w 104142"/>
                <a:gd name="connsiteY2" fmla="*/ 7809 h 127285"/>
                <a:gd name="connsiteX3" fmla="*/ 32756 w 104142"/>
                <a:gd name="connsiteY3" fmla="*/ 43843 h 127285"/>
                <a:gd name="connsiteX4" fmla="*/ 5070 w 104142"/>
                <a:gd name="connsiteY4" fmla="*/ 60677 h 127285"/>
                <a:gd name="connsiteX5" fmla="*/ 205 w 104142"/>
                <a:gd name="connsiteY5" fmla="*/ 70723 h 127285"/>
                <a:gd name="connsiteX6" fmla="*/ 7350 w 104142"/>
                <a:gd name="connsiteY6" fmla="*/ 79294 h 127285"/>
                <a:gd name="connsiteX7" fmla="*/ 23093 w 104142"/>
                <a:gd name="connsiteY7" fmla="*/ 84197 h 127285"/>
                <a:gd name="connsiteX8" fmla="*/ 16297 w 104142"/>
                <a:gd name="connsiteY8" fmla="*/ 114694 h 127285"/>
                <a:gd name="connsiteX9" fmla="*/ 22097 w 104142"/>
                <a:gd name="connsiteY9" fmla="*/ 126300 h 127285"/>
                <a:gd name="connsiteX10" fmla="*/ 26333 w 104142"/>
                <a:gd name="connsiteY10" fmla="*/ 127209 h 127285"/>
                <a:gd name="connsiteX11" fmla="*/ 34645 w 104142"/>
                <a:gd name="connsiteY11" fmla="*/ 122991 h 127285"/>
                <a:gd name="connsiteX12" fmla="*/ 56489 w 104142"/>
                <a:gd name="connsiteY12" fmla="*/ 93060 h 127285"/>
                <a:gd name="connsiteX13" fmla="*/ 75738 w 104142"/>
                <a:gd name="connsiteY13" fmla="*/ 97209 h 127285"/>
                <a:gd name="connsiteX14" fmla="*/ 77902 w 104142"/>
                <a:gd name="connsiteY14" fmla="*/ 97431 h 127285"/>
                <a:gd name="connsiteX15" fmla="*/ 85457 w 104142"/>
                <a:gd name="connsiteY15" fmla="*/ 94123 h 127285"/>
                <a:gd name="connsiteX16" fmla="*/ 87754 w 104142"/>
                <a:gd name="connsiteY16" fmla="*/ 84197 h 127285"/>
                <a:gd name="connsiteX17" fmla="*/ 80310 w 104142"/>
                <a:gd name="connsiteY17" fmla="*/ 59357 h 127285"/>
                <a:gd name="connsiteX18" fmla="*/ 102346 w 104142"/>
                <a:gd name="connsiteY18" fmla="*/ 27111 h 127285"/>
                <a:gd name="connsiteX19" fmla="*/ 101477 w 104142"/>
                <a:gd name="connsiteY19" fmla="*/ 14391 h 127285"/>
                <a:gd name="connsiteX20" fmla="*/ 93850 w 104142"/>
                <a:gd name="connsiteY20" fmla="*/ 11014 h 127285"/>
                <a:gd name="connsiteX21" fmla="*/ 88914 w 104142"/>
                <a:gd name="connsiteY21" fmla="*/ 12283 h 127285"/>
                <a:gd name="connsiteX22" fmla="*/ 68079 w 104142"/>
                <a:gd name="connsiteY22" fmla="*/ 23683 h 127285"/>
                <a:gd name="connsiteX23" fmla="*/ 61752 w 104142"/>
                <a:gd name="connsiteY23" fmla="*/ 6797 h 127285"/>
                <a:gd name="connsiteX24" fmla="*/ 52122 w 104142"/>
                <a:gd name="connsiteY24" fmla="*/ 129 h 127285"/>
                <a:gd name="connsiteX25" fmla="*/ 52119 w 104142"/>
                <a:gd name="connsiteY25" fmla="*/ 10414 h 127285"/>
                <a:gd name="connsiteX26" fmla="*/ 62610 w 104142"/>
                <a:gd name="connsiteY26" fmla="*/ 38409 h 127285"/>
                <a:gd name="connsiteX27" fmla="*/ 93853 w 104142"/>
                <a:gd name="connsiteY27" fmla="*/ 21300 h 127285"/>
                <a:gd name="connsiteX28" fmla="*/ 69049 w 104142"/>
                <a:gd name="connsiteY28" fmla="*/ 57609 h 127285"/>
                <a:gd name="connsiteX29" fmla="*/ 77902 w 104142"/>
                <a:gd name="connsiteY29" fmla="*/ 87146 h 127285"/>
                <a:gd name="connsiteX30" fmla="*/ 52119 w 104142"/>
                <a:gd name="connsiteY30" fmla="*/ 81609 h 127285"/>
                <a:gd name="connsiteX31" fmla="*/ 26338 w 104142"/>
                <a:gd name="connsiteY31" fmla="*/ 116923 h 127285"/>
                <a:gd name="connsiteX32" fmla="*/ 35190 w 104142"/>
                <a:gd name="connsiteY32" fmla="*/ 77203 h 127285"/>
                <a:gd name="connsiteX33" fmla="*/ 10414 w 104142"/>
                <a:gd name="connsiteY33" fmla="*/ 69471 h 127285"/>
                <a:gd name="connsiteX34" fmla="*/ 41657 w 104142"/>
                <a:gd name="connsiteY34" fmla="*/ 50477 h 127285"/>
                <a:gd name="connsiteX35" fmla="*/ 52119 w 104142"/>
                <a:gd name="connsiteY35" fmla="*/ 10414 h 127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04142" h="127285">
                  <a:moveTo>
                    <a:pt x="52122" y="129"/>
                  </a:moveTo>
                  <a:cubicBezTo>
                    <a:pt x="51946" y="129"/>
                    <a:pt x="51768" y="129"/>
                    <a:pt x="51589" y="129"/>
                  </a:cubicBezTo>
                  <a:cubicBezTo>
                    <a:pt x="47112" y="368"/>
                    <a:pt x="43301" y="3471"/>
                    <a:pt x="42168" y="7809"/>
                  </a:cubicBezTo>
                  <a:lnTo>
                    <a:pt x="32756" y="43843"/>
                  </a:lnTo>
                  <a:lnTo>
                    <a:pt x="5070" y="60677"/>
                  </a:lnTo>
                  <a:cubicBezTo>
                    <a:pt x="1616" y="62786"/>
                    <a:pt x="-287" y="66711"/>
                    <a:pt x="205" y="70723"/>
                  </a:cubicBezTo>
                  <a:cubicBezTo>
                    <a:pt x="696" y="74734"/>
                    <a:pt x="3492" y="78094"/>
                    <a:pt x="7350" y="79294"/>
                  </a:cubicBezTo>
                  <a:lnTo>
                    <a:pt x="23093" y="84197"/>
                  </a:lnTo>
                  <a:lnTo>
                    <a:pt x="16297" y="114694"/>
                  </a:lnTo>
                  <a:cubicBezTo>
                    <a:pt x="15238" y="119443"/>
                    <a:pt x="17658" y="124294"/>
                    <a:pt x="22097" y="126300"/>
                  </a:cubicBezTo>
                  <a:cubicBezTo>
                    <a:pt x="23465" y="126917"/>
                    <a:pt x="24906" y="127209"/>
                    <a:pt x="26333" y="127209"/>
                  </a:cubicBezTo>
                  <a:cubicBezTo>
                    <a:pt x="29537" y="127209"/>
                    <a:pt x="32658" y="125717"/>
                    <a:pt x="34645" y="122991"/>
                  </a:cubicBezTo>
                  <a:lnTo>
                    <a:pt x="56489" y="93060"/>
                  </a:lnTo>
                  <a:lnTo>
                    <a:pt x="75738" y="97209"/>
                  </a:lnTo>
                  <a:cubicBezTo>
                    <a:pt x="76457" y="97363"/>
                    <a:pt x="77182" y="97431"/>
                    <a:pt x="77902" y="97431"/>
                  </a:cubicBezTo>
                  <a:cubicBezTo>
                    <a:pt x="80739" y="97431"/>
                    <a:pt x="83489" y="96266"/>
                    <a:pt x="85457" y="94123"/>
                  </a:cubicBezTo>
                  <a:cubicBezTo>
                    <a:pt x="87925" y="91466"/>
                    <a:pt x="88798" y="87677"/>
                    <a:pt x="87754" y="84197"/>
                  </a:cubicBezTo>
                  <a:lnTo>
                    <a:pt x="80310" y="59357"/>
                  </a:lnTo>
                  <a:lnTo>
                    <a:pt x="102346" y="27111"/>
                  </a:lnTo>
                  <a:cubicBezTo>
                    <a:pt x="105030" y="23168"/>
                    <a:pt x="104670" y="17923"/>
                    <a:pt x="101477" y="14391"/>
                  </a:cubicBezTo>
                  <a:cubicBezTo>
                    <a:pt x="99473" y="12180"/>
                    <a:pt x="96682" y="11014"/>
                    <a:pt x="93850" y="11014"/>
                  </a:cubicBezTo>
                  <a:cubicBezTo>
                    <a:pt x="92166" y="11014"/>
                    <a:pt x="90469" y="11426"/>
                    <a:pt x="88914" y="12283"/>
                  </a:cubicBezTo>
                  <a:lnTo>
                    <a:pt x="68079" y="23683"/>
                  </a:lnTo>
                  <a:lnTo>
                    <a:pt x="61752" y="6797"/>
                  </a:lnTo>
                  <a:cubicBezTo>
                    <a:pt x="60241" y="2768"/>
                    <a:pt x="56391" y="129"/>
                    <a:pt x="52122" y="129"/>
                  </a:cubicBezTo>
                  <a:close/>
                  <a:moveTo>
                    <a:pt x="52119" y="10414"/>
                  </a:moveTo>
                  <a:lnTo>
                    <a:pt x="62610" y="38409"/>
                  </a:lnTo>
                  <a:lnTo>
                    <a:pt x="93853" y="21300"/>
                  </a:lnTo>
                  <a:lnTo>
                    <a:pt x="69049" y="57609"/>
                  </a:lnTo>
                  <a:lnTo>
                    <a:pt x="77902" y="87146"/>
                  </a:lnTo>
                  <a:lnTo>
                    <a:pt x="52119" y="81609"/>
                  </a:lnTo>
                  <a:lnTo>
                    <a:pt x="26338" y="116923"/>
                  </a:lnTo>
                  <a:lnTo>
                    <a:pt x="35190" y="77203"/>
                  </a:lnTo>
                  <a:lnTo>
                    <a:pt x="10414" y="69471"/>
                  </a:lnTo>
                  <a:lnTo>
                    <a:pt x="41657" y="50477"/>
                  </a:lnTo>
                  <a:lnTo>
                    <a:pt x="52119" y="10414"/>
                  </a:ln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7" name="Freeform: Shape 576">
              <a:extLst>
                <a:ext uri="{FF2B5EF4-FFF2-40B4-BE49-F238E27FC236}">
                  <a16:creationId xmlns:a16="http://schemas.microsoft.com/office/drawing/2014/main" id="{14133310-97A7-458A-A25D-245D1BD0DFDF}"/>
                </a:ext>
              </a:extLst>
            </p:cNvPr>
            <p:cNvSpPr/>
            <p:nvPr/>
          </p:nvSpPr>
          <p:spPr>
            <a:xfrm>
              <a:off x="496798" y="4693587"/>
              <a:ext cx="91781" cy="118370"/>
            </a:xfrm>
            <a:custGeom>
              <a:avLst/>
              <a:gdLst>
                <a:gd name="connsiteX0" fmla="*/ 83570 w 83571"/>
                <a:gd name="connsiteY0" fmla="*/ 11014 h 106714"/>
                <a:gd name="connsiteX1" fmla="*/ 58764 w 83571"/>
                <a:gd name="connsiteY1" fmla="*/ 47323 h 106714"/>
                <a:gd name="connsiteX2" fmla="*/ 67617 w 83571"/>
                <a:gd name="connsiteY2" fmla="*/ 76860 h 106714"/>
                <a:gd name="connsiteX3" fmla="*/ 41835 w 83571"/>
                <a:gd name="connsiteY3" fmla="*/ 71323 h 106714"/>
                <a:gd name="connsiteX4" fmla="*/ 16053 w 83571"/>
                <a:gd name="connsiteY4" fmla="*/ 106637 h 106714"/>
                <a:gd name="connsiteX5" fmla="*/ 24905 w 83571"/>
                <a:gd name="connsiteY5" fmla="*/ 66917 h 106714"/>
                <a:gd name="connsiteX6" fmla="*/ 129 w 83571"/>
                <a:gd name="connsiteY6" fmla="*/ 59186 h 106714"/>
                <a:gd name="connsiteX7" fmla="*/ 31373 w 83571"/>
                <a:gd name="connsiteY7" fmla="*/ 40191 h 106714"/>
                <a:gd name="connsiteX8" fmla="*/ 41835 w 83571"/>
                <a:gd name="connsiteY8" fmla="*/ 129 h 106714"/>
                <a:gd name="connsiteX9" fmla="*/ 52327 w 83571"/>
                <a:gd name="connsiteY9" fmla="*/ 28123 h 106714"/>
                <a:gd name="connsiteX10" fmla="*/ 83570 w 83571"/>
                <a:gd name="connsiteY10" fmla="*/ 11014 h 106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3571" h="106714">
                  <a:moveTo>
                    <a:pt x="83570" y="11014"/>
                  </a:moveTo>
                  <a:lnTo>
                    <a:pt x="58764" y="47323"/>
                  </a:lnTo>
                  <a:lnTo>
                    <a:pt x="67617" y="76860"/>
                  </a:lnTo>
                  <a:lnTo>
                    <a:pt x="41835" y="71323"/>
                  </a:lnTo>
                  <a:lnTo>
                    <a:pt x="16053" y="106637"/>
                  </a:lnTo>
                  <a:lnTo>
                    <a:pt x="24905" y="66917"/>
                  </a:lnTo>
                  <a:lnTo>
                    <a:pt x="129" y="59186"/>
                  </a:lnTo>
                  <a:lnTo>
                    <a:pt x="31373" y="40191"/>
                  </a:lnTo>
                  <a:lnTo>
                    <a:pt x="41835" y="129"/>
                  </a:lnTo>
                  <a:lnTo>
                    <a:pt x="52327" y="28123"/>
                  </a:lnTo>
                  <a:lnTo>
                    <a:pt x="83570" y="11014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8" name="Freeform: Shape 577">
              <a:extLst>
                <a:ext uri="{FF2B5EF4-FFF2-40B4-BE49-F238E27FC236}">
                  <a16:creationId xmlns:a16="http://schemas.microsoft.com/office/drawing/2014/main" id="{B4B0AE37-1FE0-4A3F-A8D5-04EBB24B3CC6}"/>
                </a:ext>
              </a:extLst>
            </p:cNvPr>
            <p:cNvSpPr/>
            <p:nvPr/>
          </p:nvSpPr>
          <p:spPr>
            <a:xfrm>
              <a:off x="485500" y="4682178"/>
              <a:ext cx="114374" cy="141189"/>
            </a:xfrm>
            <a:custGeom>
              <a:avLst/>
              <a:gdLst>
                <a:gd name="connsiteX0" fmla="*/ 52124 w 104142"/>
                <a:gd name="connsiteY0" fmla="*/ 129 h 127285"/>
                <a:gd name="connsiteX1" fmla="*/ 51589 w 104142"/>
                <a:gd name="connsiteY1" fmla="*/ 129 h 127285"/>
                <a:gd name="connsiteX2" fmla="*/ 42168 w 104142"/>
                <a:gd name="connsiteY2" fmla="*/ 7809 h 127285"/>
                <a:gd name="connsiteX3" fmla="*/ 32758 w 104142"/>
                <a:gd name="connsiteY3" fmla="*/ 43843 h 127285"/>
                <a:gd name="connsiteX4" fmla="*/ 5070 w 104142"/>
                <a:gd name="connsiteY4" fmla="*/ 60694 h 127285"/>
                <a:gd name="connsiteX5" fmla="*/ 205 w 104142"/>
                <a:gd name="connsiteY5" fmla="*/ 70723 h 127285"/>
                <a:gd name="connsiteX6" fmla="*/ 7350 w 104142"/>
                <a:gd name="connsiteY6" fmla="*/ 79294 h 127285"/>
                <a:gd name="connsiteX7" fmla="*/ 23093 w 104142"/>
                <a:gd name="connsiteY7" fmla="*/ 84197 h 127285"/>
                <a:gd name="connsiteX8" fmla="*/ 16299 w 104142"/>
                <a:gd name="connsiteY8" fmla="*/ 114694 h 127285"/>
                <a:gd name="connsiteX9" fmla="*/ 22098 w 104142"/>
                <a:gd name="connsiteY9" fmla="*/ 126300 h 127285"/>
                <a:gd name="connsiteX10" fmla="*/ 26334 w 104142"/>
                <a:gd name="connsiteY10" fmla="*/ 127209 h 127285"/>
                <a:gd name="connsiteX11" fmla="*/ 34647 w 104142"/>
                <a:gd name="connsiteY11" fmla="*/ 122991 h 127285"/>
                <a:gd name="connsiteX12" fmla="*/ 56489 w 104142"/>
                <a:gd name="connsiteY12" fmla="*/ 93060 h 127285"/>
                <a:gd name="connsiteX13" fmla="*/ 75738 w 104142"/>
                <a:gd name="connsiteY13" fmla="*/ 97209 h 127285"/>
                <a:gd name="connsiteX14" fmla="*/ 77902 w 104142"/>
                <a:gd name="connsiteY14" fmla="*/ 97432 h 127285"/>
                <a:gd name="connsiteX15" fmla="*/ 85457 w 104142"/>
                <a:gd name="connsiteY15" fmla="*/ 94123 h 127285"/>
                <a:gd name="connsiteX16" fmla="*/ 87756 w 104142"/>
                <a:gd name="connsiteY16" fmla="*/ 84197 h 127285"/>
                <a:gd name="connsiteX17" fmla="*/ 80310 w 104142"/>
                <a:gd name="connsiteY17" fmla="*/ 59357 h 127285"/>
                <a:gd name="connsiteX18" fmla="*/ 102346 w 104142"/>
                <a:gd name="connsiteY18" fmla="*/ 27111 h 127285"/>
                <a:gd name="connsiteX19" fmla="*/ 101477 w 104142"/>
                <a:gd name="connsiteY19" fmla="*/ 14391 h 127285"/>
                <a:gd name="connsiteX20" fmla="*/ 93850 w 104142"/>
                <a:gd name="connsiteY20" fmla="*/ 11014 h 127285"/>
                <a:gd name="connsiteX21" fmla="*/ 88916 w 104142"/>
                <a:gd name="connsiteY21" fmla="*/ 12283 h 127285"/>
                <a:gd name="connsiteX22" fmla="*/ 68079 w 104142"/>
                <a:gd name="connsiteY22" fmla="*/ 23683 h 127285"/>
                <a:gd name="connsiteX23" fmla="*/ 61752 w 104142"/>
                <a:gd name="connsiteY23" fmla="*/ 6797 h 127285"/>
                <a:gd name="connsiteX24" fmla="*/ 52124 w 104142"/>
                <a:gd name="connsiteY24" fmla="*/ 129 h 127285"/>
                <a:gd name="connsiteX25" fmla="*/ 52121 w 104142"/>
                <a:gd name="connsiteY25" fmla="*/ 10414 h 127285"/>
                <a:gd name="connsiteX26" fmla="*/ 62612 w 104142"/>
                <a:gd name="connsiteY26" fmla="*/ 38409 h 127285"/>
                <a:gd name="connsiteX27" fmla="*/ 93855 w 104142"/>
                <a:gd name="connsiteY27" fmla="*/ 21300 h 127285"/>
                <a:gd name="connsiteX28" fmla="*/ 69049 w 104142"/>
                <a:gd name="connsiteY28" fmla="*/ 57609 h 127285"/>
                <a:gd name="connsiteX29" fmla="*/ 77902 w 104142"/>
                <a:gd name="connsiteY29" fmla="*/ 87146 h 127285"/>
                <a:gd name="connsiteX30" fmla="*/ 52121 w 104142"/>
                <a:gd name="connsiteY30" fmla="*/ 81609 h 127285"/>
                <a:gd name="connsiteX31" fmla="*/ 26338 w 104142"/>
                <a:gd name="connsiteY31" fmla="*/ 116923 h 127285"/>
                <a:gd name="connsiteX32" fmla="*/ 35190 w 104142"/>
                <a:gd name="connsiteY32" fmla="*/ 77203 h 127285"/>
                <a:gd name="connsiteX33" fmla="*/ 10414 w 104142"/>
                <a:gd name="connsiteY33" fmla="*/ 69471 h 127285"/>
                <a:gd name="connsiteX34" fmla="*/ 41658 w 104142"/>
                <a:gd name="connsiteY34" fmla="*/ 50477 h 127285"/>
                <a:gd name="connsiteX35" fmla="*/ 52121 w 104142"/>
                <a:gd name="connsiteY35" fmla="*/ 10414 h 127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04142" h="127285">
                  <a:moveTo>
                    <a:pt x="52124" y="129"/>
                  </a:moveTo>
                  <a:cubicBezTo>
                    <a:pt x="51946" y="129"/>
                    <a:pt x="51768" y="129"/>
                    <a:pt x="51589" y="129"/>
                  </a:cubicBezTo>
                  <a:cubicBezTo>
                    <a:pt x="47113" y="369"/>
                    <a:pt x="43301" y="3471"/>
                    <a:pt x="42168" y="7809"/>
                  </a:cubicBezTo>
                  <a:lnTo>
                    <a:pt x="32758" y="43843"/>
                  </a:lnTo>
                  <a:lnTo>
                    <a:pt x="5070" y="60694"/>
                  </a:lnTo>
                  <a:cubicBezTo>
                    <a:pt x="1618" y="62786"/>
                    <a:pt x="-287" y="66711"/>
                    <a:pt x="205" y="70723"/>
                  </a:cubicBezTo>
                  <a:cubicBezTo>
                    <a:pt x="697" y="74734"/>
                    <a:pt x="3492" y="78094"/>
                    <a:pt x="7350" y="79294"/>
                  </a:cubicBezTo>
                  <a:lnTo>
                    <a:pt x="23093" y="84197"/>
                  </a:lnTo>
                  <a:lnTo>
                    <a:pt x="16299" y="114694"/>
                  </a:lnTo>
                  <a:cubicBezTo>
                    <a:pt x="15238" y="119443"/>
                    <a:pt x="17660" y="124294"/>
                    <a:pt x="22098" y="126300"/>
                  </a:cubicBezTo>
                  <a:cubicBezTo>
                    <a:pt x="23465" y="126917"/>
                    <a:pt x="24908" y="127209"/>
                    <a:pt x="26334" y="127209"/>
                  </a:cubicBezTo>
                  <a:cubicBezTo>
                    <a:pt x="29538" y="127209"/>
                    <a:pt x="32658" y="125717"/>
                    <a:pt x="34647" y="122991"/>
                  </a:cubicBezTo>
                  <a:lnTo>
                    <a:pt x="56489" y="93060"/>
                  </a:lnTo>
                  <a:lnTo>
                    <a:pt x="75738" y="97209"/>
                  </a:lnTo>
                  <a:cubicBezTo>
                    <a:pt x="76458" y="97363"/>
                    <a:pt x="77184" y="97432"/>
                    <a:pt x="77902" y="97432"/>
                  </a:cubicBezTo>
                  <a:cubicBezTo>
                    <a:pt x="80739" y="97432"/>
                    <a:pt x="83489" y="96266"/>
                    <a:pt x="85457" y="94123"/>
                  </a:cubicBezTo>
                  <a:cubicBezTo>
                    <a:pt x="87925" y="91466"/>
                    <a:pt x="88800" y="87677"/>
                    <a:pt x="87756" y="84197"/>
                  </a:cubicBezTo>
                  <a:lnTo>
                    <a:pt x="80310" y="59357"/>
                  </a:lnTo>
                  <a:lnTo>
                    <a:pt x="102346" y="27111"/>
                  </a:lnTo>
                  <a:cubicBezTo>
                    <a:pt x="105030" y="23169"/>
                    <a:pt x="104670" y="17923"/>
                    <a:pt x="101477" y="14391"/>
                  </a:cubicBezTo>
                  <a:cubicBezTo>
                    <a:pt x="99474" y="12180"/>
                    <a:pt x="96682" y="11014"/>
                    <a:pt x="93850" y="11014"/>
                  </a:cubicBezTo>
                  <a:cubicBezTo>
                    <a:pt x="92168" y="11014"/>
                    <a:pt x="90471" y="11426"/>
                    <a:pt x="88916" y="12283"/>
                  </a:cubicBezTo>
                  <a:lnTo>
                    <a:pt x="68079" y="23683"/>
                  </a:lnTo>
                  <a:lnTo>
                    <a:pt x="61752" y="6797"/>
                  </a:lnTo>
                  <a:cubicBezTo>
                    <a:pt x="60241" y="2769"/>
                    <a:pt x="56391" y="129"/>
                    <a:pt x="52124" y="129"/>
                  </a:cubicBezTo>
                  <a:close/>
                  <a:moveTo>
                    <a:pt x="52121" y="10414"/>
                  </a:moveTo>
                  <a:lnTo>
                    <a:pt x="62612" y="38409"/>
                  </a:lnTo>
                  <a:lnTo>
                    <a:pt x="93855" y="21300"/>
                  </a:lnTo>
                  <a:lnTo>
                    <a:pt x="69049" y="57609"/>
                  </a:lnTo>
                  <a:lnTo>
                    <a:pt x="77902" y="87146"/>
                  </a:lnTo>
                  <a:lnTo>
                    <a:pt x="52121" y="81609"/>
                  </a:lnTo>
                  <a:lnTo>
                    <a:pt x="26338" y="116923"/>
                  </a:lnTo>
                  <a:lnTo>
                    <a:pt x="35190" y="77203"/>
                  </a:lnTo>
                  <a:lnTo>
                    <a:pt x="10414" y="69471"/>
                  </a:lnTo>
                  <a:lnTo>
                    <a:pt x="41658" y="50477"/>
                  </a:lnTo>
                  <a:lnTo>
                    <a:pt x="52121" y="10414"/>
                  </a:ln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9" name="Freeform: Shape 578">
              <a:extLst>
                <a:ext uri="{FF2B5EF4-FFF2-40B4-BE49-F238E27FC236}">
                  <a16:creationId xmlns:a16="http://schemas.microsoft.com/office/drawing/2014/main" id="{0F5C98F4-09C5-4DB4-9C15-C2BB95CDAB14}"/>
                </a:ext>
              </a:extLst>
            </p:cNvPr>
            <p:cNvSpPr/>
            <p:nvPr/>
          </p:nvSpPr>
          <p:spPr>
            <a:xfrm>
              <a:off x="381081" y="4415581"/>
              <a:ext cx="475855" cy="521971"/>
            </a:xfrm>
            <a:custGeom>
              <a:avLst/>
              <a:gdLst>
                <a:gd name="connsiteX0" fmla="*/ 56724 w 433285"/>
                <a:gd name="connsiteY0" fmla="*/ 470891 h 470571"/>
                <a:gd name="connsiteX1" fmla="*/ 54163 w 433285"/>
                <a:gd name="connsiteY1" fmla="*/ 470205 h 470571"/>
                <a:gd name="connsiteX2" fmla="*/ 10080 w 433285"/>
                <a:gd name="connsiteY2" fmla="*/ 444748 h 470571"/>
                <a:gd name="connsiteX3" fmla="*/ 129 w 433285"/>
                <a:gd name="connsiteY3" fmla="*/ 424005 h 470571"/>
                <a:gd name="connsiteX4" fmla="*/ 129 w 433285"/>
                <a:gd name="connsiteY4" fmla="*/ 246731 h 470571"/>
                <a:gd name="connsiteX5" fmla="*/ 27874 w 433285"/>
                <a:gd name="connsiteY5" fmla="*/ 198731 h 470571"/>
                <a:gd name="connsiteX6" fmla="*/ 364687 w 433285"/>
                <a:gd name="connsiteY6" fmla="*/ 4296 h 470571"/>
                <a:gd name="connsiteX7" fmla="*/ 387650 w 433285"/>
                <a:gd name="connsiteY7" fmla="*/ 2548 h 470571"/>
                <a:gd name="connsiteX8" fmla="*/ 431686 w 433285"/>
                <a:gd name="connsiteY8" fmla="*/ 27954 h 470571"/>
                <a:gd name="connsiteX9" fmla="*/ 433565 w 433285"/>
                <a:gd name="connsiteY9" fmla="*/ 34982 h 470571"/>
                <a:gd name="connsiteX10" fmla="*/ 426535 w 433285"/>
                <a:gd name="connsiteY10" fmla="*/ 36851 h 470571"/>
                <a:gd name="connsiteX11" fmla="*/ 382486 w 433285"/>
                <a:gd name="connsiteY11" fmla="*/ 11445 h 470571"/>
                <a:gd name="connsiteX12" fmla="*/ 369838 w 433285"/>
                <a:gd name="connsiteY12" fmla="*/ 13194 h 470571"/>
                <a:gd name="connsiteX13" fmla="*/ 33021 w 433285"/>
                <a:gd name="connsiteY13" fmla="*/ 207628 h 470571"/>
                <a:gd name="connsiteX14" fmla="*/ 10414 w 433285"/>
                <a:gd name="connsiteY14" fmla="*/ 246731 h 470571"/>
                <a:gd name="connsiteX15" fmla="*/ 10414 w 433285"/>
                <a:gd name="connsiteY15" fmla="*/ 424005 h 470571"/>
                <a:gd name="connsiteX16" fmla="*/ 15213 w 433285"/>
                <a:gd name="connsiteY16" fmla="*/ 435834 h 470571"/>
                <a:gd name="connsiteX17" fmla="*/ 59287 w 433285"/>
                <a:gd name="connsiteY17" fmla="*/ 461291 h 470571"/>
                <a:gd name="connsiteX18" fmla="*/ 61181 w 433285"/>
                <a:gd name="connsiteY18" fmla="*/ 468319 h 470571"/>
                <a:gd name="connsiteX19" fmla="*/ 56724 w 433285"/>
                <a:gd name="connsiteY19" fmla="*/ 470891 h 470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33285" h="470571">
                  <a:moveTo>
                    <a:pt x="56724" y="470891"/>
                  </a:moveTo>
                  <a:cubicBezTo>
                    <a:pt x="55851" y="470891"/>
                    <a:pt x="54974" y="470668"/>
                    <a:pt x="54163" y="470205"/>
                  </a:cubicBezTo>
                  <a:lnTo>
                    <a:pt x="10080" y="444748"/>
                  </a:lnTo>
                  <a:cubicBezTo>
                    <a:pt x="3759" y="441114"/>
                    <a:pt x="129" y="433554"/>
                    <a:pt x="129" y="424005"/>
                  </a:cubicBezTo>
                  <a:lnTo>
                    <a:pt x="129" y="246731"/>
                  </a:lnTo>
                  <a:cubicBezTo>
                    <a:pt x="129" y="228799"/>
                    <a:pt x="12315" y="207714"/>
                    <a:pt x="27874" y="198731"/>
                  </a:cubicBezTo>
                  <a:lnTo>
                    <a:pt x="364687" y="4296"/>
                  </a:lnTo>
                  <a:cubicBezTo>
                    <a:pt x="373082" y="-589"/>
                    <a:pt x="381242" y="-1189"/>
                    <a:pt x="387650" y="2548"/>
                  </a:cubicBezTo>
                  <a:lnTo>
                    <a:pt x="431686" y="27954"/>
                  </a:lnTo>
                  <a:cubicBezTo>
                    <a:pt x="434148" y="29376"/>
                    <a:pt x="434985" y="32514"/>
                    <a:pt x="433565" y="34982"/>
                  </a:cubicBezTo>
                  <a:cubicBezTo>
                    <a:pt x="432149" y="37434"/>
                    <a:pt x="428991" y="38274"/>
                    <a:pt x="426535" y="36851"/>
                  </a:cubicBezTo>
                  <a:lnTo>
                    <a:pt x="382486" y="11445"/>
                  </a:lnTo>
                  <a:cubicBezTo>
                    <a:pt x="379387" y="9628"/>
                    <a:pt x="374906" y="10262"/>
                    <a:pt x="369838" y="13194"/>
                  </a:cubicBezTo>
                  <a:lnTo>
                    <a:pt x="33021" y="207628"/>
                  </a:lnTo>
                  <a:cubicBezTo>
                    <a:pt x="20769" y="214708"/>
                    <a:pt x="10414" y="232622"/>
                    <a:pt x="10414" y="246731"/>
                  </a:cubicBezTo>
                  <a:lnTo>
                    <a:pt x="10414" y="424005"/>
                  </a:lnTo>
                  <a:cubicBezTo>
                    <a:pt x="10414" y="429782"/>
                    <a:pt x="12165" y="434085"/>
                    <a:pt x="15213" y="435834"/>
                  </a:cubicBezTo>
                  <a:lnTo>
                    <a:pt x="59287" y="461291"/>
                  </a:lnTo>
                  <a:cubicBezTo>
                    <a:pt x="61745" y="462696"/>
                    <a:pt x="62602" y="465868"/>
                    <a:pt x="61181" y="468319"/>
                  </a:cubicBezTo>
                  <a:cubicBezTo>
                    <a:pt x="60231" y="469965"/>
                    <a:pt x="58502" y="470891"/>
                    <a:pt x="56724" y="470891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0" name="Freeform: Shape 579">
              <a:extLst>
                <a:ext uri="{FF2B5EF4-FFF2-40B4-BE49-F238E27FC236}">
                  <a16:creationId xmlns:a16="http://schemas.microsoft.com/office/drawing/2014/main" id="{9F1ABB2F-B63E-48B1-A594-3356405ED34C}"/>
                </a:ext>
              </a:extLst>
            </p:cNvPr>
            <p:cNvSpPr/>
            <p:nvPr/>
          </p:nvSpPr>
          <p:spPr>
            <a:xfrm>
              <a:off x="1788127" y="6076437"/>
              <a:ext cx="183564" cy="125502"/>
            </a:xfrm>
            <a:custGeom>
              <a:avLst/>
              <a:gdLst>
                <a:gd name="connsiteX0" fmla="*/ 36481 w 167142"/>
                <a:gd name="connsiteY0" fmla="*/ 113275 h 113142"/>
                <a:gd name="connsiteX1" fmla="*/ 32857 w 167142"/>
                <a:gd name="connsiteY1" fmla="*/ 111766 h 113142"/>
                <a:gd name="connsiteX2" fmla="*/ 1647 w 167142"/>
                <a:gd name="connsiteY2" fmla="*/ 80789 h 113142"/>
                <a:gd name="connsiteX3" fmla="*/ 1621 w 167142"/>
                <a:gd name="connsiteY3" fmla="*/ 73521 h 113142"/>
                <a:gd name="connsiteX4" fmla="*/ 8893 w 167142"/>
                <a:gd name="connsiteY4" fmla="*/ 73486 h 113142"/>
                <a:gd name="connsiteX5" fmla="*/ 34937 w 167142"/>
                <a:gd name="connsiteY5" fmla="*/ 99338 h 113142"/>
                <a:gd name="connsiteX6" fmla="*/ 63404 w 167142"/>
                <a:gd name="connsiteY6" fmla="*/ 39012 h 113142"/>
                <a:gd name="connsiteX7" fmla="*/ 67176 w 167142"/>
                <a:gd name="connsiteY7" fmla="*/ 36149 h 113142"/>
                <a:gd name="connsiteX8" fmla="*/ 71684 w 167142"/>
                <a:gd name="connsiteY8" fmla="*/ 37555 h 113142"/>
                <a:gd name="connsiteX9" fmla="*/ 97724 w 167142"/>
                <a:gd name="connsiteY9" fmla="*/ 63407 h 113142"/>
                <a:gd name="connsiteX10" fmla="*/ 126199 w 167142"/>
                <a:gd name="connsiteY10" fmla="*/ 3064 h 113142"/>
                <a:gd name="connsiteX11" fmla="*/ 129953 w 167142"/>
                <a:gd name="connsiteY11" fmla="*/ 201 h 113142"/>
                <a:gd name="connsiteX12" fmla="*/ 134461 w 167142"/>
                <a:gd name="connsiteY12" fmla="*/ 1624 h 113142"/>
                <a:gd name="connsiteX13" fmla="*/ 165679 w 167142"/>
                <a:gd name="connsiteY13" fmla="*/ 32601 h 113142"/>
                <a:gd name="connsiteX14" fmla="*/ 165713 w 167142"/>
                <a:gd name="connsiteY14" fmla="*/ 39869 h 113142"/>
                <a:gd name="connsiteX15" fmla="*/ 158444 w 167142"/>
                <a:gd name="connsiteY15" fmla="*/ 39904 h 113142"/>
                <a:gd name="connsiteX16" fmla="*/ 132387 w 167142"/>
                <a:gd name="connsiteY16" fmla="*/ 14052 h 113142"/>
                <a:gd name="connsiteX17" fmla="*/ 103913 w 167142"/>
                <a:gd name="connsiteY17" fmla="*/ 74378 h 113142"/>
                <a:gd name="connsiteX18" fmla="*/ 100158 w 167142"/>
                <a:gd name="connsiteY18" fmla="*/ 77258 h 113142"/>
                <a:gd name="connsiteX19" fmla="*/ 95650 w 167142"/>
                <a:gd name="connsiteY19" fmla="*/ 75835 h 113142"/>
                <a:gd name="connsiteX20" fmla="*/ 69610 w 167142"/>
                <a:gd name="connsiteY20" fmla="*/ 49984 h 113142"/>
                <a:gd name="connsiteX21" fmla="*/ 41132 w 167142"/>
                <a:gd name="connsiteY21" fmla="*/ 110326 h 113142"/>
                <a:gd name="connsiteX22" fmla="*/ 37371 w 167142"/>
                <a:gd name="connsiteY22" fmla="*/ 113189 h 113142"/>
                <a:gd name="connsiteX23" fmla="*/ 36481 w 167142"/>
                <a:gd name="connsiteY23" fmla="*/ 113275 h 113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7142" h="113142">
                  <a:moveTo>
                    <a:pt x="36481" y="113275"/>
                  </a:moveTo>
                  <a:cubicBezTo>
                    <a:pt x="35136" y="113275"/>
                    <a:pt x="33829" y="112744"/>
                    <a:pt x="32857" y="111766"/>
                  </a:cubicBezTo>
                  <a:lnTo>
                    <a:pt x="1647" y="80789"/>
                  </a:lnTo>
                  <a:cubicBezTo>
                    <a:pt x="-367" y="78784"/>
                    <a:pt x="-379" y="75544"/>
                    <a:pt x="1621" y="73521"/>
                  </a:cubicBezTo>
                  <a:cubicBezTo>
                    <a:pt x="3622" y="71498"/>
                    <a:pt x="6877" y="71481"/>
                    <a:pt x="8893" y="73486"/>
                  </a:cubicBezTo>
                  <a:lnTo>
                    <a:pt x="34937" y="99338"/>
                  </a:lnTo>
                  <a:lnTo>
                    <a:pt x="63404" y="39012"/>
                  </a:lnTo>
                  <a:cubicBezTo>
                    <a:pt x="64124" y="37504"/>
                    <a:pt x="65530" y="36441"/>
                    <a:pt x="67176" y="36149"/>
                  </a:cubicBezTo>
                  <a:cubicBezTo>
                    <a:pt x="68821" y="35858"/>
                    <a:pt x="70501" y="36389"/>
                    <a:pt x="71684" y="37555"/>
                  </a:cubicBezTo>
                  <a:lnTo>
                    <a:pt x="97724" y="63407"/>
                  </a:lnTo>
                  <a:lnTo>
                    <a:pt x="126199" y="3064"/>
                  </a:lnTo>
                  <a:cubicBezTo>
                    <a:pt x="126901" y="1555"/>
                    <a:pt x="128307" y="492"/>
                    <a:pt x="129953" y="201"/>
                  </a:cubicBezTo>
                  <a:cubicBezTo>
                    <a:pt x="131616" y="-74"/>
                    <a:pt x="133296" y="441"/>
                    <a:pt x="134461" y="1624"/>
                  </a:cubicBezTo>
                  <a:lnTo>
                    <a:pt x="165679" y="32601"/>
                  </a:lnTo>
                  <a:cubicBezTo>
                    <a:pt x="167701" y="34589"/>
                    <a:pt x="167718" y="37847"/>
                    <a:pt x="165713" y="39869"/>
                  </a:cubicBezTo>
                  <a:cubicBezTo>
                    <a:pt x="163707" y="41892"/>
                    <a:pt x="160467" y="41909"/>
                    <a:pt x="158444" y="39904"/>
                  </a:cubicBezTo>
                  <a:lnTo>
                    <a:pt x="132387" y="14052"/>
                  </a:lnTo>
                  <a:lnTo>
                    <a:pt x="103913" y="74378"/>
                  </a:lnTo>
                  <a:cubicBezTo>
                    <a:pt x="103210" y="75904"/>
                    <a:pt x="101804" y="76966"/>
                    <a:pt x="100158" y="77258"/>
                  </a:cubicBezTo>
                  <a:cubicBezTo>
                    <a:pt x="98496" y="77532"/>
                    <a:pt x="96833" y="77018"/>
                    <a:pt x="95650" y="75835"/>
                  </a:cubicBezTo>
                  <a:lnTo>
                    <a:pt x="69610" y="49984"/>
                  </a:lnTo>
                  <a:lnTo>
                    <a:pt x="41132" y="110326"/>
                  </a:lnTo>
                  <a:cubicBezTo>
                    <a:pt x="40419" y="111835"/>
                    <a:pt x="39017" y="112898"/>
                    <a:pt x="37371" y="113189"/>
                  </a:cubicBezTo>
                  <a:cubicBezTo>
                    <a:pt x="37074" y="113241"/>
                    <a:pt x="36778" y="113275"/>
                    <a:pt x="36481" y="113275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1" name="Freeform: Shape 580">
              <a:extLst>
                <a:ext uri="{FF2B5EF4-FFF2-40B4-BE49-F238E27FC236}">
                  <a16:creationId xmlns:a16="http://schemas.microsoft.com/office/drawing/2014/main" id="{6449E760-14EC-4040-9373-A475EBBF940A}"/>
                </a:ext>
              </a:extLst>
            </p:cNvPr>
            <p:cNvSpPr/>
            <p:nvPr/>
          </p:nvSpPr>
          <p:spPr>
            <a:xfrm>
              <a:off x="1620609" y="4114428"/>
              <a:ext cx="183564" cy="125502"/>
            </a:xfrm>
            <a:custGeom>
              <a:avLst/>
              <a:gdLst>
                <a:gd name="connsiteX0" fmla="*/ 36484 w 167142"/>
                <a:gd name="connsiteY0" fmla="*/ 113267 h 113142"/>
                <a:gd name="connsiteX1" fmla="*/ 32861 w 167142"/>
                <a:gd name="connsiteY1" fmla="*/ 111776 h 113142"/>
                <a:gd name="connsiteX2" fmla="*/ 1653 w 167142"/>
                <a:gd name="connsiteY2" fmla="*/ 80803 h 113142"/>
                <a:gd name="connsiteX3" fmla="*/ 1625 w 167142"/>
                <a:gd name="connsiteY3" fmla="*/ 73521 h 113142"/>
                <a:gd name="connsiteX4" fmla="*/ 8897 w 167142"/>
                <a:gd name="connsiteY4" fmla="*/ 73503 h 113142"/>
                <a:gd name="connsiteX5" fmla="*/ 34940 w 167142"/>
                <a:gd name="connsiteY5" fmla="*/ 99362 h 113142"/>
                <a:gd name="connsiteX6" fmla="*/ 63410 w 167142"/>
                <a:gd name="connsiteY6" fmla="*/ 39013 h 113142"/>
                <a:gd name="connsiteX7" fmla="*/ 67169 w 167142"/>
                <a:gd name="connsiteY7" fmla="*/ 36154 h 113142"/>
                <a:gd name="connsiteX8" fmla="*/ 71684 w 167142"/>
                <a:gd name="connsiteY8" fmla="*/ 37557 h 113142"/>
                <a:gd name="connsiteX9" fmla="*/ 97729 w 167142"/>
                <a:gd name="connsiteY9" fmla="*/ 63416 h 113142"/>
                <a:gd name="connsiteX10" fmla="*/ 126201 w 167142"/>
                <a:gd name="connsiteY10" fmla="*/ 3085 h 113142"/>
                <a:gd name="connsiteX11" fmla="*/ 129961 w 167142"/>
                <a:gd name="connsiteY11" fmla="*/ 208 h 113142"/>
                <a:gd name="connsiteX12" fmla="*/ 134474 w 167142"/>
                <a:gd name="connsiteY12" fmla="*/ 1629 h 113142"/>
                <a:gd name="connsiteX13" fmla="*/ 165688 w 167142"/>
                <a:gd name="connsiteY13" fmla="*/ 32602 h 113142"/>
                <a:gd name="connsiteX14" fmla="*/ 165715 w 167142"/>
                <a:gd name="connsiteY14" fmla="*/ 39884 h 113142"/>
                <a:gd name="connsiteX15" fmla="*/ 158442 w 167142"/>
                <a:gd name="connsiteY15" fmla="*/ 39901 h 113142"/>
                <a:gd name="connsiteX16" fmla="*/ 132394 w 167142"/>
                <a:gd name="connsiteY16" fmla="*/ 14061 h 113142"/>
                <a:gd name="connsiteX17" fmla="*/ 103921 w 167142"/>
                <a:gd name="connsiteY17" fmla="*/ 74391 h 113142"/>
                <a:gd name="connsiteX18" fmla="*/ 100163 w 167142"/>
                <a:gd name="connsiteY18" fmla="*/ 77268 h 113142"/>
                <a:gd name="connsiteX19" fmla="*/ 95649 w 167142"/>
                <a:gd name="connsiteY19" fmla="*/ 75847 h 113142"/>
                <a:gd name="connsiteX20" fmla="*/ 69604 w 167142"/>
                <a:gd name="connsiteY20" fmla="*/ 49989 h 113142"/>
                <a:gd name="connsiteX21" fmla="*/ 41135 w 167142"/>
                <a:gd name="connsiteY21" fmla="*/ 110319 h 113142"/>
                <a:gd name="connsiteX22" fmla="*/ 37375 w 167142"/>
                <a:gd name="connsiteY22" fmla="*/ 113196 h 113142"/>
                <a:gd name="connsiteX23" fmla="*/ 36484 w 167142"/>
                <a:gd name="connsiteY23" fmla="*/ 113267 h 113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67142" h="113142">
                  <a:moveTo>
                    <a:pt x="36484" y="113267"/>
                  </a:moveTo>
                  <a:cubicBezTo>
                    <a:pt x="35138" y="113267"/>
                    <a:pt x="33832" y="112752"/>
                    <a:pt x="32861" y="111776"/>
                  </a:cubicBezTo>
                  <a:lnTo>
                    <a:pt x="1653" y="80803"/>
                  </a:lnTo>
                  <a:cubicBezTo>
                    <a:pt x="-362" y="78796"/>
                    <a:pt x="-375" y="75545"/>
                    <a:pt x="1625" y="73521"/>
                  </a:cubicBezTo>
                  <a:cubicBezTo>
                    <a:pt x="3625" y="71514"/>
                    <a:pt x="6884" y="71496"/>
                    <a:pt x="8897" y="73503"/>
                  </a:cubicBezTo>
                  <a:lnTo>
                    <a:pt x="34940" y="99362"/>
                  </a:lnTo>
                  <a:lnTo>
                    <a:pt x="63410" y="39013"/>
                  </a:lnTo>
                  <a:cubicBezTo>
                    <a:pt x="64123" y="37504"/>
                    <a:pt x="65525" y="36438"/>
                    <a:pt x="67169" y="36154"/>
                  </a:cubicBezTo>
                  <a:cubicBezTo>
                    <a:pt x="68816" y="35852"/>
                    <a:pt x="70501" y="36385"/>
                    <a:pt x="71684" y="37557"/>
                  </a:cubicBezTo>
                  <a:lnTo>
                    <a:pt x="97729" y="63416"/>
                  </a:lnTo>
                  <a:lnTo>
                    <a:pt x="126201" y="3085"/>
                  </a:lnTo>
                  <a:cubicBezTo>
                    <a:pt x="126915" y="1576"/>
                    <a:pt x="128315" y="493"/>
                    <a:pt x="129961" y="208"/>
                  </a:cubicBezTo>
                  <a:cubicBezTo>
                    <a:pt x="131604" y="-76"/>
                    <a:pt x="133289" y="457"/>
                    <a:pt x="134474" y="1629"/>
                  </a:cubicBezTo>
                  <a:lnTo>
                    <a:pt x="165688" y="32602"/>
                  </a:lnTo>
                  <a:cubicBezTo>
                    <a:pt x="167704" y="34609"/>
                    <a:pt x="167718" y="37859"/>
                    <a:pt x="165715" y="39884"/>
                  </a:cubicBezTo>
                  <a:cubicBezTo>
                    <a:pt x="163715" y="41891"/>
                    <a:pt x="160460" y="41908"/>
                    <a:pt x="158442" y="39901"/>
                  </a:cubicBezTo>
                  <a:lnTo>
                    <a:pt x="132394" y="14061"/>
                  </a:lnTo>
                  <a:lnTo>
                    <a:pt x="103921" y="74391"/>
                  </a:lnTo>
                  <a:cubicBezTo>
                    <a:pt x="103209" y="75901"/>
                    <a:pt x="101808" y="76966"/>
                    <a:pt x="100163" y="77268"/>
                  </a:cubicBezTo>
                  <a:cubicBezTo>
                    <a:pt x="98526" y="77552"/>
                    <a:pt x="96833" y="77020"/>
                    <a:pt x="95649" y="75847"/>
                  </a:cubicBezTo>
                  <a:lnTo>
                    <a:pt x="69604" y="49989"/>
                  </a:lnTo>
                  <a:lnTo>
                    <a:pt x="41135" y="110319"/>
                  </a:lnTo>
                  <a:cubicBezTo>
                    <a:pt x="40421" y="111829"/>
                    <a:pt x="39022" y="112912"/>
                    <a:pt x="37375" y="113196"/>
                  </a:cubicBezTo>
                  <a:cubicBezTo>
                    <a:pt x="37079" y="113250"/>
                    <a:pt x="36780" y="113267"/>
                    <a:pt x="36484" y="113267"/>
                  </a:cubicBezTo>
                </a:path>
              </a:pathLst>
            </a:custGeom>
            <a:solidFill>
              <a:srgbClr val="3A3A3A"/>
            </a:solidFill>
            <a:ln w="13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2" name="Freeform: Shape 581">
              <a:extLst>
                <a:ext uri="{FF2B5EF4-FFF2-40B4-BE49-F238E27FC236}">
                  <a16:creationId xmlns:a16="http://schemas.microsoft.com/office/drawing/2014/main" id="{B1FFDF4C-A456-4B84-B434-5B106D1E1703}"/>
                </a:ext>
              </a:extLst>
            </p:cNvPr>
            <p:cNvSpPr/>
            <p:nvPr/>
          </p:nvSpPr>
          <p:spPr>
            <a:xfrm>
              <a:off x="2285201" y="4314003"/>
              <a:ext cx="88959" cy="89848"/>
            </a:xfrm>
            <a:custGeom>
              <a:avLst/>
              <a:gdLst>
                <a:gd name="connsiteX0" fmla="*/ 81900 w 81000"/>
                <a:gd name="connsiteY0" fmla="*/ 41014 h 81000"/>
                <a:gd name="connsiteX1" fmla="*/ 41014 w 81000"/>
                <a:gd name="connsiteY1" fmla="*/ 129 h 81000"/>
                <a:gd name="connsiteX2" fmla="*/ 129 w 81000"/>
                <a:gd name="connsiteY2" fmla="*/ 41014 h 81000"/>
                <a:gd name="connsiteX3" fmla="*/ 41014 w 81000"/>
                <a:gd name="connsiteY3" fmla="*/ 81900 h 81000"/>
                <a:gd name="connsiteX4" fmla="*/ 81900 w 81000"/>
                <a:gd name="connsiteY4" fmla="*/ 41014 h 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000" h="81000">
                  <a:moveTo>
                    <a:pt x="81900" y="41014"/>
                  </a:moveTo>
                  <a:cubicBezTo>
                    <a:pt x="81900" y="18437"/>
                    <a:pt x="63591" y="129"/>
                    <a:pt x="41014" y="129"/>
                  </a:cubicBezTo>
                  <a:cubicBezTo>
                    <a:pt x="18437" y="129"/>
                    <a:pt x="129" y="18437"/>
                    <a:pt x="129" y="41014"/>
                  </a:cubicBezTo>
                  <a:cubicBezTo>
                    <a:pt x="129" y="63591"/>
                    <a:pt x="18437" y="81900"/>
                    <a:pt x="41014" y="81900"/>
                  </a:cubicBezTo>
                  <a:cubicBezTo>
                    <a:pt x="63591" y="81900"/>
                    <a:pt x="81900" y="63591"/>
                    <a:pt x="81900" y="41014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3" name="Freeform: Shape 582">
              <a:extLst>
                <a:ext uri="{FF2B5EF4-FFF2-40B4-BE49-F238E27FC236}">
                  <a16:creationId xmlns:a16="http://schemas.microsoft.com/office/drawing/2014/main" id="{C0F6477E-6DC4-4FB6-9B9D-8CA9D1610B0B}"/>
                </a:ext>
              </a:extLst>
            </p:cNvPr>
            <p:cNvSpPr/>
            <p:nvPr/>
          </p:nvSpPr>
          <p:spPr>
            <a:xfrm>
              <a:off x="2279553" y="4308298"/>
              <a:ext cx="100254" cy="101257"/>
            </a:xfrm>
            <a:custGeom>
              <a:avLst/>
              <a:gdLst>
                <a:gd name="connsiteX0" fmla="*/ 46157 w 91285"/>
                <a:gd name="connsiteY0" fmla="*/ 10414 h 91285"/>
                <a:gd name="connsiteX1" fmla="*/ 10414 w 91285"/>
                <a:gd name="connsiteY1" fmla="*/ 46157 h 91285"/>
                <a:gd name="connsiteX2" fmla="*/ 46157 w 91285"/>
                <a:gd name="connsiteY2" fmla="*/ 81900 h 91285"/>
                <a:gd name="connsiteX3" fmla="*/ 81900 w 91285"/>
                <a:gd name="connsiteY3" fmla="*/ 46157 h 91285"/>
                <a:gd name="connsiteX4" fmla="*/ 46157 w 91285"/>
                <a:gd name="connsiteY4" fmla="*/ 10414 h 91285"/>
                <a:gd name="connsiteX5" fmla="*/ 46157 w 91285"/>
                <a:gd name="connsiteY5" fmla="*/ 92186 h 91285"/>
                <a:gd name="connsiteX6" fmla="*/ 129 w 91285"/>
                <a:gd name="connsiteY6" fmla="*/ 46157 h 91285"/>
                <a:gd name="connsiteX7" fmla="*/ 46157 w 91285"/>
                <a:gd name="connsiteY7" fmla="*/ 129 h 91285"/>
                <a:gd name="connsiteX8" fmla="*/ 92186 w 91285"/>
                <a:gd name="connsiteY8" fmla="*/ 46157 h 91285"/>
                <a:gd name="connsiteX9" fmla="*/ 46157 w 91285"/>
                <a:gd name="connsiteY9" fmla="*/ 92186 h 9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285" h="91285">
                  <a:moveTo>
                    <a:pt x="46157" y="10414"/>
                  </a:moveTo>
                  <a:cubicBezTo>
                    <a:pt x="26443" y="10414"/>
                    <a:pt x="10414" y="26460"/>
                    <a:pt x="10414" y="46157"/>
                  </a:cubicBezTo>
                  <a:cubicBezTo>
                    <a:pt x="10414" y="65871"/>
                    <a:pt x="26443" y="81900"/>
                    <a:pt x="46157" y="81900"/>
                  </a:cubicBezTo>
                  <a:cubicBezTo>
                    <a:pt x="65854" y="81900"/>
                    <a:pt x="81900" y="65871"/>
                    <a:pt x="81900" y="46157"/>
                  </a:cubicBezTo>
                  <a:cubicBezTo>
                    <a:pt x="81900" y="26460"/>
                    <a:pt x="65854" y="10414"/>
                    <a:pt x="46157" y="10414"/>
                  </a:cubicBezTo>
                  <a:close/>
                  <a:moveTo>
                    <a:pt x="46157" y="92186"/>
                  </a:moveTo>
                  <a:cubicBezTo>
                    <a:pt x="20768" y="92186"/>
                    <a:pt x="129" y="71546"/>
                    <a:pt x="129" y="46157"/>
                  </a:cubicBezTo>
                  <a:cubicBezTo>
                    <a:pt x="129" y="20786"/>
                    <a:pt x="20768" y="129"/>
                    <a:pt x="46157" y="129"/>
                  </a:cubicBezTo>
                  <a:cubicBezTo>
                    <a:pt x="71529" y="129"/>
                    <a:pt x="92186" y="20786"/>
                    <a:pt x="92186" y="46157"/>
                  </a:cubicBezTo>
                  <a:cubicBezTo>
                    <a:pt x="92186" y="71546"/>
                    <a:pt x="71529" y="92186"/>
                    <a:pt x="46157" y="92186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4" name="Freeform: Shape 583">
              <a:extLst>
                <a:ext uri="{FF2B5EF4-FFF2-40B4-BE49-F238E27FC236}">
                  <a16:creationId xmlns:a16="http://schemas.microsoft.com/office/drawing/2014/main" id="{2F40768B-26FB-46E3-93F6-54EDAA0212E3}"/>
                </a:ext>
              </a:extLst>
            </p:cNvPr>
            <p:cNvSpPr/>
            <p:nvPr/>
          </p:nvSpPr>
          <p:spPr>
            <a:xfrm>
              <a:off x="734150" y="5088328"/>
              <a:ext cx="88959" cy="89848"/>
            </a:xfrm>
            <a:custGeom>
              <a:avLst/>
              <a:gdLst>
                <a:gd name="connsiteX0" fmla="*/ 81895 w 81000"/>
                <a:gd name="connsiteY0" fmla="*/ 41014 h 81000"/>
                <a:gd name="connsiteX1" fmla="*/ 41007 w 81000"/>
                <a:gd name="connsiteY1" fmla="*/ 129 h 81000"/>
                <a:gd name="connsiteX2" fmla="*/ 129 w 81000"/>
                <a:gd name="connsiteY2" fmla="*/ 41014 h 81000"/>
                <a:gd name="connsiteX3" fmla="*/ 41007 w 81000"/>
                <a:gd name="connsiteY3" fmla="*/ 81900 h 81000"/>
                <a:gd name="connsiteX4" fmla="*/ 81895 w 81000"/>
                <a:gd name="connsiteY4" fmla="*/ 41014 h 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000" h="81000">
                  <a:moveTo>
                    <a:pt x="81895" y="41014"/>
                  </a:moveTo>
                  <a:cubicBezTo>
                    <a:pt x="81895" y="18437"/>
                    <a:pt x="63588" y="129"/>
                    <a:pt x="41007" y="129"/>
                  </a:cubicBezTo>
                  <a:cubicBezTo>
                    <a:pt x="18430" y="129"/>
                    <a:pt x="129" y="18437"/>
                    <a:pt x="129" y="41014"/>
                  </a:cubicBezTo>
                  <a:cubicBezTo>
                    <a:pt x="129" y="63591"/>
                    <a:pt x="18430" y="81900"/>
                    <a:pt x="41007" y="81900"/>
                  </a:cubicBezTo>
                  <a:cubicBezTo>
                    <a:pt x="63588" y="81900"/>
                    <a:pt x="81895" y="63591"/>
                    <a:pt x="81895" y="41014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:a16="http://schemas.microsoft.com/office/drawing/2014/main" id="{08ADA89A-F270-44A8-828C-269ADBBCAF83}"/>
                </a:ext>
              </a:extLst>
            </p:cNvPr>
            <p:cNvSpPr/>
            <p:nvPr/>
          </p:nvSpPr>
          <p:spPr>
            <a:xfrm>
              <a:off x="728500" y="5082623"/>
              <a:ext cx="100254" cy="101257"/>
            </a:xfrm>
            <a:custGeom>
              <a:avLst/>
              <a:gdLst>
                <a:gd name="connsiteX0" fmla="*/ 46152 w 91285"/>
                <a:gd name="connsiteY0" fmla="*/ 10414 h 91285"/>
                <a:gd name="connsiteX1" fmla="*/ 10414 w 91285"/>
                <a:gd name="connsiteY1" fmla="*/ 46157 h 91285"/>
                <a:gd name="connsiteX2" fmla="*/ 46152 w 91285"/>
                <a:gd name="connsiteY2" fmla="*/ 81900 h 91285"/>
                <a:gd name="connsiteX3" fmla="*/ 81898 w 91285"/>
                <a:gd name="connsiteY3" fmla="*/ 46157 h 91285"/>
                <a:gd name="connsiteX4" fmla="*/ 46152 w 91285"/>
                <a:gd name="connsiteY4" fmla="*/ 10414 h 91285"/>
                <a:gd name="connsiteX5" fmla="*/ 46152 w 91285"/>
                <a:gd name="connsiteY5" fmla="*/ 92186 h 91285"/>
                <a:gd name="connsiteX6" fmla="*/ 129 w 91285"/>
                <a:gd name="connsiteY6" fmla="*/ 46157 h 91285"/>
                <a:gd name="connsiteX7" fmla="*/ 46152 w 91285"/>
                <a:gd name="connsiteY7" fmla="*/ 129 h 91285"/>
                <a:gd name="connsiteX8" fmla="*/ 92184 w 91285"/>
                <a:gd name="connsiteY8" fmla="*/ 46157 h 91285"/>
                <a:gd name="connsiteX9" fmla="*/ 46152 w 91285"/>
                <a:gd name="connsiteY9" fmla="*/ 92186 h 9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285" h="91285">
                  <a:moveTo>
                    <a:pt x="46152" y="10414"/>
                  </a:moveTo>
                  <a:cubicBezTo>
                    <a:pt x="26446" y="10414"/>
                    <a:pt x="10414" y="26460"/>
                    <a:pt x="10414" y="46157"/>
                  </a:cubicBezTo>
                  <a:cubicBezTo>
                    <a:pt x="10414" y="65871"/>
                    <a:pt x="26446" y="81900"/>
                    <a:pt x="46152" y="81900"/>
                  </a:cubicBezTo>
                  <a:cubicBezTo>
                    <a:pt x="65863" y="81900"/>
                    <a:pt x="81898" y="65871"/>
                    <a:pt x="81898" y="46157"/>
                  </a:cubicBezTo>
                  <a:cubicBezTo>
                    <a:pt x="81898" y="26460"/>
                    <a:pt x="65863" y="10414"/>
                    <a:pt x="46152" y="10414"/>
                  </a:cubicBezTo>
                  <a:close/>
                  <a:moveTo>
                    <a:pt x="46152" y="92186"/>
                  </a:moveTo>
                  <a:cubicBezTo>
                    <a:pt x="20774" y="92186"/>
                    <a:pt x="129" y="71546"/>
                    <a:pt x="129" y="46157"/>
                  </a:cubicBezTo>
                  <a:cubicBezTo>
                    <a:pt x="129" y="20786"/>
                    <a:pt x="20774" y="129"/>
                    <a:pt x="46152" y="129"/>
                  </a:cubicBezTo>
                  <a:cubicBezTo>
                    <a:pt x="71534" y="129"/>
                    <a:pt x="92184" y="20786"/>
                    <a:pt x="92184" y="46157"/>
                  </a:cubicBezTo>
                  <a:cubicBezTo>
                    <a:pt x="92184" y="71546"/>
                    <a:pt x="71534" y="92186"/>
                    <a:pt x="46152" y="92186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6" name="Freeform: Shape 585">
              <a:extLst>
                <a:ext uri="{FF2B5EF4-FFF2-40B4-BE49-F238E27FC236}">
                  <a16:creationId xmlns:a16="http://schemas.microsoft.com/office/drawing/2014/main" id="{2D6672E7-0655-45BC-A62F-60E9B04A63E5}"/>
                </a:ext>
              </a:extLst>
            </p:cNvPr>
            <p:cNvSpPr/>
            <p:nvPr/>
          </p:nvSpPr>
          <p:spPr>
            <a:xfrm>
              <a:off x="1027311" y="4416754"/>
              <a:ext cx="76250" cy="48489"/>
            </a:xfrm>
            <a:custGeom>
              <a:avLst/>
              <a:gdLst>
                <a:gd name="connsiteX0" fmla="*/ 5277 w 69428"/>
                <a:gd name="connsiteY0" fmla="*/ 44690 h 43714"/>
                <a:gd name="connsiteX1" fmla="*/ 820 w 69428"/>
                <a:gd name="connsiteY1" fmla="*/ 42119 h 43714"/>
                <a:gd name="connsiteX2" fmla="*/ 2700 w 69428"/>
                <a:gd name="connsiteY2" fmla="*/ 35107 h 43714"/>
                <a:gd name="connsiteX3" fmla="*/ 62085 w 69428"/>
                <a:gd name="connsiteY3" fmla="*/ 821 h 43714"/>
                <a:gd name="connsiteX4" fmla="*/ 69108 w 69428"/>
                <a:gd name="connsiteY4" fmla="*/ 2690 h 43714"/>
                <a:gd name="connsiteX5" fmla="*/ 67228 w 69428"/>
                <a:gd name="connsiteY5" fmla="*/ 9719 h 43714"/>
                <a:gd name="connsiteX6" fmla="*/ 7843 w 69428"/>
                <a:gd name="connsiteY6" fmla="*/ 44004 h 43714"/>
                <a:gd name="connsiteX7" fmla="*/ 5277 w 69428"/>
                <a:gd name="connsiteY7" fmla="*/ 44690 h 43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428" h="43714">
                  <a:moveTo>
                    <a:pt x="5277" y="44690"/>
                  </a:moveTo>
                  <a:cubicBezTo>
                    <a:pt x="3499" y="44690"/>
                    <a:pt x="1771" y="43781"/>
                    <a:pt x="820" y="42119"/>
                  </a:cubicBezTo>
                  <a:cubicBezTo>
                    <a:pt x="-603" y="39667"/>
                    <a:pt x="242" y="36513"/>
                    <a:pt x="2700" y="35107"/>
                  </a:cubicBezTo>
                  <a:lnTo>
                    <a:pt x="62085" y="821"/>
                  </a:lnTo>
                  <a:cubicBezTo>
                    <a:pt x="64550" y="-601"/>
                    <a:pt x="67691" y="238"/>
                    <a:pt x="69108" y="2690"/>
                  </a:cubicBezTo>
                  <a:cubicBezTo>
                    <a:pt x="70531" y="5158"/>
                    <a:pt x="69686" y="8296"/>
                    <a:pt x="67228" y="9719"/>
                  </a:cubicBezTo>
                  <a:lnTo>
                    <a:pt x="7843" y="44004"/>
                  </a:lnTo>
                  <a:cubicBezTo>
                    <a:pt x="7034" y="44467"/>
                    <a:pt x="6149" y="44690"/>
                    <a:pt x="5277" y="44690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7" name="Freeform: Shape 586">
              <a:extLst>
                <a:ext uri="{FF2B5EF4-FFF2-40B4-BE49-F238E27FC236}">
                  <a16:creationId xmlns:a16="http://schemas.microsoft.com/office/drawing/2014/main" id="{5C46D2EB-BD68-4C2F-8933-14DE15CC05C3}"/>
                </a:ext>
              </a:extLst>
            </p:cNvPr>
            <p:cNvSpPr/>
            <p:nvPr/>
          </p:nvSpPr>
          <p:spPr>
            <a:xfrm>
              <a:off x="1027311" y="4416754"/>
              <a:ext cx="76250" cy="48489"/>
            </a:xfrm>
            <a:custGeom>
              <a:avLst/>
              <a:gdLst>
                <a:gd name="connsiteX0" fmla="*/ 64651 w 69428"/>
                <a:gd name="connsiteY0" fmla="*/ 44690 h 43714"/>
                <a:gd name="connsiteX1" fmla="*/ 62085 w 69428"/>
                <a:gd name="connsiteY1" fmla="*/ 44004 h 43714"/>
                <a:gd name="connsiteX2" fmla="*/ 2700 w 69428"/>
                <a:gd name="connsiteY2" fmla="*/ 9719 h 43714"/>
                <a:gd name="connsiteX3" fmla="*/ 820 w 69428"/>
                <a:gd name="connsiteY3" fmla="*/ 2690 h 43714"/>
                <a:gd name="connsiteX4" fmla="*/ 7843 w 69428"/>
                <a:gd name="connsiteY4" fmla="*/ 821 h 43714"/>
                <a:gd name="connsiteX5" fmla="*/ 67228 w 69428"/>
                <a:gd name="connsiteY5" fmla="*/ 35107 h 43714"/>
                <a:gd name="connsiteX6" fmla="*/ 69108 w 69428"/>
                <a:gd name="connsiteY6" fmla="*/ 42119 h 43714"/>
                <a:gd name="connsiteX7" fmla="*/ 64651 w 69428"/>
                <a:gd name="connsiteY7" fmla="*/ 44690 h 43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9428" h="43714">
                  <a:moveTo>
                    <a:pt x="64651" y="44690"/>
                  </a:moveTo>
                  <a:cubicBezTo>
                    <a:pt x="63779" y="44690"/>
                    <a:pt x="62894" y="44467"/>
                    <a:pt x="62085" y="44004"/>
                  </a:cubicBezTo>
                  <a:lnTo>
                    <a:pt x="2700" y="9719"/>
                  </a:lnTo>
                  <a:cubicBezTo>
                    <a:pt x="242" y="8296"/>
                    <a:pt x="-603" y="5158"/>
                    <a:pt x="820" y="2690"/>
                  </a:cubicBezTo>
                  <a:cubicBezTo>
                    <a:pt x="2243" y="238"/>
                    <a:pt x="5385" y="-601"/>
                    <a:pt x="7843" y="821"/>
                  </a:cubicBezTo>
                  <a:lnTo>
                    <a:pt x="67228" y="35107"/>
                  </a:lnTo>
                  <a:cubicBezTo>
                    <a:pt x="69686" y="36513"/>
                    <a:pt x="70531" y="39667"/>
                    <a:pt x="69108" y="42119"/>
                  </a:cubicBezTo>
                  <a:cubicBezTo>
                    <a:pt x="68157" y="43781"/>
                    <a:pt x="66429" y="44690"/>
                    <a:pt x="64651" y="44690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8" name="Freeform: Shape 587">
              <a:extLst>
                <a:ext uri="{FF2B5EF4-FFF2-40B4-BE49-F238E27FC236}">
                  <a16:creationId xmlns:a16="http://schemas.microsoft.com/office/drawing/2014/main" id="{92AC3C00-DDBA-43E9-A138-063D0A8F2EDE}"/>
                </a:ext>
              </a:extLst>
            </p:cNvPr>
            <p:cNvSpPr/>
            <p:nvPr/>
          </p:nvSpPr>
          <p:spPr>
            <a:xfrm>
              <a:off x="2201307" y="5952632"/>
              <a:ext cx="88959" cy="89848"/>
            </a:xfrm>
            <a:custGeom>
              <a:avLst/>
              <a:gdLst>
                <a:gd name="connsiteX0" fmla="*/ 81900 w 81000"/>
                <a:gd name="connsiteY0" fmla="*/ 41014 h 81000"/>
                <a:gd name="connsiteX1" fmla="*/ 41014 w 81000"/>
                <a:gd name="connsiteY1" fmla="*/ 129 h 81000"/>
                <a:gd name="connsiteX2" fmla="*/ 129 w 81000"/>
                <a:gd name="connsiteY2" fmla="*/ 41014 h 81000"/>
                <a:gd name="connsiteX3" fmla="*/ 41014 w 81000"/>
                <a:gd name="connsiteY3" fmla="*/ 81900 h 81000"/>
                <a:gd name="connsiteX4" fmla="*/ 81900 w 81000"/>
                <a:gd name="connsiteY4" fmla="*/ 41014 h 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1000" h="81000">
                  <a:moveTo>
                    <a:pt x="81900" y="41014"/>
                  </a:moveTo>
                  <a:cubicBezTo>
                    <a:pt x="81900" y="18437"/>
                    <a:pt x="63591" y="129"/>
                    <a:pt x="41014" y="129"/>
                  </a:cubicBezTo>
                  <a:cubicBezTo>
                    <a:pt x="18437" y="129"/>
                    <a:pt x="129" y="18437"/>
                    <a:pt x="129" y="41014"/>
                  </a:cubicBezTo>
                  <a:cubicBezTo>
                    <a:pt x="129" y="63591"/>
                    <a:pt x="18437" y="81900"/>
                    <a:pt x="41014" y="81900"/>
                  </a:cubicBezTo>
                  <a:cubicBezTo>
                    <a:pt x="63591" y="81900"/>
                    <a:pt x="81900" y="63591"/>
                    <a:pt x="81900" y="41014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9" name="Freeform: Shape 588">
              <a:extLst>
                <a:ext uri="{FF2B5EF4-FFF2-40B4-BE49-F238E27FC236}">
                  <a16:creationId xmlns:a16="http://schemas.microsoft.com/office/drawing/2014/main" id="{01C76C51-511F-497C-B3D9-34AFD48AE155}"/>
                </a:ext>
              </a:extLst>
            </p:cNvPr>
            <p:cNvSpPr/>
            <p:nvPr/>
          </p:nvSpPr>
          <p:spPr>
            <a:xfrm>
              <a:off x="2195659" y="5946928"/>
              <a:ext cx="100254" cy="101257"/>
            </a:xfrm>
            <a:custGeom>
              <a:avLst/>
              <a:gdLst>
                <a:gd name="connsiteX0" fmla="*/ 46157 w 91285"/>
                <a:gd name="connsiteY0" fmla="*/ 10414 h 91285"/>
                <a:gd name="connsiteX1" fmla="*/ 10414 w 91285"/>
                <a:gd name="connsiteY1" fmla="*/ 46157 h 91285"/>
                <a:gd name="connsiteX2" fmla="*/ 46157 w 91285"/>
                <a:gd name="connsiteY2" fmla="*/ 81900 h 91285"/>
                <a:gd name="connsiteX3" fmla="*/ 81900 w 91285"/>
                <a:gd name="connsiteY3" fmla="*/ 46157 h 91285"/>
                <a:gd name="connsiteX4" fmla="*/ 46157 w 91285"/>
                <a:gd name="connsiteY4" fmla="*/ 10414 h 91285"/>
                <a:gd name="connsiteX5" fmla="*/ 46157 w 91285"/>
                <a:gd name="connsiteY5" fmla="*/ 92186 h 91285"/>
                <a:gd name="connsiteX6" fmla="*/ 129 w 91285"/>
                <a:gd name="connsiteY6" fmla="*/ 46157 h 91285"/>
                <a:gd name="connsiteX7" fmla="*/ 46157 w 91285"/>
                <a:gd name="connsiteY7" fmla="*/ 129 h 91285"/>
                <a:gd name="connsiteX8" fmla="*/ 92186 w 91285"/>
                <a:gd name="connsiteY8" fmla="*/ 46157 h 91285"/>
                <a:gd name="connsiteX9" fmla="*/ 46157 w 91285"/>
                <a:gd name="connsiteY9" fmla="*/ 92186 h 9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285" h="91285">
                  <a:moveTo>
                    <a:pt x="46157" y="10414"/>
                  </a:moveTo>
                  <a:cubicBezTo>
                    <a:pt x="26443" y="10414"/>
                    <a:pt x="10414" y="26460"/>
                    <a:pt x="10414" y="46157"/>
                  </a:cubicBezTo>
                  <a:cubicBezTo>
                    <a:pt x="10414" y="65871"/>
                    <a:pt x="26443" y="81900"/>
                    <a:pt x="46157" y="81900"/>
                  </a:cubicBezTo>
                  <a:cubicBezTo>
                    <a:pt x="65854" y="81900"/>
                    <a:pt x="81900" y="65871"/>
                    <a:pt x="81900" y="46157"/>
                  </a:cubicBezTo>
                  <a:cubicBezTo>
                    <a:pt x="81900" y="26460"/>
                    <a:pt x="65854" y="10414"/>
                    <a:pt x="46157" y="10414"/>
                  </a:cubicBezTo>
                  <a:close/>
                  <a:moveTo>
                    <a:pt x="46157" y="92186"/>
                  </a:moveTo>
                  <a:cubicBezTo>
                    <a:pt x="20769" y="92186"/>
                    <a:pt x="129" y="71546"/>
                    <a:pt x="129" y="46157"/>
                  </a:cubicBezTo>
                  <a:cubicBezTo>
                    <a:pt x="129" y="20786"/>
                    <a:pt x="20769" y="129"/>
                    <a:pt x="46157" y="129"/>
                  </a:cubicBezTo>
                  <a:cubicBezTo>
                    <a:pt x="71529" y="129"/>
                    <a:pt x="92186" y="20786"/>
                    <a:pt x="92186" y="46157"/>
                  </a:cubicBezTo>
                  <a:cubicBezTo>
                    <a:pt x="92186" y="71546"/>
                    <a:pt x="71529" y="92186"/>
                    <a:pt x="46157" y="92186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grpSp>
          <p:nvGrpSpPr>
            <p:cNvPr id="590" name="Group 589">
              <a:extLst>
                <a:ext uri="{FF2B5EF4-FFF2-40B4-BE49-F238E27FC236}">
                  <a16:creationId xmlns:a16="http://schemas.microsoft.com/office/drawing/2014/main" id="{759F02F0-DD50-4A89-BF61-51678A04A46D}"/>
                </a:ext>
              </a:extLst>
            </p:cNvPr>
            <p:cNvGrpSpPr/>
            <p:nvPr/>
          </p:nvGrpSpPr>
          <p:grpSpPr>
            <a:xfrm>
              <a:off x="2364078" y="3584935"/>
              <a:ext cx="837483" cy="2653218"/>
              <a:chOff x="2364435" y="4212827"/>
              <a:chExt cx="650542" cy="2060973"/>
            </a:xfrm>
          </p:grpSpPr>
          <p:sp>
            <p:nvSpPr>
              <p:cNvPr id="842" name="Freeform: Shape 841">
                <a:extLst>
                  <a:ext uri="{FF2B5EF4-FFF2-40B4-BE49-F238E27FC236}">
                    <a16:creationId xmlns:a16="http://schemas.microsoft.com/office/drawing/2014/main" id="{A5BAB554-BEE6-41F3-9F8E-8D408EBC1818}"/>
                  </a:ext>
                </a:extLst>
              </p:cNvPr>
              <p:cNvSpPr/>
              <p:nvPr/>
            </p:nvSpPr>
            <p:spPr>
              <a:xfrm>
                <a:off x="2887442" y="5974462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43" name="Freeform: Shape 842">
                <a:extLst>
                  <a:ext uri="{FF2B5EF4-FFF2-40B4-BE49-F238E27FC236}">
                    <a16:creationId xmlns:a16="http://schemas.microsoft.com/office/drawing/2014/main" id="{37BC3962-1AE8-49CA-986F-3F6CDF96B1CD}"/>
                  </a:ext>
                </a:extLst>
              </p:cNvPr>
              <p:cNvSpPr/>
              <p:nvPr/>
            </p:nvSpPr>
            <p:spPr>
              <a:xfrm>
                <a:off x="2887442" y="6003366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44" name="Freeform: Shape 843">
                <a:extLst>
                  <a:ext uri="{FF2B5EF4-FFF2-40B4-BE49-F238E27FC236}">
                    <a16:creationId xmlns:a16="http://schemas.microsoft.com/office/drawing/2014/main" id="{A51E80FB-B895-45DA-BF15-F7D86AD673F5}"/>
                  </a:ext>
                </a:extLst>
              </p:cNvPr>
              <p:cNvSpPr/>
              <p:nvPr/>
            </p:nvSpPr>
            <p:spPr>
              <a:xfrm>
                <a:off x="2863343" y="5974462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45" name="Freeform: Shape 844">
                <a:extLst>
                  <a:ext uri="{FF2B5EF4-FFF2-40B4-BE49-F238E27FC236}">
                    <a16:creationId xmlns:a16="http://schemas.microsoft.com/office/drawing/2014/main" id="{5B6ACEB8-D839-4AB9-88FC-84213716D8CC}"/>
                  </a:ext>
                </a:extLst>
              </p:cNvPr>
              <p:cNvSpPr/>
              <p:nvPr/>
            </p:nvSpPr>
            <p:spPr>
              <a:xfrm>
                <a:off x="2875392" y="6017816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46" name="Freeform: Shape 845">
                <a:extLst>
                  <a:ext uri="{FF2B5EF4-FFF2-40B4-BE49-F238E27FC236}">
                    <a16:creationId xmlns:a16="http://schemas.microsoft.com/office/drawing/2014/main" id="{0BE36307-9129-4B9E-AC80-58255AB4B230}"/>
                  </a:ext>
                </a:extLst>
              </p:cNvPr>
              <p:cNvSpPr/>
              <p:nvPr/>
            </p:nvSpPr>
            <p:spPr>
              <a:xfrm>
                <a:off x="2863343" y="6003366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47" name="Freeform: Shape 846">
                <a:extLst>
                  <a:ext uri="{FF2B5EF4-FFF2-40B4-BE49-F238E27FC236}">
                    <a16:creationId xmlns:a16="http://schemas.microsoft.com/office/drawing/2014/main" id="{35967DF5-7C31-4BAD-9299-2B1D57E8DCBE}"/>
                  </a:ext>
                </a:extLst>
              </p:cNvPr>
              <p:cNvSpPr/>
              <p:nvPr/>
            </p:nvSpPr>
            <p:spPr>
              <a:xfrm>
                <a:off x="2875392" y="5988913"/>
                <a:ext cx="15533" cy="8557"/>
              </a:xfrm>
              <a:custGeom>
                <a:avLst/>
                <a:gdLst>
                  <a:gd name="connsiteX0" fmla="*/ 7671 w 14142"/>
                  <a:gd name="connsiteY0" fmla="*/ 8837 h 7714"/>
                  <a:gd name="connsiteX1" fmla="*/ 15214 w 14142"/>
                  <a:gd name="connsiteY1" fmla="*/ 4483 h 7714"/>
                  <a:gd name="connsiteX2" fmla="*/ 7671 w 14142"/>
                  <a:gd name="connsiteY2" fmla="*/ 129 h 7714"/>
                  <a:gd name="connsiteX3" fmla="*/ 129 w 14142"/>
                  <a:gd name="connsiteY3" fmla="*/ 4483 h 7714"/>
                  <a:gd name="connsiteX4" fmla="*/ 7671 w 14142"/>
                  <a:gd name="connsiteY4" fmla="*/ 88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8837"/>
                    </a:move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48" name="Freeform: Shape 847">
                <a:extLst>
                  <a:ext uri="{FF2B5EF4-FFF2-40B4-BE49-F238E27FC236}">
                    <a16:creationId xmlns:a16="http://schemas.microsoft.com/office/drawing/2014/main" id="{44620D27-EA5A-4D2B-B4D7-DA1CD2433594}"/>
                  </a:ext>
                </a:extLst>
              </p:cNvPr>
              <p:cNvSpPr/>
              <p:nvPr/>
            </p:nvSpPr>
            <p:spPr>
              <a:xfrm>
                <a:off x="2863343" y="6032268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49" name="Freeform: Shape 848">
                <a:extLst>
                  <a:ext uri="{FF2B5EF4-FFF2-40B4-BE49-F238E27FC236}">
                    <a16:creationId xmlns:a16="http://schemas.microsoft.com/office/drawing/2014/main" id="{106C5EEC-2065-4882-9C5D-C102994CEB9A}"/>
                  </a:ext>
                </a:extLst>
              </p:cNvPr>
              <p:cNvSpPr/>
              <p:nvPr/>
            </p:nvSpPr>
            <p:spPr>
              <a:xfrm>
                <a:off x="2875392" y="6075623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0" name="Freeform: Shape 849">
                <a:extLst>
                  <a:ext uri="{FF2B5EF4-FFF2-40B4-BE49-F238E27FC236}">
                    <a16:creationId xmlns:a16="http://schemas.microsoft.com/office/drawing/2014/main" id="{37832B0A-CE26-4705-A897-E448B14BB3B0}"/>
                  </a:ext>
                </a:extLst>
              </p:cNvPr>
              <p:cNvSpPr/>
              <p:nvPr/>
            </p:nvSpPr>
            <p:spPr>
              <a:xfrm>
                <a:off x="2863343" y="6061172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1" name="Freeform: Shape 850">
                <a:extLst>
                  <a:ext uri="{FF2B5EF4-FFF2-40B4-BE49-F238E27FC236}">
                    <a16:creationId xmlns:a16="http://schemas.microsoft.com/office/drawing/2014/main" id="{0850A014-6B38-4516-A4B2-2653220C7110}"/>
                  </a:ext>
                </a:extLst>
              </p:cNvPr>
              <p:cNvSpPr/>
              <p:nvPr/>
            </p:nvSpPr>
            <p:spPr>
              <a:xfrm>
                <a:off x="2875392" y="6046721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2" name="Freeform: Shape 851">
                <a:extLst>
                  <a:ext uri="{FF2B5EF4-FFF2-40B4-BE49-F238E27FC236}">
                    <a16:creationId xmlns:a16="http://schemas.microsoft.com/office/drawing/2014/main" id="{BCE40990-9999-4925-B79C-CD6ACC30C4B2}"/>
                  </a:ext>
                </a:extLst>
              </p:cNvPr>
              <p:cNvSpPr/>
              <p:nvPr/>
            </p:nvSpPr>
            <p:spPr>
              <a:xfrm>
                <a:off x="2863343" y="6090075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3" name="Freeform: Shape 852">
                <a:extLst>
                  <a:ext uri="{FF2B5EF4-FFF2-40B4-BE49-F238E27FC236}">
                    <a16:creationId xmlns:a16="http://schemas.microsoft.com/office/drawing/2014/main" id="{8AC67B28-3CC1-4649-B694-F6C0CC23DAC3}"/>
                  </a:ext>
                </a:extLst>
              </p:cNvPr>
              <p:cNvSpPr/>
              <p:nvPr/>
            </p:nvSpPr>
            <p:spPr>
              <a:xfrm>
                <a:off x="2875392" y="6133430"/>
                <a:ext cx="15533" cy="8557"/>
              </a:xfrm>
              <a:custGeom>
                <a:avLst/>
                <a:gdLst>
                  <a:gd name="connsiteX0" fmla="*/ 7671 w 14142"/>
                  <a:gd name="connsiteY0" fmla="*/ 129 h 7714"/>
                  <a:gd name="connsiteX1" fmla="*/ 129 w 14142"/>
                  <a:gd name="connsiteY1" fmla="*/ 4483 h 7714"/>
                  <a:gd name="connsiteX2" fmla="*/ 7671 w 14142"/>
                  <a:gd name="connsiteY2" fmla="*/ 8837 h 7714"/>
                  <a:gd name="connsiteX3" fmla="*/ 15214 w 14142"/>
                  <a:gd name="connsiteY3" fmla="*/ 4483 h 7714"/>
                  <a:gd name="connsiteX4" fmla="*/ 7671 w 14142"/>
                  <a:gd name="connsiteY4" fmla="*/ 129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129"/>
                    </a:move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4" name="Freeform: Shape 853">
                <a:extLst>
                  <a:ext uri="{FF2B5EF4-FFF2-40B4-BE49-F238E27FC236}">
                    <a16:creationId xmlns:a16="http://schemas.microsoft.com/office/drawing/2014/main" id="{ADE65033-62B3-421A-B12D-7AEE815ADD59}"/>
                  </a:ext>
                </a:extLst>
              </p:cNvPr>
              <p:cNvSpPr/>
              <p:nvPr/>
            </p:nvSpPr>
            <p:spPr>
              <a:xfrm>
                <a:off x="2863343" y="6118978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5" name="Freeform: Shape 854">
                <a:extLst>
                  <a:ext uri="{FF2B5EF4-FFF2-40B4-BE49-F238E27FC236}">
                    <a16:creationId xmlns:a16="http://schemas.microsoft.com/office/drawing/2014/main" id="{1807E975-AB04-4E71-9B33-D7A1419CB5AC}"/>
                  </a:ext>
                </a:extLst>
              </p:cNvPr>
              <p:cNvSpPr/>
              <p:nvPr/>
            </p:nvSpPr>
            <p:spPr>
              <a:xfrm>
                <a:off x="2875392" y="6104527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6" name="Freeform: Shape 855">
                <a:extLst>
                  <a:ext uri="{FF2B5EF4-FFF2-40B4-BE49-F238E27FC236}">
                    <a16:creationId xmlns:a16="http://schemas.microsoft.com/office/drawing/2014/main" id="{36D5D356-9DB1-4B1B-BDB1-8E1BD3A61B95}"/>
                  </a:ext>
                </a:extLst>
              </p:cNvPr>
              <p:cNvSpPr/>
              <p:nvPr/>
            </p:nvSpPr>
            <p:spPr>
              <a:xfrm>
                <a:off x="2863343" y="6147882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7" name="Freeform: Shape 856">
                <a:extLst>
                  <a:ext uri="{FF2B5EF4-FFF2-40B4-BE49-F238E27FC236}">
                    <a16:creationId xmlns:a16="http://schemas.microsoft.com/office/drawing/2014/main" id="{6EE525E1-D052-4490-AA5C-0F9549EFFD0F}"/>
                  </a:ext>
                </a:extLst>
              </p:cNvPr>
              <p:cNvSpPr/>
              <p:nvPr/>
            </p:nvSpPr>
            <p:spPr>
              <a:xfrm>
                <a:off x="2839245" y="5974462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8" name="Freeform: Shape 857">
                <a:extLst>
                  <a:ext uri="{FF2B5EF4-FFF2-40B4-BE49-F238E27FC236}">
                    <a16:creationId xmlns:a16="http://schemas.microsoft.com/office/drawing/2014/main" id="{5D698D33-3A24-4076-B9E0-F0C549D5077F}"/>
                  </a:ext>
                </a:extLst>
              </p:cNvPr>
              <p:cNvSpPr/>
              <p:nvPr/>
            </p:nvSpPr>
            <p:spPr>
              <a:xfrm>
                <a:off x="2858560" y="5969080"/>
                <a:ext cx="1413" cy="1427"/>
              </a:xfrm>
              <a:custGeom>
                <a:avLst/>
                <a:gdLst>
                  <a:gd name="connsiteX0" fmla="*/ 1980 w 1285"/>
                  <a:gd name="connsiteY0" fmla="*/ 129 h 0"/>
                  <a:gd name="connsiteX1" fmla="*/ 129 w 1285"/>
                  <a:gd name="connsiteY1" fmla="*/ 129 h 0"/>
                  <a:gd name="connsiteX2" fmla="*/ 1054 w 1285"/>
                  <a:gd name="connsiteY2" fmla="*/ 660 h 0"/>
                  <a:gd name="connsiteX3" fmla="*/ 1980 w 1285"/>
                  <a:gd name="connsiteY3" fmla="*/ 129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">
                    <a:moveTo>
                      <a:pt x="1980" y="129"/>
                    </a:moveTo>
                    <a:cubicBezTo>
                      <a:pt x="1363" y="129"/>
                      <a:pt x="746" y="146"/>
                      <a:pt x="129" y="129"/>
                    </a:cubicBezTo>
                    <a:lnTo>
                      <a:pt x="1054" y="660"/>
                    </a:lnTo>
                    <a:lnTo>
                      <a:pt x="1980" y="12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59" name="Freeform: Shape 858">
                <a:extLst>
                  <a:ext uri="{FF2B5EF4-FFF2-40B4-BE49-F238E27FC236}">
                    <a16:creationId xmlns:a16="http://schemas.microsoft.com/office/drawing/2014/main" id="{280BF552-DA0D-44BD-8C27-18B031C06241}"/>
                  </a:ext>
                </a:extLst>
              </p:cNvPr>
              <p:cNvSpPr/>
              <p:nvPr/>
            </p:nvSpPr>
            <p:spPr>
              <a:xfrm>
                <a:off x="2839245" y="6003366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60" name="Freeform: Shape 859">
                <a:extLst>
                  <a:ext uri="{FF2B5EF4-FFF2-40B4-BE49-F238E27FC236}">
                    <a16:creationId xmlns:a16="http://schemas.microsoft.com/office/drawing/2014/main" id="{142A5C59-9947-4B22-8156-932F8CC1349A}"/>
                  </a:ext>
                </a:extLst>
              </p:cNvPr>
              <p:cNvSpPr/>
              <p:nvPr/>
            </p:nvSpPr>
            <p:spPr>
              <a:xfrm>
                <a:off x="2851294" y="5988913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61" name="Freeform: Shape 860">
                <a:extLst>
                  <a:ext uri="{FF2B5EF4-FFF2-40B4-BE49-F238E27FC236}">
                    <a16:creationId xmlns:a16="http://schemas.microsoft.com/office/drawing/2014/main" id="{8EA8BFA6-EAEA-4EDA-A242-C2DC79A6D6EB}"/>
                  </a:ext>
                </a:extLst>
              </p:cNvPr>
              <p:cNvSpPr/>
              <p:nvPr/>
            </p:nvSpPr>
            <p:spPr>
              <a:xfrm>
                <a:off x="2839245" y="6032268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62" name="Freeform: Shape 861">
                <a:extLst>
                  <a:ext uri="{FF2B5EF4-FFF2-40B4-BE49-F238E27FC236}">
                    <a16:creationId xmlns:a16="http://schemas.microsoft.com/office/drawing/2014/main" id="{B700A64E-9701-4864-9BE2-24753C09849E}"/>
                  </a:ext>
                </a:extLst>
              </p:cNvPr>
              <p:cNvSpPr/>
              <p:nvPr/>
            </p:nvSpPr>
            <p:spPr>
              <a:xfrm>
                <a:off x="2851294" y="6017816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63" name="Freeform: Shape 862">
                <a:extLst>
                  <a:ext uri="{FF2B5EF4-FFF2-40B4-BE49-F238E27FC236}">
                    <a16:creationId xmlns:a16="http://schemas.microsoft.com/office/drawing/2014/main" id="{C17DC5DA-FF42-4181-A9D8-068F9588AFD7}"/>
                  </a:ext>
                </a:extLst>
              </p:cNvPr>
              <p:cNvSpPr/>
              <p:nvPr/>
            </p:nvSpPr>
            <p:spPr>
              <a:xfrm>
                <a:off x="2851294" y="6075623"/>
                <a:ext cx="15533" cy="8557"/>
              </a:xfrm>
              <a:custGeom>
                <a:avLst/>
                <a:gdLst>
                  <a:gd name="connsiteX0" fmla="*/ 7671 w 14142"/>
                  <a:gd name="connsiteY0" fmla="*/ 129 h 7714"/>
                  <a:gd name="connsiteX1" fmla="*/ 129 w 14142"/>
                  <a:gd name="connsiteY1" fmla="*/ 4483 h 7714"/>
                  <a:gd name="connsiteX2" fmla="*/ 7671 w 14142"/>
                  <a:gd name="connsiteY2" fmla="*/ 8837 h 7714"/>
                  <a:gd name="connsiteX3" fmla="*/ 15214 w 14142"/>
                  <a:gd name="connsiteY3" fmla="*/ 4483 h 7714"/>
                  <a:gd name="connsiteX4" fmla="*/ 7671 w 14142"/>
                  <a:gd name="connsiteY4" fmla="*/ 129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129"/>
                    </a:move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64" name="Freeform: Shape 863">
                <a:extLst>
                  <a:ext uri="{FF2B5EF4-FFF2-40B4-BE49-F238E27FC236}">
                    <a16:creationId xmlns:a16="http://schemas.microsoft.com/office/drawing/2014/main" id="{79C207E6-8380-47E2-93CF-BBD5375B605A}"/>
                  </a:ext>
                </a:extLst>
              </p:cNvPr>
              <p:cNvSpPr/>
              <p:nvPr/>
            </p:nvSpPr>
            <p:spPr>
              <a:xfrm>
                <a:off x="2839245" y="6061172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65" name="Freeform: Shape 864">
                <a:extLst>
                  <a:ext uri="{FF2B5EF4-FFF2-40B4-BE49-F238E27FC236}">
                    <a16:creationId xmlns:a16="http://schemas.microsoft.com/office/drawing/2014/main" id="{9B3C0494-4086-45C1-887D-C203E8E1B98A}"/>
                  </a:ext>
                </a:extLst>
              </p:cNvPr>
              <p:cNvSpPr/>
              <p:nvPr/>
            </p:nvSpPr>
            <p:spPr>
              <a:xfrm>
                <a:off x="2851294" y="6046721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66" name="Freeform: Shape 865">
                <a:extLst>
                  <a:ext uri="{FF2B5EF4-FFF2-40B4-BE49-F238E27FC236}">
                    <a16:creationId xmlns:a16="http://schemas.microsoft.com/office/drawing/2014/main" id="{D94AA292-202C-4F5D-8C92-0E8F2442994F}"/>
                  </a:ext>
                </a:extLst>
              </p:cNvPr>
              <p:cNvSpPr/>
              <p:nvPr/>
            </p:nvSpPr>
            <p:spPr>
              <a:xfrm>
                <a:off x="2839245" y="6090075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67" name="Freeform: Shape 866">
                <a:extLst>
                  <a:ext uri="{FF2B5EF4-FFF2-40B4-BE49-F238E27FC236}">
                    <a16:creationId xmlns:a16="http://schemas.microsoft.com/office/drawing/2014/main" id="{238C7B8F-D870-4619-A200-93D237D40A2D}"/>
                  </a:ext>
                </a:extLst>
              </p:cNvPr>
              <p:cNvSpPr/>
              <p:nvPr/>
            </p:nvSpPr>
            <p:spPr>
              <a:xfrm>
                <a:off x="2851294" y="6133430"/>
                <a:ext cx="15533" cy="8557"/>
              </a:xfrm>
              <a:custGeom>
                <a:avLst/>
                <a:gdLst>
                  <a:gd name="connsiteX0" fmla="*/ 7671 w 14142"/>
                  <a:gd name="connsiteY0" fmla="*/ 129 h 7714"/>
                  <a:gd name="connsiteX1" fmla="*/ 129 w 14142"/>
                  <a:gd name="connsiteY1" fmla="*/ 4483 h 7714"/>
                  <a:gd name="connsiteX2" fmla="*/ 7671 w 14142"/>
                  <a:gd name="connsiteY2" fmla="*/ 8837 h 7714"/>
                  <a:gd name="connsiteX3" fmla="*/ 15214 w 14142"/>
                  <a:gd name="connsiteY3" fmla="*/ 4483 h 7714"/>
                  <a:gd name="connsiteX4" fmla="*/ 7671 w 14142"/>
                  <a:gd name="connsiteY4" fmla="*/ 129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129"/>
                    </a:move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68" name="Freeform: Shape 867">
                <a:extLst>
                  <a:ext uri="{FF2B5EF4-FFF2-40B4-BE49-F238E27FC236}">
                    <a16:creationId xmlns:a16="http://schemas.microsoft.com/office/drawing/2014/main" id="{35D0BCB6-D858-4E96-A428-91BB7534CA9A}"/>
                  </a:ext>
                </a:extLst>
              </p:cNvPr>
              <p:cNvSpPr/>
              <p:nvPr/>
            </p:nvSpPr>
            <p:spPr>
              <a:xfrm>
                <a:off x="2839245" y="6118978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69" name="Freeform: Shape 868">
                <a:extLst>
                  <a:ext uri="{FF2B5EF4-FFF2-40B4-BE49-F238E27FC236}">
                    <a16:creationId xmlns:a16="http://schemas.microsoft.com/office/drawing/2014/main" id="{B64161A0-C8D2-470D-BA19-0C152B4C0CFC}"/>
                  </a:ext>
                </a:extLst>
              </p:cNvPr>
              <p:cNvSpPr/>
              <p:nvPr/>
            </p:nvSpPr>
            <p:spPr>
              <a:xfrm>
                <a:off x="2851294" y="6104527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70" name="Freeform: Shape 869">
                <a:extLst>
                  <a:ext uri="{FF2B5EF4-FFF2-40B4-BE49-F238E27FC236}">
                    <a16:creationId xmlns:a16="http://schemas.microsoft.com/office/drawing/2014/main" id="{0580CA09-9728-4A24-B9EF-5D521CE2245D}"/>
                  </a:ext>
                </a:extLst>
              </p:cNvPr>
              <p:cNvSpPr/>
              <p:nvPr/>
            </p:nvSpPr>
            <p:spPr>
              <a:xfrm>
                <a:off x="2839245" y="6147882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71" name="Freeform: Shape 870">
                <a:extLst>
                  <a:ext uri="{FF2B5EF4-FFF2-40B4-BE49-F238E27FC236}">
                    <a16:creationId xmlns:a16="http://schemas.microsoft.com/office/drawing/2014/main" id="{0F96BFAA-7E2B-425F-9521-417C8960A544}"/>
                  </a:ext>
                </a:extLst>
              </p:cNvPr>
              <p:cNvSpPr/>
              <p:nvPr/>
            </p:nvSpPr>
            <p:spPr>
              <a:xfrm>
                <a:off x="2851294" y="6191236"/>
                <a:ext cx="15533" cy="8557"/>
              </a:xfrm>
              <a:custGeom>
                <a:avLst/>
                <a:gdLst>
                  <a:gd name="connsiteX0" fmla="*/ 7671 w 14142"/>
                  <a:gd name="connsiteY0" fmla="*/ 129 h 7714"/>
                  <a:gd name="connsiteX1" fmla="*/ 129 w 14142"/>
                  <a:gd name="connsiteY1" fmla="*/ 4483 h 7714"/>
                  <a:gd name="connsiteX2" fmla="*/ 7671 w 14142"/>
                  <a:gd name="connsiteY2" fmla="*/ 8837 h 7714"/>
                  <a:gd name="connsiteX3" fmla="*/ 15214 w 14142"/>
                  <a:gd name="connsiteY3" fmla="*/ 4483 h 7714"/>
                  <a:gd name="connsiteX4" fmla="*/ 7671 w 14142"/>
                  <a:gd name="connsiteY4" fmla="*/ 129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129"/>
                    </a:move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72" name="Freeform: Shape 871">
                <a:extLst>
                  <a:ext uri="{FF2B5EF4-FFF2-40B4-BE49-F238E27FC236}">
                    <a16:creationId xmlns:a16="http://schemas.microsoft.com/office/drawing/2014/main" id="{5EAB9900-63CF-4B89-9165-EF908B43B7FB}"/>
                  </a:ext>
                </a:extLst>
              </p:cNvPr>
              <p:cNvSpPr/>
              <p:nvPr/>
            </p:nvSpPr>
            <p:spPr>
              <a:xfrm>
                <a:off x="2839245" y="6176786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73" name="Freeform: Shape 872">
                <a:extLst>
                  <a:ext uri="{FF2B5EF4-FFF2-40B4-BE49-F238E27FC236}">
                    <a16:creationId xmlns:a16="http://schemas.microsoft.com/office/drawing/2014/main" id="{3CDE69DA-5BCE-433B-B389-50531B13CAE1}"/>
                  </a:ext>
                </a:extLst>
              </p:cNvPr>
              <p:cNvSpPr/>
              <p:nvPr/>
            </p:nvSpPr>
            <p:spPr>
              <a:xfrm>
                <a:off x="2851294" y="6162333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74" name="Freeform: Shape 873">
                <a:extLst>
                  <a:ext uri="{FF2B5EF4-FFF2-40B4-BE49-F238E27FC236}">
                    <a16:creationId xmlns:a16="http://schemas.microsoft.com/office/drawing/2014/main" id="{0DA6C8BC-D4D8-48B6-B3F4-6F9CEAAE2527}"/>
                  </a:ext>
                </a:extLst>
              </p:cNvPr>
              <p:cNvSpPr/>
              <p:nvPr/>
            </p:nvSpPr>
            <p:spPr>
              <a:xfrm>
                <a:off x="2839245" y="6205688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75" name="Freeform: Shape 874">
                <a:extLst>
                  <a:ext uri="{FF2B5EF4-FFF2-40B4-BE49-F238E27FC236}">
                    <a16:creationId xmlns:a16="http://schemas.microsoft.com/office/drawing/2014/main" id="{C8B16AB1-7330-4005-B4D2-8C6716417AFC}"/>
                  </a:ext>
                </a:extLst>
              </p:cNvPr>
              <p:cNvSpPr/>
              <p:nvPr/>
            </p:nvSpPr>
            <p:spPr>
              <a:xfrm>
                <a:off x="2815146" y="5974462"/>
                <a:ext cx="15533" cy="8557"/>
              </a:xfrm>
              <a:custGeom>
                <a:avLst/>
                <a:gdLst>
                  <a:gd name="connsiteX0" fmla="*/ 7671 w 14142"/>
                  <a:gd name="connsiteY0" fmla="*/ 8837 h 7714"/>
                  <a:gd name="connsiteX1" fmla="*/ 15214 w 14142"/>
                  <a:gd name="connsiteY1" fmla="*/ 4483 h 7714"/>
                  <a:gd name="connsiteX2" fmla="*/ 7671 w 14142"/>
                  <a:gd name="connsiteY2" fmla="*/ 129 h 7714"/>
                  <a:gd name="connsiteX3" fmla="*/ 129 w 14142"/>
                  <a:gd name="connsiteY3" fmla="*/ 4483 h 7714"/>
                  <a:gd name="connsiteX4" fmla="*/ 7671 w 14142"/>
                  <a:gd name="connsiteY4" fmla="*/ 88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8837"/>
                    </a:move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76" name="Freeform: Shape 875">
                <a:extLst>
                  <a:ext uri="{FF2B5EF4-FFF2-40B4-BE49-F238E27FC236}">
                    <a16:creationId xmlns:a16="http://schemas.microsoft.com/office/drawing/2014/main" id="{97FFEBED-AE67-4162-92C1-BD80EDF2A7A9}"/>
                  </a:ext>
                </a:extLst>
              </p:cNvPr>
              <p:cNvSpPr/>
              <p:nvPr/>
            </p:nvSpPr>
            <p:spPr>
              <a:xfrm>
                <a:off x="2830547" y="5966799"/>
                <a:ext cx="8472" cy="2852"/>
              </a:xfrm>
              <a:custGeom>
                <a:avLst/>
                <a:gdLst>
                  <a:gd name="connsiteX0" fmla="*/ 7791 w 7714"/>
                  <a:gd name="connsiteY0" fmla="*/ 883 h 2571"/>
                  <a:gd name="connsiteX1" fmla="*/ 129 w 7714"/>
                  <a:gd name="connsiteY1" fmla="*/ 129 h 2571"/>
                  <a:gd name="connsiteX2" fmla="*/ 4620 w 7714"/>
                  <a:gd name="connsiteY2" fmla="*/ 2717 h 2571"/>
                  <a:gd name="connsiteX3" fmla="*/ 7791 w 7714"/>
                  <a:gd name="connsiteY3" fmla="*/ 883 h 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4" h="2571">
                    <a:moveTo>
                      <a:pt x="7791" y="883"/>
                    </a:moveTo>
                    <a:cubicBezTo>
                      <a:pt x="5237" y="609"/>
                      <a:pt x="2683" y="351"/>
                      <a:pt x="129" y="129"/>
                    </a:cubicBezTo>
                    <a:lnTo>
                      <a:pt x="4620" y="2717"/>
                    </a:lnTo>
                    <a:lnTo>
                      <a:pt x="7791" y="8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77" name="Freeform: Shape 876">
                <a:extLst>
                  <a:ext uri="{FF2B5EF4-FFF2-40B4-BE49-F238E27FC236}">
                    <a16:creationId xmlns:a16="http://schemas.microsoft.com/office/drawing/2014/main" id="{6001F15E-0464-41E5-A65E-1CB24D0EE7AE}"/>
                  </a:ext>
                </a:extLst>
              </p:cNvPr>
              <p:cNvSpPr/>
              <p:nvPr/>
            </p:nvSpPr>
            <p:spPr>
              <a:xfrm>
                <a:off x="2815146" y="6003366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78" name="Freeform: Shape 877">
                <a:extLst>
                  <a:ext uri="{FF2B5EF4-FFF2-40B4-BE49-F238E27FC236}">
                    <a16:creationId xmlns:a16="http://schemas.microsoft.com/office/drawing/2014/main" id="{2359641C-666E-4BEF-BC0E-19D4FB733AA0}"/>
                  </a:ext>
                </a:extLst>
              </p:cNvPr>
              <p:cNvSpPr/>
              <p:nvPr/>
            </p:nvSpPr>
            <p:spPr>
              <a:xfrm>
                <a:off x="2827195" y="5988913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79" name="Freeform: Shape 878">
                <a:extLst>
                  <a:ext uri="{FF2B5EF4-FFF2-40B4-BE49-F238E27FC236}">
                    <a16:creationId xmlns:a16="http://schemas.microsoft.com/office/drawing/2014/main" id="{76C88A2C-6DB0-4FD8-82E3-73AD1B9CA4CD}"/>
                  </a:ext>
                </a:extLst>
              </p:cNvPr>
              <p:cNvSpPr/>
              <p:nvPr/>
            </p:nvSpPr>
            <p:spPr>
              <a:xfrm>
                <a:off x="2815146" y="6032268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80" name="Freeform: Shape 879">
                <a:extLst>
                  <a:ext uri="{FF2B5EF4-FFF2-40B4-BE49-F238E27FC236}">
                    <a16:creationId xmlns:a16="http://schemas.microsoft.com/office/drawing/2014/main" id="{24E393E2-56A0-4A69-8196-C5D900A92E7C}"/>
                  </a:ext>
                </a:extLst>
              </p:cNvPr>
              <p:cNvSpPr/>
              <p:nvPr/>
            </p:nvSpPr>
            <p:spPr>
              <a:xfrm>
                <a:off x="2827195" y="6017816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81" name="Freeform: Shape 880">
                <a:extLst>
                  <a:ext uri="{FF2B5EF4-FFF2-40B4-BE49-F238E27FC236}">
                    <a16:creationId xmlns:a16="http://schemas.microsoft.com/office/drawing/2014/main" id="{151AC5E2-BB80-4622-B854-AE128C1AC3BD}"/>
                  </a:ext>
                </a:extLst>
              </p:cNvPr>
              <p:cNvSpPr/>
              <p:nvPr/>
            </p:nvSpPr>
            <p:spPr>
              <a:xfrm>
                <a:off x="2815146" y="6061172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82" name="Freeform: Shape 881">
                <a:extLst>
                  <a:ext uri="{FF2B5EF4-FFF2-40B4-BE49-F238E27FC236}">
                    <a16:creationId xmlns:a16="http://schemas.microsoft.com/office/drawing/2014/main" id="{DDBD620F-A370-4DFA-95D3-EE4ABA550CBC}"/>
                  </a:ext>
                </a:extLst>
              </p:cNvPr>
              <p:cNvSpPr/>
              <p:nvPr/>
            </p:nvSpPr>
            <p:spPr>
              <a:xfrm>
                <a:off x="2827195" y="6046721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83" name="Freeform: Shape 882">
                <a:extLst>
                  <a:ext uri="{FF2B5EF4-FFF2-40B4-BE49-F238E27FC236}">
                    <a16:creationId xmlns:a16="http://schemas.microsoft.com/office/drawing/2014/main" id="{3154BAE0-F82F-4BB9-A96B-24A35462C212}"/>
                  </a:ext>
                </a:extLst>
              </p:cNvPr>
              <p:cNvSpPr/>
              <p:nvPr/>
            </p:nvSpPr>
            <p:spPr>
              <a:xfrm>
                <a:off x="2815146" y="6090075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84" name="Freeform: Shape 883">
                <a:extLst>
                  <a:ext uri="{FF2B5EF4-FFF2-40B4-BE49-F238E27FC236}">
                    <a16:creationId xmlns:a16="http://schemas.microsoft.com/office/drawing/2014/main" id="{064AAC62-A882-4AC2-A825-9BE4CCC70FD9}"/>
                  </a:ext>
                </a:extLst>
              </p:cNvPr>
              <p:cNvSpPr/>
              <p:nvPr/>
            </p:nvSpPr>
            <p:spPr>
              <a:xfrm>
                <a:off x="2827195" y="6075623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85" name="Freeform: Shape 884">
                <a:extLst>
                  <a:ext uri="{FF2B5EF4-FFF2-40B4-BE49-F238E27FC236}">
                    <a16:creationId xmlns:a16="http://schemas.microsoft.com/office/drawing/2014/main" id="{8CE1943A-2307-4016-84D8-A58C57DEC82A}"/>
                  </a:ext>
                </a:extLst>
              </p:cNvPr>
              <p:cNvSpPr/>
              <p:nvPr/>
            </p:nvSpPr>
            <p:spPr>
              <a:xfrm>
                <a:off x="2815146" y="6118978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86" name="Freeform: Shape 885">
                <a:extLst>
                  <a:ext uri="{FF2B5EF4-FFF2-40B4-BE49-F238E27FC236}">
                    <a16:creationId xmlns:a16="http://schemas.microsoft.com/office/drawing/2014/main" id="{A789CEDB-8452-438C-945C-75128257A3FD}"/>
                  </a:ext>
                </a:extLst>
              </p:cNvPr>
              <p:cNvSpPr/>
              <p:nvPr/>
            </p:nvSpPr>
            <p:spPr>
              <a:xfrm>
                <a:off x="2827195" y="6104527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87" name="Freeform: Shape 886">
                <a:extLst>
                  <a:ext uri="{FF2B5EF4-FFF2-40B4-BE49-F238E27FC236}">
                    <a16:creationId xmlns:a16="http://schemas.microsoft.com/office/drawing/2014/main" id="{07864696-A59E-450C-B573-D6B4C3375874}"/>
                  </a:ext>
                </a:extLst>
              </p:cNvPr>
              <p:cNvSpPr/>
              <p:nvPr/>
            </p:nvSpPr>
            <p:spPr>
              <a:xfrm>
                <a:off x="2815146" y="6147882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88" name="Freeform: Shape 887">
                <a:extLst>
                  <a:ext uri="{FF2B5EF4-FFF2-40B4-BE49-F238E27FC236}">
                    <a16:creationId xmlns:a16="http://schemas.microsoft.com/office/drawing/2014/main" id="{B889C125-2287-48D5-9774-B9F887DC0EF8}"/>
                  </a:ext>
                </a:extLst>
              </p:cNvPr>
              <p:cNvSpPr/>
              <p:nvPr/>
            </p:nvSpPr>
            <p:spPr>
              <a:xfrm>
                <a:off x="2827195" y="6133430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89" name="Freeform: Shape 888">
                <a:extLst>
                  <a:ext uri="{FF2B5EF4-FFF2-40B4-BE49-F238E27FC236}">
                    <a16:creationId xmlns:a16="http://schemas.microsoft.com/office/drawing/2014/main" id="{9D6D6500-0EAC-48E0-9145-C1EBA46C34DB}"/>
                  </a:ext>
                </a:extLst>
              </p:cNvPr>
              <p:cNvSpPr/>
              <p:nvPr/>
            </p:nvSpPr>
            <p:spPr>
              <a:xfrm>
                <a:off x="2815146" y="6176786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90" name="Freeform: Shape 889">
                <a:extLst>
                  <a:ext uri="{FF2B5EF4-FFF2-40B4-BE49-F238E27FC236}">
                    <a16:creationId xmlns:a16="http://schemas.microsoft.com/office/drawing/2014/main" id="{DB00CF45-9EAC-4536-A103-9117373826E4}"/>
                  </a:ext>
                </a:extLst>
              </p:cNvPr>
              <p:cNvSpPr/>
              <p:nvPr/>
            </p:nvSpPr>
            <p:spPr>
              <a:xfrm>
                <a:off x="2827195" y="6162333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91" name="Freeform: Shape 890">
                <a:extLst>
                  <a:ext uri="{FF2B5EF4-FFF2-40B4-BE49-F238E27FC236}">
                    <a16:creationId xmlns:a16="http://schemas.microsoft.com/office/drawing/2014/main" id="{C8305B59-7E0C-4795-A963-197D31C445D9}"/>
                  </a:ext>
                </a:extLst>
              </p:cNvPr>
              <p:cNvSpPr/>
              <p:nvPr/>
            </p:nvSpPr>
            <p:spPr>
              <a:xfrm>
                <a:off x="2815146" y="6205688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92" name="Freeform: Shape 891">
                <a:extLst>
                  <a:ext uri="{FF2B5EF4-FFF2-40B4-BE49-F238E27FC236}">
                    <a16:creationId xmlns:a16="http://schemas.microsoft.com/office/drawing/2014/main" id="{5F3839A1-8B41-4497-ABE9-49C5AC2248D9}"/>
                  </a:ext>
                </a:extLst>
              </p:cNvPr>
              <p:cNvSpPr/>
              <p:nvPr/>
            </p:nvSpPr>
            <p:spPr>
              <a:xfrm>
                <a:off x="2827195" y="6191236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93" name="Freeform: Shape 892">
                <a:extLst>
                  <a:ext uri="{FF2B5EF4-FFF2-40B4-BE49-F238E27FC236}">
                    <a16:creationId xmlns:a16="http://schemas.microsoft.com/office/drawing/2014/main" id="{A3641205-C0BE-4774-BB0F-6E4FAABF6DD5}"/>
                  </a:ext>
                </a:extLst>
              </p:cNvPr>
              <p:cNvSpPr/>
              <p:nvPr/>
            </p:nvSpPr>
            <p:spPr>
              <a:xfrm>
                <a:off x="2805468" y="5966152"/>
                <a:ext cx="11297" cy="2852"/>
              </a:xfrm>
              <a:custGeom>
                <a:avLst/>
                <a:gdLst>
                  <a:gd name="connsiteX0" fmla="*/ 11014 w 10285"/>
                  <a:gd name="connsiteY0" fmla="*/ 129 h 2571"/>
                  <a:gd name="connsiteX1" fmla="*/ 129 w 10285"/>
                  <a:gd name="connsiteY1" fmla="*/ 197 h 2571"/>
                  <a:gd name="connsiteX2" fmla="*/ 5511 w 10285"/>
                  <a:gd name="connsiteY2" fmla="*/ 3300 h 2571"/>
                  <a:gd name="connsiteX3" fmla="*/ 11014 w 10285"/>
                  <a:gd name="connsiteY3" fmla="*/ 129 h 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285" h="2571">
                    <a:moveTo>
                      <a:pt x="11014" y="129"/>
                    </a:moveTo>
                    <a:cubicBezTo>
                      <a:pt x="7380" y="146"/>
                      <a:pt x="3763" y="163"/>
                      <a:pt x="129" y="197"/>
                    </a:cubicBezTo>
                    <a:lnTo>
                      <a:pt x="5511" y="3300"/>
                    </a:lnTo>
                    <a:lnTo>
                      <a:pt x="11014" y="12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94" name="Freeform: Shape 893">
                <a:extLst>
                  <a:ext uri="{FF2B5EF4-FFF2-40B4-BE49-F238E27FC236}">
                    <a16:creationId xmlns:a16="http://schemas.microsoft.com/office/drawing/2014/main" id="{88C8BB17-326B-4031-A738-AD52ECA0F443}"/>
                  </a:ext>
                </a:extLst>
              </p:cNvPr>
              <p:cNvSpPr/>
              <p:nvPr/>
            </p:nvSpPr>
            <p:spPr>
              <a:xfrm>
                <a:off x="2803097" y="5988913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95" name="Freeform: Shape 894">
                <a:extLst>
                  <a:ext uri="{FF2B5EF4-FFF2-40B4-BE49-F238E27FC236}">
                    <a16:creationId xmlns:a16="http://schemas.microsoft.com/office/drawing/2014/main" id="{649336C8-A45B-4DA6-8D9E-15F4B960AB02}"/>
                  </a:ext>
                </a:extLst>
              </p:cNvPr>
              <p:cNvSpPr/>
              <p:nvPr/>
            </p:nvSpPr>
            <p:spPr>
              <a:xfrm>
                <a:off x="2803097" y="6017816"/>
                <a:ext cx="15533" cy="8557"/>
              </a:xfrm>
              <a:custGeom>
                <a:avLst/>
                <a:gdLst>
                  <a:gd name="connsiteX0" fmla="*/ 7671 w 14142"/>
                  <a:gd name="connsiteY0" fmla="*/ 8837 h 7714"/>
                  <a:gd name="connsiteX1" fmla="*/ 15214 w 14142"/>
                  <a:gd name="connsiteY1" fmla="*/ 4483 h 7714"/>
                  <a:gd name="connsiteX2" fmla="*/ 7671 w 14142"/>
                  <a:gd name="connsiteY2" fmla="*/ 129 h 7714"/>
                  <a:gd name="connsiteX3" fmla="*/ 129 w 14142"/>
                  <a:gd name="connsiteY3" fmla="*/ 4483 h 7714"/>
                  <a:gd name="connsiteX4" fmla="*/ 7671 w 14142"/>
                  <a:gd name="connsiteY4" fmla="*/ 88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8837"/>
                    </a:move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96" name="Freeform: Shape 895">
                <a:extLst>
                  <a:ext uri="{FF2B5EF4-FFF2-40B4-BE49-F238E27FC236}">
                    <a16:creationId xmlns:a16="http://schemas.microsoft.com/office/drawing/2014/main" id="{D802A291-7974-42E5-A99C-BC1741DB94D4}"/>
                  </a:ext>
                </a:extLst>
              </p:cNvPr>
              <p:cNvSpPr/>
              <p:nvPr/>
            </p:nvSpPr>
            <p:spPr>
              <a:xfrm>
                <a:off x="2803097" y="6046721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97" name="Freeform: Shape 896">
                <a:extLst>
                  <a:ext uri="{FF2B5EF4-FFF2-40B4-BE49-F238E27FC236}">
                    <a16:creationId xmlns:a16="http://schemas.microsoft.com/office/drawing/2014/main" id="{E6A69ECB-044E-4F1A-BBD8-18D0EEE1DAB1}"/>
                  </a:ext>
                </a:extLst>
              </p:cNvPr>
              <p:cNvSpPr/>
              <p:nvPr/>
            </p:nvSpPr>
            <p:spPr>
              <a:xfrm>
                <a:off x="2803097" y="6075623"/>
                <a:ext cx="15533" cy="8557"/>
              </a:xfrm>
              <a:custGeom>
                <a:avLst/>
                <a:gdLst>
                  <a:gd name="connsiteX0" fmla="*/ 7671 w 14142"/>
                  <a:gd name="connsiteY0" fmla="*/ 8837 h 7714"/>
                  <a:gd name="connsiteX1" fmla="*/ 15214 w 14142"/>
                  <a:gd name="connsiteY1" fmla="*/ 4483 h 7714"/>
                  <a:gd name="connsiteX2" fmla="*/ 7671 w 14142"/>
                  <a:gd name="connsiteY2" fmla="*/ 129 h 7714"/>
                  <a:gd name="connsiteX3" fmla="*/ 129 w 14142"/>
                  <a:gd name="connsiteY3" fmla="*/ 4483 h 7714"/>
                  <a:gd name="connsiteX4" fmla="*/ 7671 w 14142"/>
                  <a:gd name="connsiteY4" fmla="*/ 88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8837"/>
                    </a:move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98" name="Freeform: Shape 897">
                <a:extLst>
                  <a:ext uri="{FF2B5EF4-FFF2-40B4-BE49-F238E27FC236}">
                    <a16:creationId xmlns:a16="http://schemas.microsoft.com/office/drawing/2014/main" id="{6B5B2CF9-AF9E-4908-BEAF-E66881FF446F}"/>
                  </a:ext>
                </a:extLst>
              </p:cNvPr>
              <p:cNvSpPr/>
              <p:nvPr/>
            </p:nvSpPr>
            <p:spPr>
              <a:xfrm>
                <a:off x="2803097" y="6104527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99" name="Freeform: Shape 898">
                <a:extLst>
                  <a:ext uri="{FF2B5EF4-FFF2-40B4-BE49-F238E27FC236}">
                    <a16:creationId xmlns:a16="http://schemas.microsoft.com/office/drawing/2014/main" id="{212A25C9-2C44-41FD-BC06-4FB2B763E59A}"/>
                  </a:ext>
                </a:extLst>
              </p:cNvPr>
              <p:cNvSpPr/>
              <p:nvPr/>
            </p:nvSpPr>
            <p:spPr>
              <a:xfrm>
                <a:off x="2803097" y="6133430"/>
                <a:ext cx="15533" cy="8557"/>
              </a:xfrm>
              <a:custGeom>
                <a:avLst/>
                <a:gdLst>
                  <a:gd name="connsiteX0" fmla="*/ 7671 w 14142"/>
                  <a:gd name="connsiteY0" fmla="*/ 8837 h 7714"/>
                  <a:gd name="connsiteX1" fmla="*/ 15214 w 14142"/>
                  <a:gd name="connsiteY1" fmla="*/ 4483 h 7714"/>
                  <a:gd name="connsiteX2" fmla="*/ 7671 w 14142"/>
                  <a:gd name="connsiteY2" fmla="*/ 129 h 7714"/>
                  <a:gd name="connsiteX3" fmla="*/ 129 w 14142"/>
                  <a:gd name="connsiteY3" fmla="*/ 4483 h 7714"/>
                  <a:gd name="connsiteX4" fmla="*/ 7671 w 14142"/>
                  <a:gd name="connsiteY4" fmla="*/ 88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8837"/>
                    </a:move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0" name="Freeform: Shape 899">
                <a:extLst>
                  <a:ext uri="{FF2B5EF4-FFF2-40B4-BE49-F238E27FC236}">
                    <a16:creationId xmlns:a16="http://schemas.microsoft.com/office/drawing/2014/main" id="{39A8B5C7-E20F-4992-8117-EC459A01BEB6}"/>
                  </a:ext>
                </a:extLst>
              </p:cNvPr>
              <p:cNvSpPr/>
              <p:nvPr/>
            </p:nvSpPr>
            <p:spPr>
              <a:xfrm>
                <a:off x="2803097" y="6191236"/>
                <a:ext cx="15533" cy="8557"/>
              </a:xfrm>
              <a:custGeom>
                <a:avLst/>
                <a:gdLst>
                  <a:gd name="connsiteX0" fmla="*/ 7671 w 14142"/>
                  <a:gd name="connsiteY0" fmla="*/ 129 h 7714"/>
                  <a:gd name="connsiteX1" fmla="*/ 129 w 14142"/>
                  <a:gd name="connsiteY1" fmla="*/ 4483 h 7714"/>
                  <a:gd name="connsiteX2" fmla="*/ 7671 w 14142"/>
                  <a:gd name="connsiteY2" fmla="*/ 8837 h 7714"/>
                  <a:gd name="connsiteX3" fmla="*/ 15214 w 14142"/>
                  <a:gd name="connsiteY3" fmla="*/ 4483 h 7714"/>
                  <a:gd name="connsiteX4" fmla="*/ 7671 w 14142"/>
                  <a:gd name="connsiteY4" fmla="*/ 129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129"/>
                    </a:move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1" name="Freeform: Shape 900">
                <a:extLst>
                  <a:ext uri="{FF2B5EF4-FFF2-40B4-BE49-F238E27FC236}">
                    <a16:creationId xmlns:a16="http://schemas.microsoft.com/office/drawing/2014/main" id="{8BCA8481-414A-4D19-BA5D-0E0C73394BA8}"/>
                  </a:ext>
                </a:extLst>
              </p:cNvPr>
              <p:cNvSpPr/>
              <p:nvPr/>
            </p:nvSpPr>
            <p:spPr>
              <a:xfrm>
                <a:off x="2803097" y="6162333"/>
                <a:ext cx="15533" cy="8557"/>
              </a:xfrm>
              <a:custGeom>
                <a:avLst/>
                <a:gdLst>
                  <a:gd name="connsiteX0" fmla="*/ 7671 w 14142"/>
                  <a:gd name="connsiteY0" fmla="*/ 8837 h 7714"/>
                  <a:gd name="connsiteX1" fmla="*/ 15214 w 14142"/>
                  <a:gd name="connsiteY1" fmla="*/ 4483 h 7714"/>
                  <a:gd name="connsiteX2" fmla="*/ 7671 w 14142"/>
                  <a:gd name="connsiteY2" fmla="*/ 129 h 7714"/>
                  <a:gd name="connsiteX3" fmla="*/ 129 w 14142"/>
                  <a:gd name="connsiteY3" fmla="*/ 4483 h 7714"/>
                  <a:gd name="connsiteX4" fmla="*/ 7671 w 14142"/>
                  <a:gd name="connsiteY4" fmla="*/ 88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8837"/>
                    </a:move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2" name="Freeform: Shape 901">
                <a:extLst>
                  <a:ext uri="{FF2B5EF4-FFF2-40B4-BE49-F238E27FC236}">
                    <a16:creationId xmlns:a16="http://schemas.microsoft.com/office/drawing/2014/main" id="{CE15C598-B638-4F3D-9DA6-BEB05EE4D58C}"/>
                  </a:ext>
                </a:extLst>
              </p:cNvPr>
              <p:cNvSpPr/>
              <p:nvPr/>
            </p:nvSpPr>
            <p:spPr>
              <a:xfrm>
                <a:off x="2791046" y="6205688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3" name="Freeform: Shape 902">
                <a:extLst>
                  <a:ext uri="{FF2B5EF4-FFF2-40B4-BE49-F238E27FC236}">
                    <a16:creationId xmlns:a16="http://schemas.microsoft.com/office/drawing/2014/main" id="{36028122-79AF-4843-BA2E-187A5703F82E}"/>
                  </a:ext>
                </a:extLst>
              </p:cNvPr>
              <p:cNvSpPr/>
              <p:nvPr/>
            </p:nvSpPr>
            <p:spPr>
              <a:xfrm>
                <a:off x="2766948" y="6205688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4" name="Freeform: Shape 903">
                <a:extLst>
                  <a:ext uri="{FF2B5EF4-FFF2-40B4-BE49-F238E27FC236}">
                    <a16:creationId xmlns:a16="http://schemas.microsoft.com/office/drawing/2014/main" id="{37667C06-2278-4510-9CB9-B1E1CA4C516B}"/>
                  </a:ext>
                </a:extLst>
              </p:cNvPr>
              <p:cNvSpPr/>
              <p:nvPr/>
            </p:nvSpPr>
            <p:spPr>
              <a:xfrm>
                <a:off x="2674903" y="5979045"/>
                <a:ext cx="11297" cy="4278"/>
              </a:xfrm>
              <a:custGeom>
                <a:avLst/>
                <a:gdLst>
                  <a:gd name="connsiteX0" fmla="*/ 11254 w 10285"/>
                  <a:gd name="connsiteY0" fmla="*/ 351 h 3857"/>
                  <a:gd name="connsiteX1" fmla="*/ 10877 w 10285"/>
                  <a:gd name="connsiteY1" fmla="*/ 129 h 3857"/>
                  <a:gd name="connsiteX2" fmla="*/ 6540 w 10285"/>
                  <a:gd name="connsiteY2" fmla="*/ 1123 h 3857"/>
                  <a:gd name="connsiteX3" fmla="*/ 129 w 10285"/>
                  <a:gd name="connsiteY3" fmla="*/ 2649 h 3857"/>
                  <a:gd name="connsiteX4" fmla="*/ 3711 w 10285"/>
                  <a:gd name="connsiteY4" fmla="*/ 4706 h 3857"/>
                  <a:gd name="connsiteX5" fmla="*/ 11254 w 10285"/>
                  <a:gd name="connsiteY5" fmla="*/ 351 h 3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285" h="3857">
                    <a:moveTo>
                      <a:pt x="11254" y="351"/>
                    </a:moveTo>
                    <a:lnTo>
                      <a:pt x="10877" y="129"/>
                    </a:lnTo>
                    <a:cubicBezTo>
                      <a:pt x="9420" y="437"/>
                      <a:pt x="7980" y="763"/>
                      <a:pt x="6540" y="1123"/>
                    </a:cubicBezTo>
                    <a:cubicBezTo>
                      <a:pt x="4380" y="1654"/>
                      <a:pt x="2254" y="2151"/>
                      <a:pt x="129" y="2649"/>
                    </a:cubicBezTo>
                    <a:lnTo>
                      <a:pt x="3711" y="4706"/>
                    </a:lnTo>
                    <a:lnTo>
                      <a:pt x="11254" y="351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5" name="Freeform: Shape 904">
                <a:extLst>
                  <a:ext uri="{FF2B5EF4-FFF2-40B4-BE49-F238E27FC236}">
                    <a16:creationId xmlns:a16="http://schemas.microsoft.com/office/drawing/2014/main" id="{CDAF0166-1CAA-49D0-B144-B4BE7BB692EC}"/>
                  </a:ext>
                </a:extLst>
              </p:cNvPr>
              <p:cNvSpPr/>
              <p:nvPr/>
            </p:nvSpPr>
            <p:spPr>
              <a:xfrm>
                <a:off x="2682603" y="6017816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6" name="Freeform: Shape 905">
                <a:extLst>
                  <a:ext uri="{FF2B5EF4-FFF2-40B4-BE49-F238E27FC236}">
                    <a16:creationId xmlns:a16="http://schemas.microsoft.com/office/drawing/2014/main" id="{7BA8D9B5-7C5C-42A9-B737-E745C0488A05}"/>
                  </a:ext>
                </a:extLst>
              </p:cNvPr>
              <p:cNvSpPr/>
              <p:nvPr/>
            </p:nvSpPr>
            <p:spPr>
              <a:xfrm>
                <a:off x="2670554" y="6003366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7" name="Freeform: Shape 906">
                <a:extLst>
                  <a:ext uri="{FF2B5EF4-FFF2-40B4-BE49-F238E27FC236}">
                    <a16:creationId xmlns:a16="http://schemas.microsoft.com/office/drawing/2014/main" id="{846B2989-3AE2-4540-9CA3-3B3CCB49BD4E}"/>
                  </a:ext>
                </a:extLst>
              </p:cNvPr>
              <p:cNvSpPr/>
              <p:nvPr/>
            </p:nvSpPr>
            <p:spPr>
              <a:xfrm>
                <a:off x="2682603" y="5988913"/>
                <a:ext cx="15533" cy="8557"/>
              </a:xfrm>
              <a:custGeom>
                <a:avLst/>
                <a:gdLst>
                  <a:gd name="connsiteX0" fmla="*/ 7671 w 14142"/>
                  <a:gd name="connsiteY0" fmla="*/ 8837 h 7714"/>
                  <a:gd name="connsiteX1" fmla="*/ 15214 w 14142"/>
                  <a:gd name="connsiteY1" fmla="*/ 4483 h 7714"/>
                  <a:gd name="connsiteX2" fmla="*/ 7671 w 14142"/>
                  <a:gd name="connsiteY2" fmla="*/ 129 h 7714"/>
                  <a:gd name="connsiteX3" fmla="*/ 129 w 14142"/>
                  <a:gd name="connsiteY3" fmla="*/ 4483 h 7714"/>
                  <a:gd name="connsiteX4" fmla="*/ 7671 w 14142"/>
                  <a:gd name="connsiteY4" fmla="*/ 88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8837"/>
                    </a:move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8" name="Freeform: Shape 907">
                <a:extLst>
                  <a:ext uri="{FF2B5EF4-FFF2-40B4-BE49-F238E27FC236}">
                    <a16:creationId xmlns:a16="http://schemas.microsoft.com/office/drawing/2014/main" id="{53BDB39C-B552-4518-9EAC-4C80D6E20F42}"/>
                  </a:ext>
                </a:extLst>
              </p:cNvPr>
              <p:cNvSpPr/>
              <p:nvPr/>
            </p:nvSpPr>
            <p:spPr>
              <a:xfrm>
                <a:off x="2670554" y="6032268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09" name="Freeform: Shape 908">
                <a:extLst>
                  <a:ext uri="{FF2B5EF4-FFF2-40B4-BE49-F238E27FC236}">
                    <a16:creationId xmlns:a16="http://schemas.microsoft.com/office/drawing/2014/main" id="{9E2335F9-684C-4B32-93B6-A6327674C09C}"/>
                  </a:ext>
                </a:extLst>
              </p:cNvPr>
              <p:cNvSpPr/>
              <p:nvPr/>
            </p:nvSpPr>
            <p:spPr>
              <a:xfrm>
                <a:off x="2646455" y="6003366"/>
                <a:ext cx="15533" cy="8557"/>
              </a:xfrm>
              <a:custGeom>
                <a:avLst/>
                <a:gdLst>
                  <a:gd name="connsiteX0" fmla="*/ 7671 w 14142"/>
                  <a:gd name="connsiteY0" fmla="*/ 8837 h 7714"/>
                  <a:gd name="connsiteX1" fmla="*/ 15214 w 14142"/>
                  <a:gd name="connsiteY1" fmla="*/ 4483 h 7714"/>
                  <a:gd name="connsiteX2" fmla="*/ 7671 w 14142"/>
                  <a:gd name="connsiteY2" fmla="*/ 129 h 7714"/>
                  <a:gd name="connsiteX3" fmla="*/ 129 w 14142"/>
                  <a:gd name="connsiteY3" fmla="*/ 4483 h 7714"/>
                  <a:gd name="connsiteX4" fmla="*/ 7671 w 14142"/>
                  <a:gd name="connsiteY4" fmla="*/ 88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8837"/>
                    </a:move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0" name="Freeform: Shape 909">
                <a:extLst>
                  <a:ext uri="{FF2B5EF4-FFF2-40B4-BE49-F238E27FC236}">
                    <a16:creationId xmlns:a16="http://schemas.microsoft.com/office/drawing/2014/main" id="{0045F041-AD47-42C7-A0A6-2A3291AA21E5}"/>
                  </a:ext>
                </a:extLst>
              </p:cNvPr>
              <p:cNvSpPr/>
              <p:nvPr/>
            </p:nvSpPr>
            <p:spPr>
              <a:xfrm>
                <a:off x="2658504" y="5988913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1" name="Freeform: Shape 910">
                <a:extLst>
                  <a:ext uri="{FF2B5EF4-FFF2-40B4-BE49-F238E27FC236}">
                    <a16:creationId xmlns:a16="http://schemas.microsoft.com/office/drawing/2014/main" id="{7C16E8BD-0A8D-42DF-9FB7-E2ADDF9E0B4E}"/>
                  </a:ext>
                </a:extLst>
              </p:cNvPr>
              <p:cNvSpPr/>
              <p:nvPr/>
            </p:nvSpPr>
            <p:spPr>
              <a:xfrm>
                <a:off x="2646455" y="6032268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2" name="Freeform: Shape 911">
                <a:extLst>
                  <a:ext uri="{FF2B5EF4-FFF2-40B4-BE49-F238E27FC236}">
                    <a16:creationId xmlns:a16="http://schemas.microsoft.com/office/drawing/2014/main" id="{2CF8BE83-9C7C-4BA1-9BD5-A825621D9846}"/>
                  </a:ext>
                </a:extLst>
              </p:cNvPr>
              <p:cNvSpPr/>
              <p:nvPr/>
            </p:nvSpPr>
            <p:spPr>
              <a:xfrm>
                <a:off x="2658504" y="6017816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3" name="Freeform: Shape 912">
                <a:extLst>
                  <a:ext uri="{FF2B5EF4-FFF2-40B4-BE49-F238E27FC236}">
                    <a16:creationId xmlns:a16="http://schemas.microsoft.com/office/drawing/2014/main" id="{1C98D46B-409A-456B-B976-6F5698F090A4}"/>
                  </a:ext>
                </a:extLst>
              </p:cNvPr>
              <p:cNvSpPr/>
              <p:nvPr/>
            </p:nvSpPr>
            <p:spPr>
              <a:xfrm>
                <a:off x="2622357" y="6003366"/>
                <a:ext cx="15533" cy="8557"/>
              </a:xfrm>
              <a:custGeom>
                <a:avLst/>
                <a:gdLst>
                  <a:gd name="connsiteX0" fmla="*/ 7671 w 14142"/>
                  <a:gd name="connsiteY0" fmla="*/ 8837 h 7714"/>
                  <a:gd name="connsiteX1" fmla="*/ 15214 w 14142"/>
                  <a:gd name="connsiteY1" fmla="*/ 4483 h 7714"/>
                  <a:gd name="connsiteX2" fmla="*/ 7671 w 14142"/>
                  <a:gd name="connsiteY2" fmla="*/ 129 h 7714"/>
                  <a:gd name="connsiteX3" fmla="*/ 129 w 14142"/>
                  <a:gd name="connsiteY3" fmla="*/ 4483 h 7714"/>
                  <a:gd name="connsiteX4" fmla="*/ 7671 w 14142"/>
                  <a:gd name="connsiteY4" fmla="*/ 88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8837"/>
                    </a:move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4" name="Freeform: Shape 913">
                <a:extLst>
                  <a:ext uri="{FF2B5EF4-FFF2-40B4-BE49-F238E27FC236}">
                    <a16:creationId xmlns:a16="http://schemas.microsoft.com/office/drawing/2014/main" id="{DA6B63A3-9338-4139-BDB5-AF1987F26B8A}"/>
                  </a:ext>
                </a:extLst>
              </p:cNvPr>
              <p:cNvSpPr/>
              <p:nvPr/>
            </p:nvSpPr>
            <p:spPr>
              <a:xfrm>
                <a:off x="2634406" y="5988913"/>
                <a:ext cx="15533" cy="8557"/>
              </a:xfrm>
              <a:custGeom>
                <a:avLst/>
                <a:gdLst>
                  <a:gd name="connsiteX0" fmla="*/ 15214 w 14142"/>
                  <a:gd name="connsiteY0" fmla="*/ 4483 h 7714"/>
                  <a:gd name="connsiteX1" fmla="*/ 7671 w 14142"/>
                  <a:gd name="connsiteY1" fmla="*/ 129 h 7714"/>
                  <a:gd name="connsiteX2" fmla="*/ 129 w 14142"/>
                  <a:gd name="connsiteY2" fmla="*/ 4483 h 7714"/>
                  <a:gd name="connsiteX3" fmla="*/ 7671 w 14142"/>
                  <a:gd name="connsiteY3" fmla="*/ 8837 h 7714"/>
                  <a:gd name="connsiteX4" fmla="*/ 15214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5214" y="4483"/>
                    </a:move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  <a:lnTo>
                      <a:pt x="15214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5" name="Freeform: Shape 914">
                <a:extLst>
                  <a:ext uri="{FF2B5EF4-FFF2-40B4-BE49-F238E27FC236}">
                    <a16:creationId xmlns:a16="http://schemas.microsoft.com/office/drawing/2014/main" id="{F3FAB16F-5EF0-4D16-BF07-DCC59F6535A2}"/>
                  </a:ext>
                </a:extLst>
              </p:cNvPr>
              <p:cNvSpPr/>
              <p:nvPr/>
            </p:nvSpPr>
            <p:spPr>
              <a:xfrm>
                <a:off x="2622357" y="6032268"/>
                <a:ext cx="15533" cy="8557"/>
              </a:xfrm>
              <a:custGeom>
                <a:avLst/>
                <a:gdLst>
                  <a:gd name="connsiteX0" fmla="*/ 129 w 14142"/>
                  <a:gd name="connsiteY0" fmla="*/ 4483 h 7714"/>
                  <a:gd name="connsiteX1" fmla="*/ 7671 w 14142"/>
                  <a:gd name="connsiteY1" fmla="*/ 8837 h 7714"/>
                  <a:gd name="connsiteX2" fmla="*/ 15214 w 14142"/>
                  <a:gd name="connsiteY2" fmla="*/ 4483 h 7714"/>
                  <a:gd name="connsiteX3" fmla="*/ 7671 w 14142"/>
                  <a:gd name="connsiteY3" fmla="*/ 129 h 7714"/>
                  <a:gd name="connsiteX4" fmla="*/ 129 w 14142"/>
                  <a:gd name="connsiteY4" fmla="*/ 4483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129" y="4483"/>
                    </a:moveTo>
                    <a:lnTo>
                      <a:pt x="7671" y="8837"/>
                    </a:ln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6" name="Freeform: Shape 915">
                <a:extLst>
                  <a:ext uri="{FF2B5EF4-FFF2-40B4-BE49-F238E27FC236}">
                    <a16:creationId xmlns:a16="http://schemas.microsoft.com/office/drawing/2014/main" id="{00DAAC2D-046E-4A49-A1C1-BFC8A7C4C24B}"/>
                  </a:ext>
                </a:extLst>
              </p:cNvPr>
              <p:cNvSpPr/>
              <p:nvPr/>
            </p:nvSpPr>
            <p:spPr>
              <a:xfrm>
                <a:off x="2634406" y="6017816"/>
                <a:ext cx="15533" cy="8557"/>
              </a:xfrm>
              <a:custGeom>
                <a:avLst/>
                <a:gdLst>
                  <a:gd name="connsiteX0" fmla="*/ 7671 w 14142"/>
                  <a:gd name="connsiteY0" fmla="*/ 8837 h 7714"/>
                  <a:gd name="connsiteX1" fmla="*/ 15214 w 14142"/>
                  <a:gd name="connsiteY1" fmla="*/ 4483 h 7714"/>
                  <a:gd name="connsiteX2" fmla="*/ 7671 w 14142"/>
                  <a:gd name="connsiteY2" fmla="*/ 129 h 7714"/>
                  <a:gd name="connsiteX3" fmla="*/ 129 w 14142"/>
                  <a:gd name="connsiteY3" fmla="*/ 4483 h 7714"/>
                  <a:gd name="connsiteX4" fmla="*/ 7671 w 14142"/>
                  <a:gd name="connsiteY4" fmla="*/ 88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8837"/>
                    </a:move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7" name="Freeform: Shape 916">
                <a:extLst>
                  <a:ext uri="{FF2B5EF4-FFF2-40B4-BE49-F238E27FC236}">
                    <a16:creationId xmlns:a16="http://schemas.microsoft.com/office/drawing/2014/main" id="{4438050B-AC9D-48DC-8E77-E298FCD13604}"/>
                  </a:ext>
                </a:extLst>
              </p:cNvPr>
              <p:cNvSpPr/>
              <p:nvPr/>
            </p:nvSpPr>
            <p:spPr>
              <a:xfrm>
                <a:off x="2615390" y="5993173"/>
                <a:ext cx="11297" cy="4278"/>
              </a:xfrm>
              <a:custGeom>
                <a:avLst/>
                <a:gdLst>
                  <a:gd name="connsiteX0" fmla="*/ 10586 w 10285"/>
                  <a:gd name="connsiteY0" fmla="*/ 643 h 3857"/>
                  <a:gd name="connsiteX1" fmla="*/ 9711 w 10285"/>
                  <a:gd name="connsiteY1" fmla="*/ 129 h 3857"/>
                  <a:gd name="connsiteX2" fmla="*/ 129 w 10285"/>
                  <a:gd name="connsiteY2" fmla="*/ 3317 h 3857"/>
                  <a:gd name="connsiteX3" fmla="*/ 3043 w 10285"/>
                  <a:gd name="connsiteY3" fmla="*/ 4997 h 3857"/>
                  <a:gd name="connsiteX4" fmla="*/ 10586 w 10285"/>
                  <a:gd name="connsiteY4" fmla="*/ 643 h 3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285" h="3857">
                    <a:moveTo>
                      <a:pt x="10586" y="643"/>
                    </a:moveTo>
                    <a:lnTo>
                      <a:pt x="9711" y="129"/>
                    </a:lnTo>
                    <a:cubicBezTo>
                      <a:pt x="6489" y="1089"/>
                      <a:pt x="3300" y="2134"/>
                      <a:pt x="129" y="3317"/>
                    </a:cubicBezTo>
                    <a:lnTo>
                      <a:pt x="3043" y="4997"/>
                    </a:lnTo>
                    <a:lnTo>
                      <a:pt x="10586" y="64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8" name="Freeform: Shape 917">
                <a:extLst>
                  <a:ext uri="{FF2B5EF4-FFF2-40B4-BE49-F238E27FC236}">
                    <a16:creationId xmlns:a16="http://schemas.microsoft.com/office/drawing/2014/main" id="{0D7E1552-CAD9-480C-85FD-07BE4CC372A0}"/>
                  </a:ext>
                </a:extLst>
              </p:cNvPr>
              <p:cNvSpPr/>
              <p:nvPr/>
            </p:nvSpPr>
            <p:spPr>
              <a:xfrm>
                <a:off x="2610308" y="6017816"/>
                <a:ext cx="15533" cy="8557"/>
              </a:xfrm>
              <a:custGeom>
                <a:avLst/>
                <a:gdLst>
                  <a:gd name="connsiteX0" fmla="*/ 7671 w 14142"/>
                  <a:gd name="connsiteY0" fmla="*/ 8837 h 7714"/>
                  <a:gd name="connsiteX1" fmla="*/ 15214 w 14142"/>
                  <a:gd name="connsiteY1" fmla="*/ 4483 h 7714"/>
                  <a:gd name="connsiteX2" fmla="*/ 7671 w 14142"/>
                  <a:gd name="connsiteY2" fmla="*/ 129 h 7714"/>
                  <a:gd name="connsiteX3" fmla="*/ 129 w 14142"/>
                  <a:gd name="connsiteY3" fmla="*/ 4483 h 7714"/>
                  <a:gd name="connsiteX4" fmla="*/ 7671 w 14142"/>
                  <a:gd name="connsiteY4" fmla="*/ 88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142" h="7714">
                    <a:moveTo>
                      <a:pt x="7671" y="8837"/>
                    </a:moveTo>
                    <a:lnTo>
                      <a:pt x="15214" y="4483"/>
                    </a:lnTo>
                    <a:lnTo>
                      <a:pt x="7671" y="129"/>
                    </a:lnTo>
                    <a:lnTo>
                      <a:pt x="129" y="4483"/>
                    </a:lnTo>
                    <a:lnTo>
                      <a:pt x="7671" y="88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19" name="Freeform: Shape 918">
                <a:extLst>
                  <a:ext uri="{FF2B5EF4-FFF2-40B4-BE49-F238E27FC236}">
                    <a16:creationId xmlns:a16="http://schemas.microsoft.com/office/drawing/2014/main" id="{E290CF8D-1387-4757-98C6-4CEEBE17BBF2}"/>
                  </a:ext>
                </a:extLst>
              </p:cNvPr>
              <p:cNvSpPr/>
              <p:nvPr/>
            </p:nvSpPr>
            <p:spPr>
              <a:xfrm>
                <a:off x="2791913" y="4879177"/>
                <a:ext cx="217453" cy="276674"/>
              </a:xfrm>
              <a:custGeom>
                <a:avLst/>
                <a:gdLst>
                  <a:gd name="connsiteX0" fmla="*/ 110666 w 198000"/>
                  <a:gd name="connsiteY0" fmla="*/ 129 h 249428"/>
                  <a:gd name="connsiteX1" fmla="*/ 198352 w 198000"/>
                  <a:gd name="connsiteY1" fmla="*/ 143306 h 249428"/>
                  <a:gd name="connsiteX2" fmla="*/ 117249 w 198000"/>
                  <a:gd name="connsiteY2" fmla="*/ 217466 h 249428"/>
                  <a:gd name="connsiteX3" fmla="*/ 117249 w 198000"/>
                  <a:gd name="connsiteY3" fmla="*/ 217517 h 249428"/>
                  <a:gd name="connsiteX4" fmla="*/ 34671 w 198000"/>
                  <a:gd name="connsiteY4" fmla="*/ 249780 h 249428"/>
                  <a:gd name="connsiteX5" fmla="*/ 9077 w 198000"/>
                  <a:gd name="connsiteY5" fmla="*/ 156111 h 249428"/>
                  <a:gd name="connsiteX6" fmla="*/ 129 w 198000"/>
                  <a:gd name="connsiteY6" fmla="*/ 105437 h 249428"/>
                  <a:gd name="connsiteX7" fmla="*/ 129 w 198000"/>
                  <a:gd name="connsiteY7" fmla="*/ 105403 h 249428"/>
                  <a:gd name="connsiteX8" fmla="*/ 110632 w 198000"/>
                  <a:gd name="connsiteY8" fmla="*/ 129 h 249428"/>
                  <a:gd name="connsiteX9" fmla="*/ 110666 w 198000"/>
                  <a:gd name="connsiteY9" fmla="*/ 129 h 249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000" h="249428">
                    <a:moveTo>
                      <a:pt x="110666" y="129"/>
                    </a:moveTo>
                    <a:cubicBezTo>
                      <a:pt x="129197" y="50254"/>
                      <a:pt x="162232" y="107151"/>
                      <a:pt x="198352" y="143306"/>
                    </a:cubicBezTo>
                    <a:cubicBezTo>
                      <a:pt x="173546" y="173871"/>
                      <a:pt x="147317" y="198900"/>
                      <a:pt x="117249" y="217466"/>
                    </a:cubicBezTo>
                    <a:lnTo>
                      <a:pt x="117249" y="217517"/>
                    </a:lnTo>
                    <a:cubicBezTo>
                      <a:pt x="92683" y="232689"/>
                      <a:pt x="65597" y="243609"/>
                      <a:pt x="34671" y="249780"/>
                    </a:cubicBezTo>
                    <a:cubicBezTo>
                      <a:pt x="25106" y="226637"/>
                      <a:pt x="16500" y="193706"/>
                      <a:pt x="9077" y="156111"/>
                    </a:cubicBezTo>
                    <a:cubicBezTo>
                      <a:pt x="5906" y="139946"/>
                      <a:pt x="2906" y="122906"/>
                      <a:pt x="129" y="105437"/>
                    </a:cubicBezTo>
                    <a:lnTo>
                      <a:pt x="129" y="105403"/>
                    </a:lnTo>
                    <a:cubicBezTo>
                      <a:pt x="37397" y="99540"/>
                      <a:pt x="78677" y="53254"/>
                      <a:pt x="110632" y="129"/>
                    </a:cubicBezTo>
                    <a:lnTo>
                      <a:pt x="110666" y="129"/>
                    </a:ln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20" name="Freeform: Shape 919">
                <a:extLst>
                  <a:ext uri="{FF2B5EF4-FFF2-40B4-BE49-F238E27FC236}">
                    <a16:creationId xmlns:a16="http://schemas.microsoft.com/office/drawing/2014/main" id="{04A10387-8221-46E5-AE26-8C5214462436}"/>
                  </a:ext>
                </a:extLst>
              </p:cNvPr>
              <p:cNvSpPr/>
              <p:nvPr/>
            </p:nvSpPr>
            <p:spPr>
              <a:xfrm>
                <a:off x="2601047" y="4218531"/>
                <a:ext cx="365716" cy="298065"/>
              </a:xfrm>
              <a:custGeom>
                <a:avLst/>
                <a:gdLst>
                  <a:gd name="connsiteX0" fmla="*/ 315072 w 333000"/>
                  <a:gd name="connsiteY0" fmla="*/ 148313 h 268714"/>
                  <a:gd name="connsiteX1" fmla="*/ 332943 w 333000"/>
                  <a:gd name="connsiteY1" fmla="*/ 194587 h 268714"/>
                  <a:gd name="connsiteX2" fmla="*/ 199243 w 333000"/>
                  <a:gd name="connsiteY2" fmla="*/ 269830 h 268714"/>
                  <a:gd name="connsiteX3" fmla="*/ 199209 w 333000"/>
                  <a:gd name="connsiteY3" fmla="*/ 269830 h 268714"/>
                  <a:gd name="connsiteX4" fmla="*/ 193865 w 333000"/>
                  <a:gd name="connsiteY4" fmla="*/ 267098 h 268714"/>
                  <a:gd name="connsiteX5" fmla="*/ 212800 w 333000"/>
                  <a:gd name="connsiteY5" fmla="*/ 147420 h 268714"/>
                  <a:gd name="connsiteX6" fmla="*/ 198848 w 333000"/>
                  <a:gd name="connsiteY6" fmla="*/ 134928 h 268714"/>
                  <a:gd name="connsiteX7" fmla="*/ 119841 w 333000"/>
                  <a:gd name="connsiteY7" fmla="*/ 158692 h 268714"/>
                  <a:gd name="connsiteX8" fmla="*/ 51110 w 333000"/>
                  <a:gd name="connsiteY8" fmla="*/ 130941 h 268714"/>
                  <a:gd name="connsiteX9" fmla="*/ 77555 w 333000"/>
                  <a:gd name="connsiteY9" fmla="*/ 238901 h 268714"/>
                  <a:gd name="connsiteX10" fmla="*/ 52450 w 333000"/>
                  <a:gd name="connsiteY10" fmla="*/ 252321 h 268714"/>
                  <a:gd name="connsiteX11" fmla="*/ 13824 w 333000"/>
                  <a:gd name="connsiteY11" fmla="*/ 239382 h 268714"/>
                  <a:gd name="connsiteX12" fmla="*/ 129 w 333000"/>
                  <a:gd name="connsiteY12" fmla="*/ 128089 h 268714"/>
                  <a:gd name="connsiteX13" fmla="*/ 120254 w 333000"/>
                  <a:gd name="connsiteY13" fmla="*/ 129 h 268714"/>
                  <a:gd name="connsiteX14" fmla="*/ 315072 w 333000"/>
                  <a:gd name="connsiteY14" fmla="*/ 148313 h 268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33000" h="268714">
                    <a:moveTo>
                      <a:pt x="315072" y="148313"/>
                    </a:moveTo>
                    <a:cubicBezTo>
                      <a:pt x="320657" y="164242"/>
                      <a:pt x="326379" y="179912"/>
                      <a:pt x="332943" y="194587"/>
                    </a:cubicBezTo>
                    <a:cubicBezTo>
                      <a:pt x="301550" y="223729"/>
                      <a:pt x="255500" y="256445"/>
                      <a:pt x="199243" y="269830"/>
                    </a:cubicBezTo>
                    <a:lnTo>
                      <a:pt x="199209" y="269830"/>
                    </a:lnTo>
                    <a:cubicBezTo>
                      <a:pt x="197508" y="268919"/>
                      <a:pt x="195704" y="268026"/>
                      <a:pt x="193865" y="267098"/>
                    </a:cubicBezTo>
                    <a:cubicBezTo>
                      <a:pt x="165049" y="168091"/>
                      <a:pt x="212800" y="172885"/>
                      <a:pt x="212800" y="147420"/>
                    </a:cubicBezTo>
                    <a:cubicBezTo>
                      <a:pt x="212800" y="140255"/>
                      <a:pt x="207989" y="134928"/>
                      <a:pt x="198848" y="134928"/>
                    </a:cubicBezTo>
                    <a:cubicBezTo>
                      <a:pt x="172386" y="134928"/>
                      <a:pt x="156149" y="158692"/>
                      <a:pt x="119841" y="158692"/>
                    </a:cubicBezTo>
                    <a:cubicBezTo>
                      <a:pt x="95236" y="158692"/>
                      <a:pt x="69358" y="147918"/>
                      <a:pt x="51110" y="130941"/>
                    </a:cubicBezTo>
                    <a:cubicBezTo>
                      <a:pt x="50440" y="161836"/>
                      <a:pt x="56162" y="216117"/>
                      <a:pt x="77555" y="238901"/>
                    </a:cubicBezTo>
                    <a:cubicBezTo>
                      <a:pt x="68637" y="242166"/>
                      <a:pt x="60252" y="246736"/>
                      <a:pt x="52450" y="252321"/>
                    </a:cubicBezTo>
                    <a:cubicBezTo>
                      <a:pt x="34271" y="249451"/>
                      <a:pt x="22776" y="244314"/>
                      <a:pt x="13824" y="239382"/>
                    </a:cubicBezTo>
                    <a:cubicBezTo>
                      <a:pt x="3703" y="203367"/>
                      <a:pt x="129" y="161561"/>
                      <a:pt x="129" y="128089"/>
                    </a:cubicBezTo>
                    <a:cubicBezTo>
                      <a:pt x="129" y="42244"/>
                      <a:pt x="69444" y="129"/>
                      <a:pt x="120254" y="129"/>
                    </a:cubicBezTo>
                    <a:cubicBezTo>
                      <a:pt x="202199" y="129"/>
                      <a:pt x="287013" y="46935"/>
                      <a:pt x="315072" y="148313"/>
                    </a:cubicBezTo>
                  </a:path>
                </a:pathLst>
              </a:custGeom>
              <a:solidFill>
                <a:srgbClr val="3A3A3A"/>
              </a:solidFill>
              <a:ln w="12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21" name="Freeform: Shape 920">
                <a:extLst>
                  <a:ext uri="{FF2B5EF4-FFF2-40B4-BE49-F238E27FC236}">
                    <a16:creationId xmlns:a16="http://schemas.microsoft.com/office/drawing/2014/main" id="{CB3DC05B-B15F-461F-91BF-F0070BA92258}"/>
                  </a:ext>
                </a:extLst>
              </p:cNvPr>
              <p:cNvSpPr/>
              <p:nvPr/>
            </p:nvSpPr>
            <p:spPr>
              <a:xfrm>
                <a:off x="2551792" y="4533212"/>
                <a:ext cx="420786" cy="463499"/>
              </a:xfrm>
              <a:custGeom>
                <a:avLst/>
                <a:gdLst>
                  <a:gd name="connsiteX0" fmla="*/ 43997 w 383142"/>
                  <a:gd name="connsiteY0" fmla="*/ 279146 h 417857"/>
                  <a:gd name="connsiteX1" fmla="*/ 48163 w 383142"/>
                  <a:gd name="connsiteY1" fmla="*/ 270540 h 417857"/>
                  <a:gd name="connsiteX2" fmla="*/ 78180 w 383142"/>
                  <a:gd name="connsiteY2" fmla="*/ 283294 h 417857"/>
                  <a:gd name="connsiteX3" fmla="*/ 177146 w 383142"/>
                  <a:gd name="connsiteY3" fmla="*/ 317768 h 417857"/>
                  <a:gd name="connsiteX4" fmla="*/ 204626 w 383142"/>
                  <a:gd name="connsiteY4" fmla="*/ 304431 h 417857"/>
                  <a:gd name="connsiteX5" fmla="*/ 201489 w 383142"/>
                  <a:gd name="connsiteY5" fmla="*/ 269340 h 417857"/>
                  <a:gd name="connsiteX6" fmla="*/ 198129 w 383142"/>
                  <a:gd name="connsiteY6" fmla="*/ 213883 h 417857"/>
                  <a:gd name="connsiteX7" fmla="*/ 227494 w 383142"/>
                  <a:gd name="connsiteY7" fmla="*/ 60780 h 417857"/>
                  <a:gd name="connsiteX8" fmla="*/ 269734 w 383142"/>
                  <a:gd name="connsiteY8" fmla="*/ 129 h 417857"/>
                  <a:gd name="connsiteX9" fmla="*/ 383768 w 383142"/>
                  <a:gd name="connsiteY9" fmla="*/ 165591 h 417857"/>
                  <a:gd name="connsiteX10" fmla="*/ 329271 w 383142"/>
                  <a:gd name="connsiteY10" fmla="*/ 312026 h 417857"/>
                  <a:gd name="connsiteX11" fmla="*/ 218768 w 383142"/>
                  <a:gd name="connsiteY11" fmla="*/ 417300 h 417857"/>
                  <a:gd name="connsiteX12" fmla="*/ 210883 w 383142"/>
                  <a:gd name="connsiteY12" fmla="*/ 417968 h 417857"/>
                  <a:gd name="connsiteX13" fmla="*/ 69146 w 383142"/>
                  <a:gd name="connsiteY13" fmla="*/ 387677 h 417857"/>
                  <a:gd name="connsiteX14" fmla="*/ 14186 w 383142"/>
                  <a:gd name="connsiteY14" fmla="*/ 370209 h 417857"/>
                  <a:gd name="connsiteX15" fmla="*/ 129 w 383142"/>
                  <a:gd name="connsiteY15" fmla="*/ 365066 h 417857"/>
                  <a:gd name="connsiteX16" fmla="*/ 19071 w 383142"/>
                  <a:gd name="connsiteY16" fmla="*/ 329357 h 417857"/>
                  <a:gd name="connsiteX17" fmla="*/ 43997 w 383142"/>
                  <a:gd name="connsiteY17" fmla="*/ 279146 h 417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83142" h="417857">
                    <a:moveTo>
                      <a:pt x="43997" y="279146"/>
                    </a:moveTo>
                    <a:lnTo>
                      <a:pt x="48163" y="270540"/>
                    </a:lnTo>
                    <a:cubicBezTo>
                      <a:pt x="57643" y="274620"/>
                      <a:pt x="67809" y="278957"/>
                      <a:pt x="78180" y="283294"/>
                    </a:cubicBezTo>
                    <a:cubicBezTo>
                      <a:pt x="119460" y="300574"/>
                      <a:pt x="163534" y="317768"/>
                      <a:pt x="177146" y="317768"/>
                    </a:cubicBezTo>
                    <a:cubicBezTo>
                      <a:pt x="187346" y="317768"/>
                      <a:pt x="196431" y="312523"/>
                      <a:pt x="204626" y="304431"/>
                    </a:cubicBezTo>
                    <a:cubicBezTo>
                      <a:pt x="203460" y="292483"/>
                      <a:pt x="202380" y="280757"/>
                      <a:pt x="201489" y="269340"/>
                    </a:cubicBezTo>
                    <a:cubicBezTo>
                      <a:pt x="199294" y="251614"/>
                      <a:pt x="198129" y="232946"/>
                      <a:pt x="198129" y="213883"/>
                    </a:cubicBezTo>
                    <a:cubicBezTo>
                      <a:pt x="198129" y="157671"/>
                      <a:pt x="205877" y="105797"/>
                      <a:pt x="227494" y="60780"/>
                    </a:cubicBezTo>
                    <a:cubicBezTo>
                      <a:pt x="238054" y="38854"/>
                      <a:pt x="251889" y="18523"/>
                      <a:pt x="269734" y="129"/>
                    </a:cubicBezTo>
                    <a:cubicBezTo>
                      <a:pt x="332391" y="37500"/>
                      <a:pt x="383768" y="93351"/>
                      <a:pt x="383768" y="165591"/>
                    </a:cubicBezTo>
                    <a:cubicBezTo>
                      <a:pt x="383768" y="199123"/>
                      <a:pt x="361226" y="259003"/>
                      <a:pt x="329271" y="312026"/>
                    </a:cubicBezTo>
                    <a:cubicBezTo>
                      <a:pt x="297317" y="365151"/>
                      <a:pt x="256003" y="411214"/>
                      <a:pt x="218768" y="417300"/>
                    </a:cubicBezTo>
                    <a:cubicBezTo>
                      <a:pt x="216111" y="417729"/>
                      <a:pt x="213489" y="417968"/>
                      <a:pt x="210883" y="417968"/>
                    </a:cubicBezTo>
                    <a:cubicBezTo>
                      <a:pt x="195763" y="417968"/>
                      <a:pt x="133140" y="406020"/>
                      <a:pt x="69146" y="387677"/>
                    </a:cubicBezTo>
                    <a:cubicBezTo>
                      <a:pt x="50580" y="382346"/>
                      <a:pt x="31860" y="376483"/>
                      <a:pt x="14186" y="370209"/>
                    </a:cubicBezTo>
                    <a:cubicBezTo>
                      <a:pt x="9403" y="368511"/>
                      <a:pt x="4740" y="366814"/>
                      <a:pt x="129" y="365066"/>
                    </a:cubicBezTo>
                    <a:cubicBezTo>
                      <a:pt x="6626" y="353254"/>
                      <a:pt x="12900" y="341340"/>
                      <a:pt x="19071" y="329357"/>
                    </a:cubicBezTo>
                    <a:cubicBezTo>
                      <a:pt x="27609" y="312711"/>
                      <a:pt x="35889" y="295911"/>
                      <a:pt x="43997" y="279146"/>
                    </a:cubicBez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22" name="Freeform: Shape 921">
                <a:extLst>
                  <a:ext uri="{FF2B5EF4-FFF2-40B4-BE49-F238E27FC236}">
                    <a16:creationId xmlns:a16="http://schemas.microsoft.com/office/drawing/2014/main" id="{79F7FD71-FC80-4F7E-B407-23CB5B753E85}"/>
                  </a:ext>
                </a:extLst>
              </p:cNvPr>
              <p:cNvSpPr/>
              <p:nvPr/>
            </p:nvSpPr>
            <p:spPr>
              <a:xfrm>
                <a:off x="2567080" y="5004546"/>
                <a:ext cx="358656" cy="1046795"/>
              </a:xfrm>
              <a:custGeom>
                <a:avLst/>
                <a:gdLst>
                  <a:gd name="connsiteX0" fmla="*/ 159231 w 326571"/>
                  <a:gd name="connsiteY0" fmla="*/ 358294 h 943714"/>
                  <a:gd name="connsiteX1" fmla="*/ 138831 w 326571"/>
                  <a:gd name="connsiteY1" fmla="*/ 525094 h 943714"/>
                  <a:gd name="connsiteX2" fmla="*/ 145003 w 326571"/>
                  <a:gd name="connsiteY2" fmla="*/ 667637 h 943714"/>
                  <a:gd name="connsiteX3" fmla="*/ 130723 w 326571"/>
                  <a:gd name="connsiteY3" fmla="*/ 834797 h 943714"/>
                  <a:gd name="connsiteX4" fmla="*/ 78403 w 326571"/>
                  <a:gd name="connsiteY4" fmla="*/ 853637 h 943714"/>
                  <a:gd name="connsiteX5" fmla="*/ 49997 w 326571"/>
                  <a:gd name="connsiteY5" fmla="*/ 846129 h 943714"/>
                  <a:gd name="connsiteX6" fmla="*/ 129 w 326571"/>
                  <a:gd name="connsiteY6" fmla="*/ 89906 h 943714"/>
                  <a:gd name="connsiteX7" fmla="*/ 231 w 326571"/>
                  <a:gd name="connsiteY7" fmla="*/ 52174 h 943714"/>
                  <a:gd name="connsiteX8" fmla="*/ 266 w 326571"/>
                  <a:gd name="connsiteY8" fmla="*/ 52123 h 943714"/>
                  <a:gd name="connsiteX9" fmla="*/ 29323 w 326571"/>
                  <a:gd name="connsiteY9" fmla="*/ 73603 h 943714"/>
                  <a:gd name="connsiteX10" fmla="*/ 48334 w 326571"/>
                  <a:gd name="connsiteY10" fmla="*/ 129 h 943714"/>
                  <a:gd name="connsiteX11" fmla="*/ 204403 w 326571"/>
                  <a:gd name="connsiteY11" fmla="*/ 43226 h 943714"/>
                  <a:gd name="connsiteX12" fmla="*/ 213797 w 326571"/>
                  <a:gd name="connsiteY12" fmla="*/ 43089 h 943714"/>
                  <a:gd name="connsiteX13" fmla="*/ 239391 w 326571"/>
                  <a:gd name="connsiteY13" fmla="*/ 136757 h 943714"/>
                  <a:gd name="connsiteX14" fmla="*/ 321968 w 326571"/>
                  <a:gd name="connsiteY14" fmla="*/ 104494 h 943714"/>
                  <a:gd name="connsiteX15" fmla="*/ 322020 w 326571"/>
                  <a:gd name="connsiteY15" fmla="*/ 115089 h 943714"/>
                  <a:gd name="connsiteX16" fmla="*/ 306077 w 326571"/>
                  <a:gd name="connsiteY16" fmla="*/ 387746 h 943714"/>
                  <a:gd name="connsiteX17" fmla="*/ 327111 w 326571"/>
                  <a:gd name="connsiteY17" fmla="*/ 725512 h 943714"/>
                  <a:gd name="connsiteX18" fmla="*/ 302014 w 326571"/>
                  <a:gd name="connsiteY18" fmla="*/ 923289 h 943714"/>
                  <a:gd name="connsiteX19" fmla="*/ 301963 w 326571"/>
                  <a:gd name="connsiteY19" fmla="*/ 923323 h 943714"/>
                  <a:gd name="connsiteX20" fmla="*/ 256534 w 326571"/>
                  <a:gd name="connsiteY20" fmla="*/ 944632 h 943714"/>
                  <a:gd name="connsiteX21" fmla="*/ 219111 w 326571"/>
                  <a:gd name="connsiteY21" fmla="*/ 933523 h 943714"/>
                  <a:gd name="connsiteX22" fmla="*/ 219077 w 326571"/>
                  <a:gd name="connsiteY22" fmla="*/ 933523 h 943714"/>
                  <a:gd name="connsiteX23" fmla="*/ 159231 w 326571"/>
                  <a:gd name="connsiteY23" fmla="*/ 358294 h 94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26571" h="943714">
                    <a:moveTo>
                      <a:pt x="159231" y="358294"/>
                    </a:moveTo>
                    <a:cubicBezTo>
                      <a:pt x="150060" y="421586"/>
                      <a:pt x="138831" y="464769"/>
                      <a:pt x="138831" y="525094"/>
                    </a:cubicBezTo>
                    <a:cubicBezTo>
                      <a:pt x="138831" y="572717"/>
                      <a:pt x="145003" y="620117"/>
                      <a:pt x="145003" y="667637"/>
                    </a:cubicBezTo>
                    <a:cubicBezTo>
                      <a:pt x="145003" y="706483"/>
                      <a:pt x="136414" y="779580"/>
                      <a:pt x="130723" y="834797"/>
                    </a:cubicBezTo>
                    <a:cubicBezTo>
                      <a:pt x="115329" y="844912"/>
                      <a:pt x="96231" y="853637"/>
                      <a:pt x="78403" y="853637"/>
                    </a:cubicBezTo>
                    <a:cubicBezTo>
                      <a:pt x="68066" y="853637"/>
                      <a:pt x="58311" y="850603"/>
                      <a:pt x="49997" y="846129"/>
                    </a:cubicBezTo>
                    <a:cubicBezTo>
                      <a:pt x="43191" y="601312"/>
                      <a:pt x="129" y="378523"/>
                      <a:pt x="129" y="89906"/>
                    </a:cubicBezTo>
                    <a:cubicBezTo>
                      <a:pt x="129" y="77323"/>
                      <a:pt x="180" y="64740"/>
                      <a:pt x="231" y="52174"/>
                    </a:cubicBezTo>
                    <a:lnTo>
                      <a:pt x="266" y="52123"/>
                    </a:lnTo>
                    <a:cubicBezTo>
                      <a:pt x="9180" y="60317"/>
                      <a:pt x="18848" y="67517"/>
                      <a:pt x="29323" y="73603"/>
                    </a:cubicBezTo>
                    <a:cubicBezTo>
                      <a:pt x="36917" y="48986"/>
                      <a:pt x="43277" y="24420"/>
                      <a:pt x="48334" y="129"/>
                    </a:cubicBezTo>
                    <a:cubicBezTo>
                      <a:pt x="78454" y="21420"/>
                      <a:pt x="116803" y="43226"/>
                      <a:pt x="204403" y="43226"/>
                    </a:cubicBezTo>
                    <a:cubicBezTo>
                      <a:pt x="207523" y="43226"/>
                      <a:pt x="210660" y="43174"/>
                      <a:pt x="213797" y="43089"/>
                    </a:cubicBezTo>
                    <a:cubicBezTo>
                      <a:pt x="221220" y="80683"/>
                      <a:pt x="229826" y="113614"/>
                      <a:pt x="239391" y="136757"/>
                    </a:cubicBezTo>
                    <a:cubicBezTo>
                      <a:pt x="270317" y="130586"/>
                      <a:pt x="297403" y="119666"/>
                      <a:pt x="321968" y="104494"/>
                    </a:cubicBezTo>
                    <a:cubicBezTo>
                      <a:pt x="322020" y="108060"/>
                      <a:pt x="322020" y="111557"/>
                      <a:pt x="322020" y="115089"/>
                    </a:cubicBezTo>
                    <a:cubicBezTo>
                      <a:pt x="322020" y="199997"/>
                      <a:pt x="306077" y="290940"/>
                      <a:pt x="306077" y="387746"/>
                    </a:cubicBezTo>
                    <a:cubicBezTo>
                      <a:pt x="306077" y="501146"/>
                      <a:pt x="327111" y="611957"/>
                      <a:pt x="327111" y="725512"/>
                    </a:cubicBezTo>
                    <a:cubicBezTo>
                      <a:pt x="327111" y="779306"/>
                      <a:pt x="325723" y="761529"/>
                      <a:pt x="302014" y="923289"/>
                    </a:cubicBezTo>
                    <a:lnTo>
                      <a:pt x="301963" y="923323"/>
                    </a:lnTo>
                    <a:cubicBezTo>
                      <a:pt x="288934" y="935632"/>
                      <a:pt x="273403" y="944632"/>
                      <a:pt x="256534" y="944632"/>
                    </a:cubicBezTo>
                    <a:cubicBezTo>
                      <a:pt x="243968" y="944632"/>
                      <a:pt x="230083" y="940603"/>
                      <a:pt x="219111" y="933523"/>
                    </a:cubicBezTo>
                    <a:lnTo>
                      <a:pt x="219077" y="933523"/>
                    </a:lnTo>
                    <a:cubicBezTo>
                      <a:pt x="218357" y="668632"/>
                      <a:pt x="184843" y="554940"/>
                      <a:pt x="159231" y="358294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23" name="Freeform: Shape 922">
                <a:extLst>
                  <a:ext uri="{FF2B5EF4-FFF2-40B4-BE49-F238E27FC236}">
                    <a16:creationId xmlns:a16="http://schemas.microsoft.com/office/drawing/2014/main" id="{C4249140-09A8-4246-AF1C-C76B64AD24D0}"/>
                  </a:ext>
                </a:extLst>
              </p:cNvPr>
              <p:cNvSpPr/>
              <p:nvPr/>
            </p:nvSpPr>
            <p:spPr>
              <a:xfrm>
                <a:off x="2763748" y="6088402"/>
                <a:ext cx="139791" cy="179695"/>
              </a:xfrm>
              <a:custGeom>
                <a:avLst/>
                <a:gdLst>
                  <a:gd name="connsiteX0" fmla="*/ 110357 w 127285"/>
                  <a:gd name="connsiteY0" fmla="*/ 34140 h 162000"/>
                  <a:gd name="connsiteX1" fmla="*/ 115140 w 127285"/>
                  <a:gd name="connsiteY1" fmla="*/ 129 h 162000"/>
                  <a:gd name="connsiteX2" fmla="*/ 127414 w 127285"/>
                  <a:gd name="connsiteY2" fmla="*/ 26580 h 162000"/>
                  <a:gd name="connsiteX3" fmla="*/ 117780 w 127285"/>
                  <a:gd name="connsiteY3" fmla="*/ 70209 h 162000"/>
                  <a:gd name="connsiteX4" fmla="*/ 35391 w 127285"/>
                  <a:gd name="connsiteY4" fmla="*/ 162591 h 162000"/>
                  <a:gd name="connsiteX5" fmla="*/ 129 w 127285"/>
                  <a:gd name="connsiteY5" fmla="*/ 138060 h 162000"/>
                  <a:gd name="connsiteX6" fmla="*/ 23391 w 127285"/>
                  <a:gd name="connsiteY6" fmla="*/ 72677 h 162000"/>
                  <a:gd name="connsiteX7" fmla="*/ 39471 w 127285"/>
                  <a:gd name="connsiteY7" fmla="*/ 38391 h 162000"/>
                  <a:gd name="connsiteX8" fmla="*/ 62289 w 127285"/>
                  <a:gd name="connsiteY8" fmla="*/ 14717 h 162000"/>
                  <a:gd name="connsiteX9" fmla="*/ 99026 w 127285"/>
                  <a:gd name="connsiteY9" fmla="*/ 40449 h 162000"/>
                  <a:gd name="connsiteX10" fmla="*/ 110357 w 127285"/>
                  <a:gd name="connsiteY10" fmla="*/ 34140 h 16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7285" h="162000">
                    <a:moveTo>
                      <a:pt x="110357" y="34140"/>
                    </a:moveTo>
                    <a:cubicBezTo>
                      <a:pt x="112020" y="22191"/>
                      <a:pt x="113631" y="10826"/>
                      <a:pt x="115140" y="129"/>
                    </a:cubicBezTo>
                    <a:cubicBezTo>
                      <a:pt x="124226" y="6403"/>
                      <a:pt x="127414" y="15883"/>
                      <a:pt x="127414" y="26580"/>
                    </a:cubicBezTo>
                    <a:cubicBezTo>
                      <a:pt x="127414" y="30249"/>
                      <a:pt x="124551" y="48506"/>
                      <a:pt x="117780" y="70209"/>
                    </a:cubicBezTo>
                    <a:cubicBezTo>
                      <a:pt x="105574" y="132694"/>
                      <a:pt x="61894" y="162591"/>
                      <a:pt x="35391" y="162591"/>
                    </a:cubicBezTo>
                    <a:cubicBezTo>
                      <a:pt x="18197" y="162591"/>
                      <a:pt x="129" y="154483"/>
                      <a:pt x="129" y="138060"/>
                    </a:cubicBezTo>
                    <a:cubicBezTo>
                      <a:pt x="129" y="120797"/>
                      <a:pt x="17306" y="98597"/>
                      <a:pt x="23391" y="72677"/>
                    </a:cubicBezTo>
                    <a:cubicBezTo>
                      <a:pt x="28363" y="60591"/>
                      <a:pt x="33866" y="48420"/>
                      <a:pt x="39471" y="38391"/>
                    </a:cubicBezTo>
                    <a:cubicBezTo>
                      <a:pt x="47203" y="24523"/>
                      <a:pt x="55226" y="14717"/>
                      <a:pt x="62289" y="14717"/>
                    </a:cubicBezTo>
                    <a:cubicBezTo>
                      <a:pt x="81626" y="14717"/>
                      <a:pt x="92014" y="40449"/>
                      <a:pt x="99026" y="40449"/>
                    </a:cubicBezTo>
                    <a:cubicBezTo>
                      <a:pt x="102797" y="40449"/>
                      <a:pt x="106774" y="37689"/>
                      <a:pt x="110357" y="34140"/>
                    </a:cubicBezTo>
                  </a:path>
                </a:pathLst>
              </a:custGeom>
              <a:solidFill>
                <a:schemeClr val="bg2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24" name="Freeform: Shape 923">
                <a:extLst>
                  <a:ext uri="{FF2B5EF4-FFF2-40B4-BE49-F238E27FC236}">
                    <a16:creationId xmlns:a16="http://schemas.microsoft.com/office/drawing/2014/main" id="{86724AF8-13D1-4AAB-9CCB-39A889C7C554}"/>
                  </a:ext>
                </a:extLst>
              </p:cNvPr>
              <p:cNvSpPr/>
              <p:nvPr/>
            </p:nvSpPr>
            <p:spPr>
              <a:xfrm>
                <a:off x="2806316" y="6028579"/>
                <a:ext cx="91781" cy="104109"/>
              </a:xfrm>
              <a:custGeom>
                <a:avLst/>
                <a:gdLst>
                  <a:gd name="connsiteX0" fmla="*/ 84129 w 83571"/>
                  <a:gd name="connsiteY0" fmla="*/ 129 h 93857"/>
                  <a:gd name="connsiteX1" fmla="*/ 71597 w 83571"/>
                  <a:gd name="connsiteY1" fmla="*/ 88071 h 93857"/>
                  <a:gd name="connsiteX2" fmla="*/ 60266 w 83571"/>
                  <a:gd name="connsiteY2" fmla="*/ 94380 h 93857"/>
                  <a:gd name="connsiteX3" fmla="*/ 23529 w 83571"/>
                  <a:gd name="connsiteY3" fmla="*/ 68649 h 93857"/>
                  <a:gd name="connsiteX4" fmla="*/ 711 w 83571"/>
                  <a:gd name="connsiteY4" fmla="*/ 92323 h 93857"/>
                  <a:gd name="connsiteX5" fmla="*/ 129 w 83571"/>
                  <a:gd name="connsiteY5" fmla="*/ 73089 h 93857"/>
                  <a:gd name="connsiteX6" fmla="*/ 1277 w 83571"/>
                  <a:gd name="connsiteY6" fmla="*/ 19329 h 93857"/>
                  <a:gd name="connsiteX7" fmla="*/ 1243 w 83571"/>
                  <a:gd name="connsiteY7" fmla="*/ 10329 h 93857"/>
                  <a:gd name="connsiteX8" fmla="*/ 1277 w 83571"/>
                  <a:gd name="connsiteY8" fmla="*/ 10329 h 93857"/>
                  <a:gd name="connsiteX9" fmla="*/ 38700 w 83571"/>
                  <a:gd name="connsiteY9" fmla="*/ 21437 h 93857"/>
                  <a:gd name="connsiteX10" fmla="*/ 84129 w 83571"/>
                  <a:gd name="connsiteY10" fmla="*/ 129 h 93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3571" h="93857">
                    <a:moveTo>
                      <a:pt x="84129" y="129"/>
                    </a:moveTo>
                    <a:cubicBezTo>
                      <a:pt x="81763" y="16243"/>
                      <a:pt x="73260" y="76123"/>
                      <a:pt x="71597" y="88071"/>
                    </a:cubicBezTo>
                    <a:cubicBezTo>
                      <a:pt x="68014" y="91620"/>
                      <a:pt x="64037" y="94380"/>
                      <a:pt x="60266" y="94380"/>
                    </a:cubicBezTo>
                    <a:cubicBezTo>
                      <a:pt x="53254" y="94380"/>
                      <a:pt x="42866" y="68649"/>
                      <a:pt x="23529" y="68649"/>
                    </a:cubicBezTo>
                    <a:cubicBezTo>
                      <a:pt x="16466" y="68649"/>
                      <a:pt x="8443" y="78454"/>
                      <a:pt x="711" y="92323"/>
                    </a:cubicBezTo>
                    <a:cubicBezTo>
                      <a:pt x="300" y="85980"/>
                      <a:pt x="129" y="79534"/>
                      <a:pt x="129" y="73089"/>
                    </a:cubicBezTo>
                    <a:cubicBezTo>
                      <a:pt x="129" y="55174"/>
                      <a:pt x="1277" y="37054"/>
                      <a:pt x="1277" y="19329"/>
                    </a:cubicBezTo>
                    <a:cubicBezTo>
                      <a:pt x="1277" y="16329"/>
                      <a:pt x="1277" y="13329"/>
                      <a:pt x="1243" y="10329"/>
                    </a:cubicBezTo>
                    <a:lnTo>
                      <a:pt x="1277" y="10329"/>
                    </a:lnTo>
                    <a:cubicBezTo>
                      <a:pt x="12249" y="17409"/>
                      <a:pt x="26134" y="21437"/>
                      <a:pt x="38700" y="21437"/>
                    </a:cubicBezTo>
                    <a:cubicBezTo>
                      <a:pt x="55569" y="21437"/>
                      <a:pt x="71100" y="12437"/>
                      <a:pt x="84129" y="129"/>
                    </a:cubicBez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25" name="Freeform: Shape 924">
                <a:extLst>
                  <a:ext uri="{FF2B5EF4-FFF2-40B4-BE49-F238E27FC236}">
                    <a16:creationId xmlns:a16="http://schemas.microsoft.com/office/drawing/2014/main" id="{F8369FD1-1309-4C29-9F3F-09E1C8FDA063}"/>
                  </a:ext>
                </a:extLst>
              </p:cNvPr>
              <p:cNvSpPr/>
              <p:nvPr/>
            </p:nvSpPr>
            <p:spPr>
              <a:xfrm>
                <a:off x="2656980" y="4363633"/>
                <a:ext cx="190623" cy="256708"/>
              </a:xfrm>
              <a:custGeom>
                <a:avLst/>
                <a:gdLst>
                  <a:gd name="connsiteX0" fmla="*/ 57831 w 173571"/>
                  <a:gd name="connsiteY0" fmla="*/ 123609 h 231428"/>
                  <a:gd name="connsiteX1" fmla="*/ 56168 w 173571"/>
                  <a:gd name="connsiteY1" fmla="*/ 117934 h 231428"/>
                  <a:gd name="connsiteX2" fmla="*/ 26631 w 173571"/>
                  <a:gd name="connsiteY2" fmla="*/ 108077 h 231428"/>
                  <a:gd name="connsiteX3" fmla="*/ 180 w 173571"/>
                  <a:gd name="connsiteY3" fmla="*/ 129 h 231428"/>
                  <a:gd name="connsiteX4" fmla="*/ 68923 w 173571"/>
                  <a:gd name="connsiteY4" fmla="*/ 27883 h 231428"/>
                  <a:gd name="connsiteX5" fmla="*/ 147917 w 173571"/>
                  <a:gd name="connsiteY5" fmla="*/ 4123 h 231428"/>
                  <a:gd name="connsiteX6" fmla="*/ 161871 w 173571"/>
                  <a:gd name="connsiteY6" fmla="*/ 16603 h 231428"/>
                  <a:gd name="connsiteX7" fmla="*/ 142945 w 173571"/>
                  <a:gd name="connsiteY7" fmla="*/ 136277 h 231428"/>
                  <a:gd name="connsiteX8" fmla="*/ 148277 w 173571"/>
                  <a:gd name="connsiteY8" fmla="*/ 139003 h 231428"/>
                  <a:gd name="connsiteX9" fmla="*/ 148311 w 173571"/>
                  <a:gd name="connsiteY9" fmla="*/ 139003 h 231428"/>
                  <a:gd name="connsiteX10" fmla="*/ 159505 w 173571"/>
                  <a:gd name="connsiteY10" fmla="*/ 144729 h 231428"/>
                  <a:gd name="connsiteX11" fmla="*/ 173957 w 173571"/>
                  <a:gd name="connsiteY11" fmla="*/ 153009 h 231428"/>
                  <a:gd name="connsiteX12" fmla="*/ 131717 w 173571"/>
                  <a:gd name="connsiteY12" fmla="*/ 213660 h 231428"/>
                  <a:gd name="connsiteX13" fmla="*/ 56443 w 173571"/>
                  <a:gd name="connsiteY13" fmla="*/ 231780 h 231428"/>
                  <a:gd name="connsiteX14" fmla="*/ 23940 w 173571"/>
                  <a:gd name="connsiteY14" fmla="*/ 164837 h 231428"/>
                  <a:gd name="connsiteX15" fmla="*/ 23940 w 173571"/>
                  <a:gd name="connsiteY15" fmla="*/ 164786 h 231428"/>
                  <a:gd name="connsiteX16" fmla="*/ 57831 w 173571"/>
                  <a:gd name="connsiteY16" fmla="*/ 123609 h 23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73571" h="231428">
                    <a:moveTo>
                      <a:pt x="57831" y="123609"/>
                    </a:moveTo>
                    <a:cubicBezTo>
                      <a:pt x="57334" y="121689"/>
                      <a:pt x="56751" y="119803"/>
                      <a:pt x="56168" y="117934"/>
                    </a:cubicBezTo>
                    <a:cubicBezTo>
                      <a:pt x="43997" y="120437"/>
                      <a:pt x="34328" y="116323"/>
                      <a:pt x="26631" y="108077"/>
                    </a:cubicBezTo>
                    <a:cubicBezTo>
                      <a:pt x="5237" y="85294"/>
                      <a:pt x="-489" y="31020"/>
                      <a:pt x="180" y="129"/>
                    </a:cubicBezTo>
                    <a:cubicBezTo>
                      <a:pt x="18437" y="17100"/>
                      <a:pt x="44305" y="27883"/>
                      <a:pt x="68923" y="27883"/>
                    </a:cubicBezTo>
                    <a:cubicBezTo>
                      <a:pt x="105214" y="27883"/>
                      <a:pt x="121465" y="4123"/>
                      <a:pt x="147917" y="4123"/>
                    </a:cubicBezTo>
                    <a:cubicBezTo>
                      <a:pt x="157054" y="4123"/>
                      <a:pt x="161871" y="9437"/>
                      <a:pt x="161871" y="16603"/>
                    </a:cubicBezTo>
                    <a:cubicBezTo>
                      <a:pt x="161871" y="42060"/>
                      <a:pt x="114128" y="37277"/>
                      <a:pt x="142945" y="136277"/>
                    </a:cubicBezTo>
                    <a:cubicBezTo>
                      <a:pt x="144780" y="137220"/>
                      <a:pt x="146580" y="138111"/>
                      <a:pt x="148277" y="139003"/>
                    </a:cubicBezTo>
                    <a:lnTo>
                      <a:pt x="148311" y="139003"/>
                    </a:lnTo>
                    <a:cubicBezTo>
                      <a:pt x="154363" y="142089"/>
                      <a:pt x="159008" y="144471"/>
                      <a:pt x="159505" y="144729"/>
                    </a:cubicBezTo>
                    <a:cubicBezTo>
                      <a:pt x="164374" y="147386"/>
                      <a:pt x="169225" y="150111"/>
                      <a:pt x="173957" y="153009"/>
                    </a:cubicBezTo>
                    <a:cubicBezTo>
                      <a:pt x="156111" y="171403"/>
                      <a:pt x="142277" y="191734"/>
                      <a:pt x="131717" y="213660"/>
                    </a:cubicBezTo>
                    <a:cubicBezTo>
                      <a:pt x="98631" y="222832"/>
                      <a:pt x="63865" y="231780"/>
                      <a:pt x="56443" y="231780"/>
                    </a:cubicBezTo>
                    <a:cubicBezTo>
                      <a:pt x="27128" y="231780"/>
                      <a:pt x="24128" y="194991"/>
                      <a:pt x="23940" y="164837"/>
                    </a:cubicBezTo>
                    <a:lnTo>
                      <a:pt x="23940" y="164786"/>
                    </a:lnTo>
                    <a:cubicBezTo>
                      <a:pt x="35220" y="147334"/>
                      <a:pt x="47168" y="134032"/>
                      <a:pt x="57831" y="123609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26" name="Freeform: Shape 925">
                <a:extLst>
                  <a:ext uri="{FF2B5EF4-FFF2-40B4-BE49-F238E27FC236}">
                    <a16:creationId xmlns:a16="http://schemas.microsoft.com/office/drawing/2014/main" id="{C8E4DA17-A7C8-4C7A-892B-7F2ADF40E3AF}"/>
                  </a:ext>
                </a:extLst>
              </p:cNvPr>
              <p:cNvSpPr/>
              <p:nvPr/>
            </p:nvSpPr>
            <p:spPr>
              <a:xfrm>
                <a:off x="2620022" y="4963092"/>
                <a:ext cx="180740" cy="88421"/>
              </a:xfrm>
              <a:custGeom>
                <a:avLst/>
                <a:gdLst>
                  <a:gd name="connsiteX0" fmla="*/ 165591 w 164571"/>
                  <a:gd name="connsiteY0" fmla="*/ 80460 h 79714"/>
                  <a:gd name="connsiteX1" fmla="*/ 156197 w 164571"/>
                  <a:gd name="connsiteY1" fmla="*/ 80597 h 79714"/>
                  <a:gd name="connsiteX2" fmla="*/ 129 w 164571"/>
                  <a:gd name="connsiteY2" fmla="*/ 37500 h 79714"/>
                  <a:gd name="connsiteX3" fmla="*/ 7020 w 164571"/>
                  <a:gd name="connsiteY3" fmla="*/ 129 h 79714"/>
                  <a:gd name="connsiteX4" fmla="*/ 148757 w 164571"/>
                  <a:gd name="connsiteY4" fmla="*/ 30420 h 79714"/>
                  <a:gd name="connsiteX5" fmla="*/ 156643 w 164571"/>
                  <a:gd name="connsiteY5" fmla="*/ 29752 h 79714"/>
                  <a:gd name="connsiteX6" fmla="*/ 156643 w 164571"/>
                  <a:gd name="connsiteY6" fmla="*/ 29786 h 79714"/>
                  <a:gd name="connsiteX7" fmla="*/ 165591 w 164571"/>
                  <a:gd name="connsiteY7" fmla="*/ 80460 h 79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4571" h="79714">
                    <a:moveTo>
                      <a:pt x="165591" y="80460"/>
                    </a:moveTo>
                    <a:cubicBezTo>
                      <a:pt x="162454" y="80546"/>
                      <a:pt x="159317" y="80597"/>
                      <a:pt x="156197" y="80597"/>
                    </a:cubicBezTo>
                    <a:cubicBezTo>
                      <a:pt x="68597" y="80597"/>
                      <a:pt x="30249" y="58791"/>
                      <a:pt x="129" y="37500"/>
                    </a:cubicBezTo>
                    <a:cubicBezTo>
                      <a:pt x="2769" y="24952"/>
                      <a:pt x="5049" y="12471"/>
                      <a:pt x="7020" y="129"/>
                    </a:cubicBezTo>
                    <a:cubicBezTo>
                      <a:pt x="71014" y="18471"/>
                      <a:pt x="133637" y="30420"/>
                      <a:pt x="148757" y="30420"/>
                    </a:cubicBezTo>
                    <a:cubicBezTo>
                      <a:pt x="151363" y="30420"/>
                      <a:pt x="154003" y="30197"/>
                      <a:pt x="156643" y="29752"/>
                    </a:cubicBezTo>
                    <a:lnTo>
                      <a:pt x="156643" y="29786"/>
                    </a:lnTo>
                    <a:cubicBezTo>
                      <a:pt x="159420" y="47254"/>
                      <a:pt x="162420" y="64294"/>
                      <a:pt x="165591" y="80460"/>
                    </a:cubicBezTo>
                  </a:path>
                </a:pathLst>
              </a:custGeom>
              <a:solidFill>
                <a:schemeClr val="accent3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27" name="Freeform: Shape 926">
                <a:extLst>
                  <a:ext uri="{FF2B5EF4-FFF2-40B4-BE49-F238E27FC236}">
                    <a16:creationId xmlns:a16="http://schemas.microsoft.com/office/drawing/2014/main" id="{6E840A13-9020-4A35-82E8-BCC1ADC4F877}"/>
                  </a:ext>
                </a:extLst>
              </p:cNvPr>
              <p:cNvSpPr/>
              <p:nvPr/>
            </p:nvSpPr>
            <p:spPr>
              <a:xfrm>
                <a:off x="2635253" y="4546333"/>
                <a:ext cx="165209" cy="339425"/>
              </a:xfrm>
              <a:custGeom>
                <a:avLst/>
                <a:gdLst>
                  <a:gd name="connsiteX0" fmla="*/ 151500 w 150428"/>
                  <a:gd name="connsiteY0" fmla="*/ 48951 h 306000"/>
                  <a:gd name="connsiteX1" fmla="*/ 122134 w 150428"/>
                  <a:gd name="connsiteY1" fmla="*/ 202054 h 306000"/>
                  <a:gd name="connsiteX2" fmla="*/ 125494 w 150428"/>
                  <a:gd name="connsiteY2" fmla="*/ 257511 h 306000"/>
                  <a:gd name="connsiteX3" fmla="*/ 128631 w 150428"/>
                  <a:gd name="connsiteY3" fmla="*/ 292603 h 306000"/>
                  <a:gd name="connsiteX4" fmla="*/ 101151 w 150428"/>
                  <a:gd name="connsiteY4" fmla="*/ 305940 h 306000"/>
                  <a:gd name="connsiteX5" fmla="*/ 2186 w 150428"/>
                  <a:gd name="connsiteY5" fmla="*/ 271466 h 306000"/>
                  <a:gd name="connsiteX6" fmla="*/ 2237 w 150428"/>
                  <a:gd name="connsiteY6" fmla="*/ 264848 h 306000"/>
                  <a:gd name="connsiteX7" fmla="*/ 129 w 150428"/>
                  <a:gd name="connsiteY7" fmla="*/ 171763 h 306000"/>
                  <a:gd name="connsiteX8" fmla="*/ 43723 w 150428"/>
                  <a:gd name="connsiteY8" fmla="*/ 129 h 306000"/>
                  <a:gd name="connsiteX9" fmla="*/ 76226 w 150428"/>
                  <a:gd name="connsiteY9" fmla="*/ 67071 h 306000"/>
                  <a:gd name="connsiteX10" fmla="*/ 151500 w 150428"/>
                  <a:gd name="connsiteY10" fmla="*/ 48951 h 30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0428" h="306000">
                    <a:moveTo>
                      <a:pt x="151500" y="48951"/>
                    </a:moveTo>
                    <a:cubicBezTo>
                      <a:pt x="129883" y="93968"/>
                      <a:pt x="122134" y="145843"/>
                      <a:pt x="122134" y="202054"/>
                    </a:cubicBezTo>
                    <a:cubicBezTo>
                      <a:pt x="122134" y="221117"/>
                      <a:pt x="123300" y="239786"/>
                      <a:pt x="125494" y="257511"/>
                    </a:cubicBezTo>
                    <a:cubicBezTo>
                      <a:pt x="126386" y="268929"/>
                      <a:pt x="127466" y="280654"/>
                      <a:pt x="128631" y="292603"/>
                    </a:cubicBezTo>
                    <a:cubicBezTo>
                      <a:pt x="120437" y="300694"/>
                      <a:pt x="111351" y="305940"/>
                      <a:pt x="101151" y="305940"/>
                    </a:cubicBezTo>
                    <a:cubicBezTo>
                      <a:pt x="87540" y="305940"/>
                      <a:pt x="43466" y="288746"/>
                      <a:pt x="2186" y="271466"/>
                    </a:cubicBezTo>
                    <a:cubicBezTo>
                      <a:pt x="2237" y="269271"/>
                      <a:pt x="2237" y="267043"/>
                      <a:pt x="2237" y="264848"/>
                    </a:cubicBezTo>
                    <a:cubicBezTo>
                      <a:pt x="2237" y="233203"/>
                      <a:pt x="129" y="202500"/>
                      <a:pt x="129" y="171763"/>
                    </a:cubicBezTo>
                    <a:cubicBezTo>
                      <a:pt x="129" y="89580"/>
                      <a:pt x="20494" y="36060"/>
                      <a:pt x="43723" y="129"/>
                    </a:cubicBezTo>
                    <a:cubicBezTo>
                      <a:pt x="43911" y="30283"/>
                      <a:pt x="46911" y="67071"/>
                      <a:pt x="76226" y="67071"/>
                    </a:cubicBezTo>
                    <a:cubicBezTo>
                      <a:pt x="83649" y="67071"/>
                      <a:pt x="118414" y="58123"/>
                      <a:pt x="151500" y="48951"/>
                    </a:cubicBezTo>
                  </a:path>
                </a:pathLst>
              </a:custGeom>
              <a:solidFill>
                <a:schemeClr val="accent3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28" name="Freeform: Shape 927">
                <a:extLst>
                  <a:ext uri="{FF2B5EF4-FFF2-40B4-BE49-F238E27FC236}">
                    <a16:creationId xmlns:a16="http://schemas.microsoft.com/office/drawing/2014/main" id="{54893ECF-124A-49C3-8CCF-7655ADA937CD}"/>
                  </a:ext>
                </a:extLst>
              </p:cNvPr>
              <p:cNvSpPr/>
              <p:nvPr/>
            </p:nvSpPr>
            <p:spPr>
              <a:xfrm>
                <a:off x="2523137" y="4483373"/>
                <a:ext cx="196272" cy="363669"/>
              </a:xfrm>
              <a:custGeom>
                <a:avLst/>
                <a:gdLst>
                  <a:gd name="connsiteX0" fmla="*/ 67226 w 178714"/>
                  <a:gd name="connsiteY0" fmla="*/ 322637 h 327857"/>
                  <a:gd name="connsiteX1" fmla="*/ 129 w 178714"/>
                  <a:gd name="connsiteY1" fmla="*/ 269649 h 327857"/>
                  <a:gd name="connsiteX2" fmla="*/ 180 w 178714"/>
                  <a:gd name="connsiteY2" fmla="*/ 269597 h 327857"/>
                  <a:gd name="connsiteX3" fmla="*/ 3454 w 178714"/>
                  <a:gd name="connsiteY3" fmla="*/ 240146 h 327857"/>
                  <a:gd name="connsiteX4" fmla="*/ 3454 w 178714"/>
                  <a:gd name="connsiteY4" fmla="*/ 240060 h 327857"/>
                  <a:gd name="connsiteX5" fmla="*/ 3351 w 178714"/>
                  <a:gd name="connsiteY5" fmla="*/ 237866 h 327857"/>
                  <a:gd name="connsiteX6" fmla="*/ 32666 w 178714"/>
                  <a:gd name="connsiteY6" fmla="*/ 268346 h 327857"/>
                  <a:gd name="connsiteX7" fmla="*/ 67260 w 178714"/>
                  <a:gd name="connsiteY7" fmla="*/ 105180 h 327857"/>
                  <a:gd name="connsiteX8" fmla="*/ 123386 w 178714"/>
                  <a:gd name="connsiteY8" fmla="*/ 13551 h 327857"/>
                  <a:gd name="connsiteX9" fmla="*/ 148500 w 178714"/>
                  <a:gd name="connsiteY9" fmla="*/ 129 h 327857"/>
                  <a:gd name="connsiteX10" fmla="*/ 178037 w 178714"/>
                  <a:gd name="connsiteY10" fmla="*/ 9986 h 327857"/>
                  <a:gd name="connsiteX11" fmla="*/ 179700 w 178714"/>
                  <a:gd name="connsiteY11" fmla="*/ 15660 h 327857"/>
                  <a:gd name="connsiteX12" fmla="*/ 145809 w 178714"/>
                  <a:gd name="connsiteY12" fmla="*/ 56837 h 327857"/>
                  <a:gd name="connsiteX13" fmla="*/ 145809 w 178714"/>
                  <a:gd name="connsiteY13" fmla="*/ 56889 h 327857"/>
                  <a:gd name="connsiteX14" fmla="*/ 102214 w 178714"/>
                  <a:gd name="connsiteY14" fmla="*/ 228523 h 327857"/>
                  <a:gd name="connsiteX15" fmla="*/ 104323 w 178714"/>
                  <a:gd name="connsiteY15" fmla="*/ 321609 h 327857"/>
                  <a:gd name="connsiteX16" fmla="*/ 104271 w 178714"/>
                  <a:gd name="connsiteY16" fmla="*/ 328226 h 327857"/>
                  <a:gd name="connsiteX17" fmla="*/ 74254 w 178714"/>
                  <a:gd name="connsiteY17" fmla="*/ 315471 h 327857"/>
                  <a:gd name="connsiteX18" fmla="*/ 70089 w 178714"/>
                  <a:gd name="connsiteY18" fmla="*/ 324077 h 327857"/>
                  <a:gd name="connsiteX19" fmla="*/ 67226 w 178714"/>
                  <a:gd name="connsiteY19" fmla="*/ 322637 h 327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78714" h="327857">
                    <a:moveTo>
                      <a:pt x="67226" y="322637"/>
                    </a:moveTo>
                    <a:cubicBezTo>
                      <a:pt x="16363" y="297009"/>
                      <a:pt x="22603" y="291540"/>
                      <a:pt x="129" y="269649"/>
                    </a:cubicBezTo>
                    <a:lnTo>
                      <a:pt x="180" y="269597"/>
                    </a:lnTo>
                    <a:cubicBezTo>
                      <a:pt x="2323" y="259843"/>
                      <a:pt x="3454" y="250003"/>
                      <a:pt x="3454" y="240146"/>
                    </a:cubicBezTo>
                    <a:lnTo>
                      <a:pt x="3454" y="240060"/>
                    </a:lnTo>
                    <a:cubicBezTo>
                      <a:pt x="3454" y="239340"/>
                      <a:pt x="3403" y="238637"/>
                      <a:pt x="3351" y="237866"/>
                    </a:cubicBezTo>
                    <a:cubicBezTo>
                      <a:pt x="13071" y="248169"/>
                      <a:pt x="22689" y="258369"/>
                      <a:pt x="32666" y="268346"/>
                    </a:cubicBezTo>
                    <a:cubicBezTo>
                      <a:pt x="55980" y="159677"/>
                      <a:pt x="60420" y="140032"/>
                      <a:pt x="67260" y="105180"/>
                    </a:cubicBezTo>
                    <a:cubicBezTo>
                      <a:pt x="74511" y="68254"/>
                      <a:pt x="94877" y="33969"/>
                      <a:pt x="123386" y="13551"/>
                    </a:cubicBezTo>
                    <a:cubicBezTo>
                      <a:pt x="131186" y="7963"/>
                      <a:pt x="139586" y="3403"/>
                      <a:pt x="148500" y="129"/>
                    </a:cubicBezTo>
                    <a:cubicBezTo>
                      <a:pt x="156197" y="8374"/>
                      <a:pt x="165866" y="12489"/>
                      <a:pt x="178037" y="9986"/>
                    </a:cubicBezTo>
                    <a:cubicBezTo>
                      <a:pt x="178620" y="11854"/>
                      <a:pt x="179203" y="13740"/>
                      <a:pt x="179700" y="15660"/>
                    </a:cubicBezTo>
                    <a:cubicBezTo>
                      <a:pt x="169037" y="26083"/>
                      <a:pt x="157089" y="39386"/>
                      <a:pt x="145809" y="56837"/>
                    </a:cubicBezTo>
                    <a:lnTo>
                      <a:pt x="145809" y="56889"/>
                    </a:lnTo>
                    <a:cubicBezTo>
                      <a:pt x="122580" y="92820"/>
                      <a:pt x="102214" y="146340"/>
                      <a:pt x="102214" y="228523"/>
                    </a:cubicBezTo>
                    <a:cubicBezTo>
                      <a:pt x="102214" y="259260"/>
                      <a:pt x="104323" y="289963"/>
                      <a:pt x="104323" y="321609"/>
                    </a:cubicBezTo>
                    <a:cubicBezTo>
                      <a:pt x="104323" y="323803"/>
                      <a:pt x="104323" y="326032"/>
                      <a:pt x="104271" y="328226"/>
                    </a:cubicBezTo>
                    <a:cubicBezTo>
                      <a:pt x="93900" y="323889"/>
                      <a:pt x="83734" y="319551"/>
                      <a:pt x="74254" y="315471"/>
                    </a:cubicBezTo>
                    <a:lnTo>
                      <a:pt x="70089" y="324077"/>
                    </a:lnTo>
                    <a:cubicBezTo>
                      <a:pt x="69094" y="323580"/>
                      <a:pt x="68169" y="323117"/>
                      <a:pt x="67226" y="322637"/>
                    </a:cubicBez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29" name="Freeform: Shape 928">
                <a:extLst>
                  <a:ext uri="{FF2B5EF4-FFF2-40B4-BE49-F238E27FC236}">
                    <a16:creationId xmlns:a16="http://schemas.microsoft.com/office/drawing/2014/main" id="{8C9C5A5B-C549-4174-9891-34D213008AF5}"/>
                  </a:ext>
                </a:extLst>
              </p:cNvPr>
              <p:cNvSpPr/>
              <p:nvPr/>
            </p:nvSpPr>
            <p:spPr>
              <a:xfrm>
                <a:off x="2514929" y="5996215"/>
                <a:ext cx="207568" cy="138336"/>
              </a:xfrm>
              <a:custGeom>
                <a:avLst/>
                <a:gdLst>
                  <a:gd name="connsiteX0" fmla="*/ 176014 w 189000"/>
                  <a:gd name="connsiteY0" fmla="*/ 763 h 124714"/>
                  <a:gd name="connsiteX1" fmla="*/ 189763 w 189000"/>
                  <a:gd name="connsiteY1" fmla="*/ 46860 h 124714"/>
                  <a:gd name="connsiteX2" fmla="*/ 17546 w 189000"/>
                  <a:gd name="connsiteY2" fmla="*/ 125717 h 124714"/>
                  <a:gd name="connsiteX3" fmla="*/ 129 w 189000"/>
                  <a:gd name="connsiteY3" fmla="*/ 96986 h 124714"/>
                  <a:gd name="connsiteX4" fmla="*/ 96094 w 189000"/>
                  <a:gd name="connsiteY4" fmla="*/ 129 h 124714"/>
                  <a:gd name="connsiteX5" fmla="*/ 98323 w 189000"/>
                  <a:gd name="connsiteY5" fmla="*/ 351 h 124714"/>
                  <a:gd name="connsiteX6" fmla="*/ 132248 w 189000"/>
                  <a:gd name="connsiteY6" fmla="*/ 34140 h 124714"/>
                  <a:gd name="connsiteX7" fmla="*/ 173374 w 189000"/>
                  <a:gd name="connsiteY7" fmla="*/ 3746 h 124714"/>
                  <a:gd name="connsiteX8" fmla="*/ 176014 w 189000"/>
                  <a:gd name="connsiteY8" fmla="*/ 763 h 124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9000" h="124714">
                    <a:moveTo>
                      <a:pt x="176014" y="763"/>
                    </a:moveTo>
                    <a:cubicBezTo>
                      <a:pt x="182957" y="22997"/>
                      <a:pt x="189763" y="42111"/>
                      <a:pt x="189763" y="46860"/>
                    </a:cubicBezTo>
                    <a:cubicBezTo>
                      <a:pt x="189763" y="93403"/>
                      <a:pt x="43363" y="125717"/>
                      <a:pt x="17546" y="125717"/>
                    </a:cubicBezTo>
                    <a:cubicBezTo>
                      <a:pt x="5186" y="125717"/>
                      <a:pt x="540" y="110443"/>
                      <a:pt x="129" y="96986"/>
                    </a:cubicBezTo>
                    <a:cubicBezTo>
                      <a:pt x="87986" y="26306"/>
                      <a:pt x="66146" y="129"/>
                      <a:pt x="96094" y="129"/>
                    </a:cubicBezTo>
                    <a:cubicBezTo>
                      <a:pt x="96848" y="129"/>
                      <a:pt x="97603" y="214"/>
                      <a:pt x="98323" y="351"/>
                    </a:cubicBezTo>
                    <a:cubicBezTo>
                      <a:pt x="113237" y="3163"/>
                      <a:pt x="115191" y="34140"/>
                      <a:pt x="132248" y="34140"/>
                    </a:cubicBezTo>
                    <a:cubicBezTo>
                      <a:pt x="143254" y="34140"/>
                      <a:pt x="160414" y="18249"/>
                      <a:pt x="173374" y="3746"/>
                    </a:cubicBezTo>
                    <a:cubicBezTo>
                      <a:pt x="174283" y="2734"/>
                      <a:pt x="175174" y="1740"/>
                      <a:pt x="176014" y="763"/>
                    </a:cubicBezTo>
                  </a:path>
                </a:pathLst>
              </a:custGeom>
              <a:solidFill>
                <a:schemeClr val="bg2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0" name="Freeform: Shape 929">
                <a:extLst>
                  <a:ext uri="{FF2B5EF4-FFF2-40B4-BE49-F238E27FC236}">
                    <a16:creationId xmlns:a16="http://schemas.microsoft.com/office/drawing/2014/main" id="{474E3EAD-3D03-495D-9C8C-995C8C76DECD}"/>
                  </a:ext>
                </a:extLst>
              </p:cNvPr>
              <p:cNvSpPr/>
              <p:nvPr/>
            </p:nvSpPr>
            <p:spPr>
              <a:xfrm>
                <a:off x="2621848" y="5930385"/>
                <a:ext cx="87546" cy="102683"/>
              </a:xfrm>
              <a:custGeom>
                <a:avLst/>
                <a:gdLst>
                  <a:gd name="connsiteX0" fmla="*/ 80854 w 79714"/>
                  <a:gd name="connsiteY0" fmla="*/ 129 h 92571"/>
                  <a:gd name="connsiteX1" fmla="*/ 76294 w 79714"/>
                  <a:gd name="connsiteY1" fmla="*/ 52226 h 92571"/>
                  <a:gd name="connsiteX2" fmla="*/ 75986 w 79714"/>
                  <a:gd name="connsiteY2" fmla="*/ 62477 h 92571"/>
                  <a:gd name="connsiteX3" fmla="*/ 75986 w 79714"/>
                  <a:gd name="connsiteY3" fmla="*/ 63060 h 92571"/>
                  <a:gd name="connsiteX4" fmla="*/ 76020 w 79714"/>
                  <a:gd name="connsiteY4" fmla="*/ 63094 h 92571"/>
                  <a:gd name="connsiteX5" fmla="*/ 34894 w 79714"/>
                  <a:gd name="connsiteY5" fmla="*/ 93489 h 92571"/>
                  <a:gd name="connsiteX6" fmla="*/ 969 w 79714"/>
                  <a:gd name="connsiteY6" fmla="*/ 59700 h 92571"/>
                  <a:gd name="connsiteX7" fmla="*/ 129 w 79714"/>
                  <a:gd name="connsiteY7" fmla="*/ 11460 h 92571"/>
                  <a:gd name="connsiteX8" fmla="*/ 28534 w 79714"/>
                  <a:gd name="connsiteY8" fmla="*/ 18969 h 92571"/>
                  <a:gd name="connsiteX9" fmla="*/ 80854 w 79714"/>
                  <a:gd name="connsiteY9" fmla="*/ 129 h 9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9714" h="92571">
                    <a:moveTo>
                      <a:pt x="80854" y="129"/>
                    </a:moveTo>
                    <a:cubicBezTo>
                      <a:pt x="78711" y="20991"/>
                      <a:pt x="76963" y="39300"/>
                      <a:pt x="76294" y="52226"/>
                    </a:cubicBezTo>
                    <a:cubicBezTo>
                      <a:pt x="76123" y="56169"/>
                      <a:pt x="75986" y="59614"/>
                      <a:pt x="75986" y="62477"/>
                    </a:cubicBezTo>
                    <a:lnTo>
                      <a:pt x="75986" y="63060"/>
                    </a:lnTo>
                    <a:lnTo>
                      <a:pt x="76020" y="63094"/>
                    </a:lnTo>
                    <a:cubicBezTo>
                      <a:pt x="62871" y="77426"/>
                      <a:pt x="45900" y="93489"/>
                      <a:pt x="34894" y="93489"/>
                    </a:cubicBezTo>
                    <a:cubicBezTo>
                      <a:pt x="17837" y="93489"/>
                      <a:pt x="15883" y="62511"/>
                      <a:pt x="969" y="59700"/>
                    </a:cubicBezTo>
                    <a:cubicBezTo>
                      <a:pt x="883" y="43500"/>
                      <a:pt x="574" y="27437"/>
                      <a:pt x="129" y="11460"/>
                    </a:cubicBezTo>
                    <a:cubicBezTo>
                      <a:pt x="8443" y="15934"/>
                      <a:pt x="18197" y="18969"/>
                      <a:pt x="28534" y="18969"/>
                    </a:cubicBezTo>
                    <a:cubicBezTo>
                      <a:pt x="46363" y="18969"/>
                      <a:pt x="65460" y="10243"/>
                      <a:pt x="80854" y="129"/>
                    </a:cubicBez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1" name="Freeform: Shape 930">
                <a:extLst>
                  <a:ext uri="{FF2B5EF4-FFF2-40B4-BE49-F238E27FC236}">
                    <a16:creationId xmlns:a16="http://schemas.microsoft.com/office/drawing/2014/main" id="{20591318-0408-40C2-AF9E-6D54A8A63EF3}"/>
                  </a:ext>
                </a:extLst>
              </p:cNvPr>
              <p:cNvSpPr/>
              <p:nvPr/>
            </p:nvSpPr>
            <p:spPr>
              <a:xfrm>
                <a:off x="2532928" y="4943715"/>
                <a:ext cx="94607" cy="141189"/>
              </a:xfrm>
              <a:custGeom>
                <a:avLst/>
                <a:gdLst>
                  <a:gd name="connsiteX0" fmla="*/ 86323 w 86142"/>
                  <a:gd name="connsiteY0" fmla="*/ 17597 h 127285"/>
                  <a:gd name="connsiteX1" fmla="*/ 79431 w 86142"/>
                  <a:gd name="connsiteY1" fmla="*/ 54968 h 127285"/>
                  <a:gd name="connsiteX2" fmla="*/ 60420 w 86142"/>
                  <a:gd name="connsiteY2" fmla="*/ 128443 h 127285"/>
                  <a:gd name="connsiteX3" fmla="*/ 31363 w 86142"/>
                  <a:gd name="connsiteY3" fmla="*/ 106963 h 127285"/>
                  <a:gd name="connsiteX4" fmla="*/ 129 w 86142"/>
                  <a:gd name="connsiteY4" fmla="*/ 69677 h 127285"/>
                  <a:gd name="connsiteX5" fmla="*/ 31363 w 86142"/>
                  <a:gd name="connsiteY5" fmla="*/ 129 h 127285"/>
                  <a:gd name="connsiteX6" fmla="*/ 86323 w 86142"/>
                  <a:gd name="connsiteY6" fmla="*/ 17597 h 127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6142" h="127285">
                    <a:moveTo>
                      <a:pt x="86323" y="17597"/>
                    </a:moveTo>
                    <a:cubicBezTo>
                      <a:pt x="84351" y="29940"/>
                      <a:pt x="82071" y="42420"/>
                      <a:pt x="79431" y="54968"/>
                    </a:cubicBezTo>
                    <a:cubicBezTo>
                      <a:pt x="74374" y="79260"/>
                      <a:pt x="68014" y="103826"/>
                      <a:pt x="60420" y="128443"/>
                    </a:cubicBezTo>
                    <a:cubicBezTo>
                      <a:pt x="49946" y="122357"/>
                      <a:pt x="40277" y="115157"/>
                      <a:pt x="31363" y="106963"/>
                    </a:cubicBezTo>
                    <a:cubicBezTo>
                      <a:pt x="19500" y="96180"/>
                      <a:pt x="9026" y="83649"/>
                      <a:pt x="129" y="69677"/>
                    </a:cubicBezTo>
                    <a:cubicBezTo>
                      <a:pt x="11906" y="44751"/>
                      <a:pt x="22414" y="22243"/>
                      <a:pt x="31363" y="129"/>
                    </a:cubicBezTo>
                    <a:cubicBezTo>
                      <a:pt x="49037" y="6403"/>
                      <a:pt x="67757" y="12266"/>
                      <a:pt x="86323" y="17597"/>
                    </a:cubicBez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2" name="Freeform: Shape 931">
                <a:extLst>
                  <a:ext uri="{FF2B5EF4-FFF2-40B4-BE49-F238E27FC236}">
                    <a16:creationId xmlns:a16="http://schemas.microsoft.com/office/drawing/2014/main" id="{F2BD4350-E04A-4851-82B8-16A3579E347E}"/>
                  </a:ext>
                </a:extLst>
              </p:cNvPr>
              <p:cNvSpPr/>
              <p:nvPr/>
            </p:nvSpPr>
            <p:spPr>
              <a:xfrm>
                <a:off x="2405225" y="4749911"/>
                <a:ext cx="194861" cy="148319"/>
              </a:xfrm>
              <a:custGeom>
                <a:avLst/>
                <a:gdLst>
                  <a:gd name="connsiteX0" fmla="*/ 174591 w 177428"/>
                  <a:gd name="connsiteY0" fmla="*/ 82346 h 133714"/>
                  <a:gd name="connsiteX1" fmla="*/ 177454 w 177428"/>
                  <a:gd name="connsiteY1" fmla="*/ 83786 h 133714"/>
                  <a:gd name="connsiteX2" fmla="*/ 152529 w 177428"/>
                  <a:gd name="connsiteY2" fmla="*/ 133997 h 133714"/>
                  <a:gd name="connsiteX3" fmla="*/ 129 w 177428"/>
                  <a:gd name="connsiteY3" fmla="*/ 15831 h 133714"/>
                  <a:gd name="connsiteX4" fmla="*/ 3317 w 177428"/>
                  <a:gd name="connsiteY4" fmla="*/ 14409 h 133714"/>
                  <a:gd name="connsiteX5" fmla="*/ 11134 w 177428"/>
                  <a:gd name="connsiteY5" fmla="*/ 14854 h 133714"/>
                  <a:gd name="connsiteX6" fmla="*/ 87146 w 177428"/>
                  <a:gd name="connsiteY6" fmla="*/ 35580 h 133714"/>
                  <a:gd name="connsiteX7" fmla="*/ 89374 w 177428"/>
                  <a:gd name="connsiteY7" fmla="*/ 33026 h 133714"/>
                  <a:gd name="connsiteX8" fmla="*/ 71066 w 177428"/>
                  <a:gd name="connsiteY8" fmla="*/ 129 h 133714"/>
                  <a:gd name="connsiteX9" fmla="*/ 107494 w 177428"/>
                  <a:gd name="connsiteY9" fmla="*/ 29357 h 133714"/>
                  <a:gd name="connsiteX10" fmla="*/ 174591 w 177428"/>
                  <a:gd name="connsiteY10" fmla="*/ 82346 h 13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77428" h="133714">
                    <a:moveTo>
                      <a:pt x="174591" y="82346"/>
                    </a:moveTo>
                    <a:cubicBezTo>
                      <a:pt x="175534" y="82826"/>
                      <a:pt x="176460" y="83289"/>
                      <a:pt x="177454" y="83786"/>
                    </a:cubicBezTo>
                    <a:cubicBezTo>
                      <a:pt x="169346" y="100569"/>
                      <a:pt x="161066" y="117351"/>
                      <a:pt x="152529" y="133997"/>
                    </a:cubicBezTo>
                    <a:cubicBezTo>
                      <a:pt x="90403" y="92409"/>
                      <a:pt x="13329" y="62511"/>
                      <a:pt x="129" y="15831"/>
                    </a:cubicBezTo>
                    <a:cubicBezTo>
                      <a:pt x="1071" y="15163"/>
                      <a:pt x="2134" y="14700"/>
                      <a:pt x="3317" y="14409"/>
                    </a:cubicBezTo>
                    <a:cubicBezTo>
                      <a:pt x="5409" y="13877"/>
                      <a:pt x="7997" y="14117"/>
                      <a:pt x="11134" y="14854"/>
                    </a:cubicBezTo>
                    <a:cubicBezTo>
                      <a:pt x="27317" y="18677"/>
                      <a:pt x="56340" y="35974"/>
                      <a:pt x="87146" y="35580"/>
                    </a:cubicBezTo>
                    <a:cubicBezTo>
                      <a:pt x="87986" y="34723"/>
                      <a:pt x="88740" y="33917"/>
                      <a:pt x="89374" y="33026"/>
                    </a:cubicBezTo>
                    <a:lnTo>
                      <a:pt x="71066" y="129"/>
                    </a:lnTo>
                    <a:cubicBezTo>
                      <a:pt x="88877" y="12626"/>
                      <a:pt x="99900" y="21883"/>
                      <a:pt x="107494" y="29357"/>
                    </a:cubicBezTo>
                    <a:cubicBezTo>
                      <a:pt x="129968" y="51249"/>
                      <a:pt x="123729" y="56717"/>
                      <a:pt x="174591" y="82346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3" name="Freeform: Shape 932">
                <a:extLst>
                  <a:ext uri="{FF2B5EF4-FFF2-40B4-BE49-F238E27FC236}">
                    <a16:creationId xmlns:a16="http://schemas.microsoft.com/office/drawing/2014/main" id="{E5145648-0614-49E1-9A48-E8E35DD80DE1}"/>
                  </a:ext>
                </a:extLst>
              </p:cNvPr>
              <p:cNvSpPr/>
              <p:nvPr/>
            </p:nvSpPr>
            <p:spPr>
              <a:xfrm>
                <a:off x="2434368" y="4677786"/>
                <a:ext cx="91781" cy="104109"/>
              </a:xfrm>
              <a:custGeom>
                <a:avLst/>
                <a:gdLst>
                  <a:gd name="connsiteX0" fmla="*/ 84180 w 83571"/>
                  <a:gd name="connsiteY0" fmla="*/ 62597 h 93857"/>
                  <a:gd name="connsiteX1" fmla="*/ 84283 w 83571"/>
                  <a:gd name="connsiteY1" fmla="*/ 64791 h 93857"/>
                  <a:gd name="connsiteX2" fmla="*/ 84283 w 83571"/>
                  <a:gd name="connsiteY2" fmla="*/ 64877 h 93857"/>
                  <a:gd name="connsiteX3" fmla="*/ 81009 w 83571"/>
                  <a:gd name="connsiteY3" fmla="*/ 94329 h 93857"/>
                  <a:gd name="connsiteX4" fmla="*/ 80957 w 83571"/>
                  <a:gd name="connsiteY4" fmla="*/ 94380 h 93857"/>
                  <a:gd name="connsiteX5" fmla="*/ 44529 w 83571"/>
                  <a:gd name="connsiteY5" fmla="*/ 65151 h 93857"/>
                  <a:gd name="connsiteX6" fmla="*/ 25551 w 83571"/>
                  <a:gd name="connsiteY6" fmla="*/ 31140 h 93857"/>
                  <a:gd name="connsiteX7" fmla="*/ 129 w 83571"/>
                  <a:gd name="connsiteY7" fmla="*/ 24197 h 93857"/>
                  <a:gd name="connsiteX8" fmla="*/ 25774 w 83571"/>
                  <a:gd name="connsiteY8" fmla="*/ 129 h 93857"/>
                  <a:gd name="connsiteX9" fmla="*/ 78369 w 83571"/>
                  <a:gd name="connsiteY9" fmla="*/ 48866 h 93857"/>
                  <a:gd name="connsiteX10" fmla="*/ 84180 w 83571"/>
                  <a:gd name="connsiteY10" fmla="*/ 62597 h 93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3571" h="93857">
                    <a:moveTo>
                      <a:pt x="84180" y="62597"/>
                    </a:moveTo>
                    <a:cubicBezTo>
                      <a:pt x="84249" y="63368"/>
                      <a:pt x="84283" y="64071"/>
                      <a:pt x="84283" y="64791"/>
                    </a:cubicBezTo>
                    <a:lnTo>
                      <a:pt x="84283" y="64877"/>
                    </a:lnTo>
                    <a:cubicBezTo>
                      <a:pt x="84283" y="74734"/>
                      <a:pt x="83151" y="84574"/>
                      <a:pt x="81009" y="94329"/>
                    </a:cubicBezTo>
                    <a:lnTo>
                      <a:pt x="80957" y="94380"/>
                    </a:lnTo>
                    <a:cubicBezTo>
                      <a:pt x="73363" y="86906"/>
                      <a:pt x="62340" y="77649"/>
                      <a:pt x="44529" y="65151"/>
                    </a:cubicBezTo>
                    <a:lnTo>
                      <a:pt x="25551" y="31140"/>
                    </a:lnTo>
                    <a:lnTo>
                      <a:pt x="129" y="24197"/>
                    </a:lnTo>
                    <a:cubicBezTo>
                      <a:pt x="7740" y="12574"/>
                      <a:pt x="17820" y="129"/>
                      <a:pt x="25774" y="129"/>
                    </a:cubicBezTo>
                    <a:cubicBezTo>
                      <a:pt x="44083" y="129"/>
                      <a:pt x="58363" y="24471"/>
                      <a:pt x="78369" y="48866"/>
                    </a:cubicBezTo>
                    <a:cubicBezTo>
                      <a:pt x="81643" y="52809"/>
                      <a:pt x="83786" y="57574"/>
                      <a:pt x="84180" y="62597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4" name="Freeform: Shape 933">
                <a:extLst>
                  <a:ext uri="{FF2B5EF4-FFF2-40B4-BE49-F238E27FC236}">
                    <a16:creationId xmlns:a16="http://schemas.microsoft.com/office/drawing/2014/main" id="{7E180025-D785-4691-A02B-1372DAF73BD6}"/>
                  </a:ext>
                </a:extLst>
              </p:cNvPr>
              <p:cNvSpPr/>
              <p:nvPr/>
            </p:nvSpPr>
            <p:spPr>
              <a:xfrm>
                <a:off x="2370092" y="4686876"/>
                <a:ext cx="132731" cy="101257"/>
              </a:xfrm>
              <a:custGeom>
                <a:avLst/>
                <a:gdLst>
                  <a:gd name="connsiteX0" fmla="*/ 103054 w 120857"/>
                  <a:gd name="connsiteY0" fmla="*/ 56957 h 91285"/>
                  <a:gd name="connsiteX1" fmla="*/ 121363 w 120857"/>
                  <a:gd name="connsiteY1" fmla="*/ 89854 h 91285"/>
                  <a:gd name="connsiteX2" fmla="*/ 119134 w 120857"/>
                  <a:gd name="connsiteY2" fmla="*/ 92409 h 91285"/>
                  <a:gd name="connsiteX3" fmla="*/ 43123 w 120857"/>
                  <a:gd name="connsiteY3" fmla="*/ 71683 h 91285"/>
                  <a:gd name="connsiteX4" fmla="*/ 129 w 120857"/>
                  <a:gd name="connsiteY4" fmla="*/ 129 h 91285"/>
                  <a:gd name="connsiteX5" fmla="*/ 84077 w 120857"/>
                  <a:gd name="connsiteY5" fmla="*/ 22946 h 91285"/>
                  <a:gd name="connsiteX6" fmla="*/ 103054 w 120857"/>
                  <a:gd name="connsiteY6" fmla="*/ 56957 h 91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0857" h="91285">
                    <a:moveTo>
                      <a:pt x="103054" y="56957"/>
                    </a:moveTo>
                    <a:lnTo>
                      <a:pt x="121363" y="89854"/>
                    </a:lnTo>
                    <a:cubicBezTo>
                      <a:pt x="120729" y="90746"/>
                      <a:pt x="119974" y="91551"/>
                      <a:pt x="119134" y="92409"/>
                    </a:cubicBezTo>
                    <a:cubicBezTo>
                      <a:pt x="88329" y="92803"/>
                      <a:pt x="59340" y="75403"/>
                      <a:pt x="43123" y="71683"/>
                    </a:cubicBezTo>
                    <a:lnTo>
                      <a:pt x="129" y="129"/>
                    </a:lnTo>
                    <a:lnTo>
                      <a:pt x="84077" y="22946"/>
                    </a:lnTo>
                    <a:lnTo>
                      <a:pt x="103054" y="56957"/>
                    </a:ln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5" name="Freeform: Shape 934">
                <a:extLst>
                  <a:ext uri="{FF2B5EF4-FFF2-40B4-BE49-F238E27FC236}">
                    <a16:creationId xmlns:a16="http://schemas.microsoft.com/office/drawing/2014/main" id="{69D58066-6505-41BD-B8B9-177BDF0E3671}"/>
                  </a:ext>
                </a:extLst>
              </p:cNvPr>
              <p:cNvSpPr/>
              <p:nvPr/>
            </p:nvSpPr>
            <p:spPr>
              <a:xfrm>
                <a:off x="2595389" y="4212827"/>
                <a:ext cx="377012" cy="309474"/>
              </a:xfrm>
              <a:custGeom>
                <a:avLst/>
                <a:gdLst>
                  <a:gd name="connsiteX0" fmla="*/ 204395 w 343285"/>
                  <a:gd name="connsiteY0" fmla="*/ 280103 h 279000"/>
                  <a:gd name="connsiteX1" fmla="*/ 199402 w 343285"/>
                  <a:gd name="connsiteY1" fmla="*/ 276161 h 279000"/>
                  <a:gd name="connsiteX2" fmla="*/ 203207 w 343285"/>
                  <a:gd name="connsiteY2" fmla="*/ 269964 h 279000"/>
                  <a:gd name="connsiteX3" fmla="*/ 331901 w 343285"/>
                  <a:gd name="connsiteY3" fmla="*/ 198438 h 279000"/>
                  <a:gd name="connsiteX4" fmla="*/ 315375 w 343285"/>
                  <a:gd name="connsiteY4" fmla="*/ 155161 h 279000"/>
                  <a:gd name="connsiteX5" fmla="*/ 315272 w 343285"/>
                  <a:gd name="connsiteY5" fmla="*/ 154834 h 279000"/>
                  <a:gd name="connsiteX6" fmla="*/ 125415 w 343285"/>
                  <a:gd name="connsiteY6" fmla="*/ 10406 h 279000"/>
                  <a:gd name="connsiteX7" fmla="*/ 10423 w 343285"/>
                  <a:gd name="connsiteY7" fmla="*/ 133230 h 279000"/>
                  <a:gd name="connsiteX8" fmla="*/ 23351 w 343285"/>
                  <a:gd name="connsiteY8" fmla="*/ 241044 h 279000"/>
                  <a:gd name="connsiteX9" fmla="*/ 58400 w 343285"/>
                  <a:gd name="connsiteY9" fmla="*/ 252388 h 279000"/>
                  <a:gd name="connsiteX10" fmla="*/ 62686 w 343285"/>
                  <a:gd name="connsiteY10" fmla="*/ 258258 h 279000"/>
                  <a:gd name="connsiteX11" fmla="*/ 56799 w 343285"/>
                  <a:gd name="connsiteY11" fmla="*/ 262545 h 279000"/>
                  <a:gd name="connsiteX12" fmla="*/ 16500 w 343285"/>
                  <a:gd name="connsiteY12" fmla="*/ 249031 h 279000"/>
                  <a:gd name="connsiteX13" fmla="*/ 14021 w 343285"/>
                  <a:gd name="connsiteY13" fmla="*/ 245915 h 279000"/>
                  <a:gd name="connsiteX14" fmla="*/ 129 w 343285"/>
                  <a:gd name="connsiteY14" fmla="*/ 133230 h 279000"/>
                  <a:gd name="connsiteX15" fmla="*/ 125415 w 343285"/>
                  <a:gd name="connsiteY15" fmla="*/ 129 h 279000"/>
                  <a:gd name="connsiteX16" fmla="*/ 325119 w 343285"/>
                  <a:gd name="connsiteY16" fmla="*/ 151908 h 279000"/>
                  <a:gd name="connsiteX17" fmla="*/ 342781 w 343285"/>
                  <a:gd name="connsiteY17" fmla="*/ 197647 h 279000"/>
                  <a:gd name="connsiteX18" fmla="*/ 341576 w 343285"/>
                  <a:gd name="connsiteY18" fmla="*/ 203499 h 279000"/>
                  <a:gd name="connsiteX19" fmla="*/ 205582 w 343285"/>
                  <a:gd name="connsiteY19" fmla="*/ 279965 h 279000"/>
                  <a:gd name="connsiteX20" fmla="*/ 204395 w 343285"/>
                  <a:gd name="connsiteY20" fmla="*/ 280103 h 279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343285" h="279000">
                    <a:moveTo>
                      <a:pt x="204395" y="280103"/>
                    </a:moveTo>
                    <a:cubicBezTo>
                      <a:pt x="202053" y="280103"/>
                      <a:pt x="199953" y="278520"/>
                      <a:pt x="199402" y="276161"/>
                    </a:cubicBezTo>
                    <a:cubicBezTo>
                      <a:pt x="198731" y="273390"/>
                      <a:pt x="200452" y="270618"/>
                      <a:pt x="203207" y="269964"/>
                    </a:cubicBezTo>
                    <a:cubicBezTo>
                      <a:pt x="258844" y="256726"/>
                      <a:pt x="303497" y="224277"/>
                      <a:pt x="331901" y="198438"/>
                    </a:cubicBezTo>
                    <a:cubicBezTo>
                      <a:pt x="325756" y="184254"/>
                      <a:pt x="320350" y="169294"/>
                      <a:pt x="315375" y="155161"/>
                    </a:cubicBezTo>
                    <a:lnTo>
                      <a:pt x="315272" y="154834"/>
                    </a:lnTo>
                    <a:cubicBezTo>
                      <a:pt x="285767" y="48243"/>
                      <a:pt x="194548" y="10406"/>
                      <a:pt x="125415" y="10406"/>
                    </a:cubicBezTo>
                    <a:cubicBezTo>
                      <a:pt x="79040" y="10406"/>
                      <a:pt x="10423" y="49448"/>
                      <a:pt x="10423" y="133230"/>
                    </a:cubicBezTo>
                    <a:cubicBezTo>
                      <a:pt x="10423" y="155919"/>
                      <a:pt x="12110" y="199798"/>
                      <a:pt x="23351" y="241044"/>
                    </a:cubicBezTo>
                    <a:cubicBezTo>
                      <a:pt x="31356" y="245296"/>
                      <a:pt x="41857" y="249772"/>
                      <a:pt x="58400" y="252388"/>
                    </a:cubicBezTo>
                    <a:cubicBezTo>
                      <a:pt x="61206" y="252836"/>
                      <a:pt x="63116" y="255469"/>
                      <a:pt x="62686" y="258258"/>
                    </a:cubicBezTo>
                    <a:cubicBezTo>
                      <a:pt x="62238" y="261081"/>
                      <a:pt x="59588" y="262975"/>
                      <a:pt x="56799" y="262545"/>
                    </a:cubicBezTo>
                    <a:cubicBezTo>
                      <a:pt x="37243" y="259463"/>
                      <a:pt x="24987" y="253714"/>
                      <a:pt x="16500" y="249031"/>
                    </a:cubicBezTo>
                    <a:cubicBezTo>
                      <a:pt x="15278" y="248377"/>
                      <a:pt x="14400" y="247258"/>
                      <a:pt x="14021" y="245915"/>
                    </a:cubicBezTo>
                    <a:cubicBezTo>
                      <a:pt x="1954" y="202880"/>
                      <a:pt x="129" y="156849"/>
                      <a:pt x="129" y="133230"/>
                    </a:cubicBezTo>
                    <a:cubicBezTo>
                      <a:pt x="129" y="42425"/>
                      <a:pt x="74891" y="129"/>
                      <a:pt x="125415" y="129"/>
                    </a:cubicBezTo>
                    <a:cubicBezTo>
                      <a:pt x="198111" y="129"/>
                      <a:pt x="294030" y="39877"/>
                      <a:pt x="325119" y="151908"/>
                    </a:cubicBezTo>
                    <a:cubicBezTo>
                      <a:pt x="330404" y="166936"/>
                      <a:pt x="336205" y="182859"/>
                      <a:pt x="342781" y="197647"/>
                    </a:cubicBezTo>
                    <a:cubicBezTo>
                      <a:pt x="343676" y="199643"/>
                      <a:pt x="343194" y="202002"/>
                      <a:pt x="341576" y="203499"/>
                    </a:cubicBezTo>
                    <a:cubicBezTo>
                      <a:pt x="312449" y="230560"/>
                      <a:pt x="265196" y="265798"/>
                      <a:pt x="205582" y="279965"/>
                    </a:cubicBezTo>
                    <a:cubicBezTo>
                      <a:pt x="205186" y="280069"/>
                      <a:pt x="204790" y="280103"/>
                      <a:pt x="204395" y="280103"/>
                    </a:cubicBezTo>
                  </a:path>
                </a:pathLst>
              </a:custGeom>
              <a:solidFill>
                <a:srgbClr val="3A3A3A"/>
              </a:solidFill>
              <a:ln w="1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6" name="Freeform: Shape 935">
                <a:extLst>
                  <a:ext uri="{FF2B5EF4-FFF2-40B4-BE49-F238E27FC236}">
                    <a16:creationId xmlns:a16="http://schemas.microsoft.com/office/drawing/2014/main" id="{73B938CD-7526-48BA-8CD5-516CB7FF2D51}"/>
                  </a:ext>
                </a:extLst>
              </p:cNvPr>
              <p:cNvSpPr/>
              <p:nvPr/>
            </p:nvSpPr>
            <p:spPr>
              <a:xfrm>
                <a:off x="2546156" y="4357934"/>
                <a:ext cx="432082" cy="644621"/>
              </a:xfrm>
              <a:custGeom>
                <a:avLst/>
                <a:gdLst>
                  <a:gd name="connsiteX0" fmla="*/ 216015 w 393428"/>
                  <a:gd name="connsiteY0" fmla="*/ 581130 h 581142"/>
                  <a:gd name="connsiteX1" fmla="*/ 72855 w 393428"/>
                  <a:gd name="connsiteY1" fmla="*/ 550633 h 581142"/>
                  <a:gd name="connsiteX2" fmla="*/ 17604 w 393428"/>
                  <a:gd name="connsiteY2" fmla="*/ 533078 h 581142"/>
                  <a:gd name="connsiteX3" fmla="*/ 3444 w 393428"/>
                  <a:gd name="connsiteY3" fmla="*/ 527901 h 581142"/>
                  <a:gd name="connsiteX4" fmla="*/ 444 w 393428"/>
                  <a:gd name="connsiteY4" fmla="*/ 524867 h 581142"/>
                  <a:gd name="connsiteX5" fmla="*/ 769 w 393428"/>
                  <a:gd name="connsiteY5" fmla="*/ 520616 h 581142"/>
                  <a:gd name="connsiteX6" fmla="*/ 19627 w 393428"/>
                  <a:gd name="connsiteY6" fmla="*/ 485027 h 581142"/>
                  <a:gd name="connsiteX7" fmla="*/ 48667 w 393428"/>
                  <a:gd name="connsiteY7" fmla="*/ 426330 h 581142"/>
                  <a:gd name="connsiteX8" fmla="*/ 55318 w 393428"/>
                  <a:gd name="connsiteY8" fmla="*/ 423844 h 581142"/>
                  <a:gd name="connsiteX9" fmla="*/ 85301 w 393428"/>
                  <a:gd name="connsiteY9" fmla="*/ 436581 h 581142"/>
                  <a:gd name="connsiteX10" fmla="*/ 182278 w 393428"/>
                  <a:gd name="connsiteY10" fmla="*/ 470644 h 581142"/>
                  <a:gd name="connsiteX11" fmla="*/ 206141 w 393428"/>
                  <a:gd name="connsiteY11" fmla="*/ 458781 h 581142"/>
                  <a:gd name="connsiteX12" fmla="*/ 239586 w 393428"/>
                  <a:gd name="connsiteY12" fmla="*/ 406341 h 581142"/>
                  <a:gd name="connsiteX13" fmla="*/ 250986 w 393428"/>
                  <a:gd name="connsiteY13" fmla="*/ 385273 h 581142"/>
                  <a:gd name="connsiteX14" fmla="*/ 262455 w 393428"/>
                  <a:gd name="connsiteY14" fmla="*/ 367256 h 581142"/>
                  <a:gd name="connsiteX15" fmla="*/ 291632 w 393428"/>
                  <a:gd name="connsiteY15" fmla="*/ 315261 h 581142"/>
                  <a:gd name="connsiteX16" fmla="*/ 298301 w 393428"/>
                  <a:gd name="connsiteY16" fmla="*/ 312398 h 581142"/>
                  <a:gd name="connsiteX17" fmla="*/ 301181 w 393428"/>
                  <a:gd name="connsiteY17" fmla="*/ 319067 h 581142"/>
                  <a:gd name="connsiteX18" fmla="*/ 271095 w 393428"/>
                  <a:gd name="connsiteY18" fmla="*/ 372861 h 581142"/>
                  <a:gd name="connsiteX19" fmla="*/ 259747 w 393428"/>
                  <a:gd name="connsiteY19" fmla="*/ 390656 h 581142"/>
                  <a:gd name="connsiteX20" fmla="*/ 248741 w 393428"/>
                  <a:gd name="connsiteY20" fmla="*/ 411038 h 581142"/>
                  <a:gd name="connsiteX21" fmla="*/ 213375 w 393428"/>
                  <a:gd name="connsiteY21" fmla="*/ 466101 h 581142"/>
                  <a:gd name="connsiteX22" fmla="*/ 182278 w 393428"/>
                  <a:gd name="connsiteY22" fmla="*/ 480930 h 581142"/>
                  <a:gd name="connsiteX23" fmla="*/ 81341 w 393428"/>
                  <a:gd name="connsiteY23" fmla="*/ 446061 h 581142"/>
                  <a:gd name="connsiteX24" fmla="*/ 55764 w 393428"/>
                  <a:gd name="connsiteY24" fmla="*/ 435227 h 581142"/>
                  <a:gd name="connsiteX25" fmla="*/ 28781 w 393428"/>
                  <a:gd name="connsiteY25" fmla="*/ 489724 h 581142"/>
                  <a:gd name="connsiteX26" fmla="*/ 12632 w 393428"/>
                  <a:gd name="connsiteY26" fmla="*/ 520341 h 581142"/>
                  <a:gd name="connsiteX27" fmla="*/ 21049 w 393428"/>
                  <a:gd name="connsiteY27" fmla="*/ 523393 h 581142"/>
                  <a:gd name="connsiteX28" fmla="*/ 75701 w 393428"/>
                  <a:gd name="connsiteY28" fmla="*/ 540741 h 581142"/>
                  <a:gd name="connsiteX29" fmla="*/ 216015 w 393428"/>
                  <a:gd name="connsiteY29" fmla="*/ 570844 h 581142"/>
                  <a:gd name="connsiteX30" fmla="*/ 223061 w 393428"/>
                  <a:gd name="connsiteY30" fmla="*/ 570244 h 581142"/>
                  <a:gd name="connsiteX31" fmla="*/ 329981 w 393428"/>
                  <a:gd name="connsiteY31" fmla="*/ 467404 h 581142"/>
                  <a:gd name="connsiteX32" fmla="*/ 383758 w 393428"/>
                  <a:gd name="connsiteY32" fmla="*/ 323610 h 581142"/>
                  <a:gd name="connsiteX33" fmla="*/ 272209 w 393428"/>
                  <a:gd name="connsiteY33" fmla="*/ 162553 h 581142"/>
                  <a:gd name="connsiteX34" fmla="*/ 257964 w 393428"/>
                  <a:gd name="connsiteY34" fmla="*/ 154393 h 581142"/>
                  <a:gd name="connsiteX35" fmla="*/ 247232 w 393428"/>
                  <a:gd name="connsiteY35" fmla="*/ 148907 h 581142"/>
                  <a:gd name="connsiteX36" fmla="*/ 246786 w 393428"/>
                  <a:gd name="connsiteY36" fmla="*/ 148701 h 581142"/>
                  <a:gd name="connsiteX37" fmla="*/ 241507 w 393428"/>
                  <a:gd name="connsiteY37" fmla="*/ 145993 h 581142"/>
                  <a:gd name="connsiteX38" fmla="*/ 238918 w 393428"/>
                  <a:gd name="connsiteY38" fmla="*/ 142856 h 581142"/>
                  <a:gd name="connsiteX39" fmla="*/ 249118 w 393428"/>
                  <a:gd name="connsiteY39" fmla="*/ 37016 h 581142"/>
                  <a:gd name="connsiteX40" fmla="*/ 257638 w 393428"/>
                  <a:gd name="connsiteY40" fmla="*/ 21741 h 581142"/>
                  <a:gd name="connsiteX41" fmla="*/ 248827 w 393428"/>
                  <a:gd name="connsiteY41" fmla="*/ 14404 h 581142"/>
                  <a:gd name="connsiteX42" fmla="*/ 218124 w 393428"/>
                  <a:gd name="connsiteY42" fmla="*/ 24330 h 581142"/>
                  <a:gd name="connsiteX43" fmla="*/ 169832 w 393428"/>
                  <a:gd name="connsiteY43" fmla="*/ 38164 h 581142"/>
                  <a:gd name="connsiteX44" fmla="*/ 106267 w 393428"/>
                  <a:gd name="connsiteY44" fmla="*/ 16273 h 581142"/>
                  <a:gd name="connsiteX45" fmla="*/ 131295 w 393428"/>
                  <a:gd name="connsiteY45" fmla="*/ 109701 h 581142"/>
                  <a:gd name="connsiteX46" fmla="*/ 156032 w 393428"/>
                  <a:gd name="connsiteY46" fmla="*/ 118033 h 581142"/>
                  <a:gd name="connsiteX47" fmla="*/ 161981 w 393428"/>
                  <a:gd name="connsiteY47" fmla="*/ 121547 h 581142"/>
                  <a:gd name="connsiteX48" fmla="*/ 173964 w 393428"/>
                  <a:gd name="connsiteY48" fmla="*/ 163461 h 581142"/>
                  <a:gd name="connsiteX49" fmla="*/ 170484 w 393428"/>
                  <a:gd name="connsiteY49" fmla="*/ 169856 h 581142"/>
                  <a:gd name="connsiteX50" fmla="*/ 164089 w 393428"/>
                  <a:gd name="connsiteY50" fmla="*/ 166358 h 581142"/>
                  <a:gd name="connsiteX51" fmla="*/ 153375 w 393428"/>
                  <a:gd name="connsiteY51" fmla="*/ 128798 h 581142"/>
                  <a:gd name="connsiteX52" fmla="*/ 123786 w 393428"/>
                  <a:gd name="connsiteY52" fmla="*/ 116730 h 581142"/>
                  <a:gd name="connsiteX53" fmla="*/ 95947 w 393428"/>
                  <a:gd name="connsiteY53" fmla="*/ 5164 h 581142"/>
                  <a:gd name="connsiteX54" fmla="*/ 99084 w 393428"/>
                  <a:gd name="connsiteY54" fmla="*/ 536 h 581142"/>
                  <a:gd name="connsiteX55" fmla="*/ 104586 w 393428"/>
                  <a:gd name="connsiteY55" fmla="*/ 1495 h 581142"/>
                  <a:gd name="connsiteX56" fmla="*/ 169832 w 393428"/>
                  <a:gd name="connsiteY56" fmla="*/ 27878 h 581142"/>
                  <a:gd name="connsiteX57" fmla="*/ 213512 w 393428"/>
                  <a:gd name="connsiteY57" fmla="*/ 15141 h 581142"/>
                  <a:gd name="connsiteX58" fmla="*/ 248827 w 393428"/>
                  <a:gd name="connsiteY58" fmla="*/ 4118 h 581142"/>
                  <a:gd name="connsiteX59" fmla="*/ 267924 w 393428"/>
                  <a:gd name="connsiteY59" fmla="*/ 21741 h 581142"/>
                  <a:gd name="connsiteX60" fmla="*/ 256747 w 393428"/>
                  <a:gd name="connsiteY60" fmla="*/ 43907 h 581142"/>
                  <a:gd name="connsiteX61" fmla="*/ 248175 w 393428"/>
                  <a:gd name="connsiteY61" fmla="*/ 137850 h 581142"/>
                  <a:gd name="connsiteX62" fmla="*/ 262867 w 393428"/>
                  <a:gd name="connsiteY62" fmla="*/ 145358 h 581142"/>
                  <a:gd name="connsiteX63" fmla="*/ 277524 w 393428"/>
                  <a:gd name="connsiteY63" fmla="*/ 153758 h 581142"/>
                  <a:gd name="connsiteX64" fmla="*/ 394044 w 393428"/>
                  <a:gd name="connsiteY64" fmla="*/ 323610 h 581142"/>
                  <a:gd name="connsiteX65" fmla="*/ 338809 w 393428"/>
                  <a:gd name="connsiteY65" fmla="*/ 472701 h 581142"/>
                  <a:gd name="connsiteX66" fmla="*/ 224724 w 393428"/>
                  <a:gd name="connsiteY66" fmla="*/ 580393 h 581142"/>
                  <a:gd name="connsiteX67" fmla="*/ 216015 w 393428"/>
                  <a:gd name="connsiteY67" fmla="*/ 581130 h 58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393428" h="581142">
                    <a:moveTo>
                      <a:pt x="216015" y="581130"/>
                    </a:moveTo>
                    <a:cubicBezTo>
                      <a:pt x="200655" y="581130"/>
                      <a:pt x="138769" y="569524"/>
                      <a:pt x="72855" y="550633"/>
                    </a:cubicBezTo>
                    <a:cubicBezTo>
                      <a:pt x="52832" y="544890"/>
                      <a:pt x="34232" y="538976"/>
                      <a:pt x="17604" y="533078"/>
                    </a:cubicBezTo>
                    <a:cubicBezTo>
                      <a:pt x="12786" y="531364"/>
                      <a:pt x="8089" y="529650"/>
                      <a:pt x="3444" y="527901"/>
                    </a:cubicBezTo>
                    <a:cubicBezTo>
                      <a:pt x="2055" y="527370"/>
                      <a:pt x="958" y="526256"/>
                      <a:pt x="444" y="524867"/>
                    </a:cubicBezTo>
                    <a:cubicBezTo>
                      <a:pt x="-71" y="523461"/>
                      <a:pt x="49" y="521918"/>
                      <a:pt x="769" y="520616"/>
                    </a:cubicBezTo>
                    <a:cubicBezTo>
                      <a:pt x="6684" y="509816"/>
                      <a:pt x="12855" y="498158"/>
                      <a:pt x="19627" y="485027"/>
                    </a:cubicBezTo>
                    <a:cubicBezTo>
                      <a:pt x="27975" y="468776"/>
                      <a:pt x="46781" y="430187"/>
                      <a:pt x="48667" y="426330"/>
                    </a:cubicBezTo>
                    <a:cubicBezTo>
                      <a:pt x="49867" y="423844"/>
                      <a:pt x="52798" y="422747"/>
                      <a:pt x="55318" y="423844"/>
                    </a:cubicBezTo>
                    <a:cubicBezTo>
                      <a:pt x="64798" y="427907"/>
                      <a:pt x="74947" y="432244"/>
                      <a:pt x="85301" y="436581"/>
                    </a:cubicBezTo>
                    <a:cubicBezTo>
                      <a:pt x="152604" y="464730"/>
                      <a:pt x="175181" y="470644"/>
                      <a:pt x="182278" y="470644"/>
                    </a:cubicBezTo>
                    <a:cubicBezTo>
                      <a:pt x="190267" y="470644"/>
                      <a:pt x="198067" y="466753"/>
                      <a:pt x="206141" y="458781"/>
                    </a:cubicBezTo>
                    <a:cubicBezTo>
                      <a:pt x="219409" y="445650"/>
                      <a:pt x="230604" y="423861"/>
                      <a:pt x="239586" y="406341"/>
                    </a:cubicBezTo>
                    <a:cubicBezTo>
                      <a:pt x="243632" y="398438"/>
                      <a:pt x="247455" y="390998"/>
                      <a:pt x="250986" y="385273"/>
                    </a:cubicBezTo>
                    <a:cubicBezTo>
                      <a:pt x="254707" y="379221"/>
                      <a:pt x="258649" y="373136"/>
                      <a:pt x="262455" y="367256"/>
                    </a:cubicBezTo>
                    <a:cubicBezTo>
                      <a:pt x="273204" y="350695"/>
                      <a:pt x="284312" y="333553"/>
                      <a:pt x="291632" y="315261"/>
                    </a:cubicBezTo>
                    <a:cubicBezTo>
                      <a:pt x="292678" y="312621"/>
                      <a:pt x="295678" y="311353"/>
                      <a:pt x="298301" y="312398"/>
                    </a:cubicBezTo>
                    <a:cubicBezTo>
                      <a:pt x="300941" y="313444"/>
                      <a:pt x="302227" y="316444"/>
                      <a:pt x="301181" y="319067"/>
                    </a:cubicBezTo>
                    <a:cubicBezTo>
                      <a:pt x="293501" y="338301"/>
                      <a:pt x="282101" y="355873"/>
                      <a:pt x="271095" y="372861"/>
                    </a:cubicBezTo>
                    <a:cubicBezTo>
                      <a:pt x="267307" y="378690"/>
                      <a:pt x="263398" y="384707"/>
                      <a:pt x="259747" y="390656"/>
                    </a:cubicBezTo>
                    <a:cubicBezTo>
                      <a:pt x="256438" y="396038"/>
                      <a:pt x="252701" y="403324"/>
                      <a:pt x="248741" y="411038"/>
                    </a:cubicBezTo>
                    <a:cubicBezTo>
                      <a:pt x="239415" y="429210"/>
                      <a:pt x="227809" y="451804"/>
                      <a:pt x="213375" y="466101"/>
                    </a:cubicBezTo>
                    <a:cubicBezTo>
                      <a:pt x="203415" y="475941"/>
                      <a:pt x="192958" y="480930"/>
                      <a:pt x="182278" y="480930"/>
                    </a:cubicBezTo>
                    <a:cubicBezTo>
                      <a:pt x="170261" y="480930"/>
                      <a:pt x="138186" y="469838"/>
                      <a:pt x="81341" y="446061"/>
                    </a:cubicBezTo>
                    <a:cubicBezTo>
                      <a:pt x="72564" y="442393"/>
                      <a:pt x="63958" y="438724"/>
                      <a:pt x="55764" y="435227"/>
                    </a:cubicBezTo>
                    <a:cubicBezTo>
                      <a:pt x="50175" y="446695"/>
                      <a:pt x="35809" y="476061"/>
                      <a:pt x="28781" y="489724"/>
                    </a:cubicBezTo>
                    <a:cubicBezTo>
                      <a:pt x="23038" y="500867"/>
                      <a:pt x="17724" y="510947"/>
                      <a:pt x="12632" y="520341"/>
                    </a:cubicBezTo>
                    <a:cubicBezTo>
                      <a:pt x="15392" y="521370"/>
                      <a:pt x="18204" y="522381"/>
                      <a:pt x="21049" y="523393"/>
                    </a:cubicBezTo>
                    <a:cubicBezTo>
                      <a:pt x="37472" y="529221"/>
                      <a:pt x="55867" y="535050"/>
                      <a:pt x="75701" y="540741"/>
                    </a:cubicBezTo>
                    <a:cubicBezTo>
                      <a:pt x="139781" y="559118"/>
                      <a:pt x="201615" y="570844"/>
                      <a:pt x="216015" y="570844"/>
                    </a:cubicBezTo>
                    <a:cubicBezTo>
                      <a:pt x="218244" y="570844"/>
                      <a:pt x="220609" y="570638"/>
                      <a:pt x="223061" y="570244"/>
                    </a:cubicBezTo>
                    <a:cubicBezTo>
                      <a:pt x="254329" y="565136"/>
                      <a:pt x="294307" y="526684"/>
                      <a:pt x="329981" y="467404"/>
                    </a:cubicBezTo>
                    <a:cubicBezTo>
                      <a:pt x="361661" y="414810"/>
                      <a:pt x="383758" y="355684"/>
                      <a:pt x="383758" y="323610"/>
                    </a:cubicBezTo>
                    <a:cubicBezTo>
                      <a:pt x="383758" y="246261"/>
                      <a:pt x="323107" y="193324"/>
                      <a:pt x="272209" y="162553"/>
                    </a:cubicBezTo>
                    <a:cubicBezTo>
                      <a:pt x="267684" y="159827"/>
                      <a:pt x="262901" y="157067"/>
                      <a:pt x="257964" y="154393"/>
                    </a:cubicBezTo>
                    <a:cubicBezTo>
                      <a:pt x="257535" y="154170"/>
                      <a:pt x="247232" y="148907"/>
                      <a:pt x="247232" y="148907"/>
                    </a:cubicBezTo>
                    <a:lnTo>
                      <a:pt x="246786" y="148701"/>
                    </a:lnTo>
                    <a:cubicBezTo>
                      <a:pt x="245689" y="148118"/>
                      <a:pt x="241507" y="145993"/>
                      <a:pt x="241507" y="145993"/>
                    </a:cubicBezTo>
                    <a:cubicBezTo>
                      <a:pt x="240255" y="145341"/>
                      <a:pt x="239312" y="144210"/>
                      <a:pt x="238918" y="142856"/>
                    </a:cubicBezTo>
                    <a:cubicBezTo>
                      <a:pt x="218107" y="71404"/>
                      <a:pt x="236038" y="51518"/>
                      <a:pt x="249118" y="37016"/>
                    </a:cubicBezTo>
                    <a:cubicBezTo>
                      <a:pt x="254724" y="30810"/>
                      <a:pt x="257638" y="27295"/>
                      <a:pt x="257638" y="21741"/>
                    </a:cubicBezTo>
                    <a:cubicBezTo>
                      <a:pt x="257638" y="15673"/>
                      <a:pt x="252855" y="14404"/>
                      <a:pt x="248827" y="14404"/>
                    </a:cubicBezTo>
                    <a:cubicBezTo>
                      <a:pt x="237855" y="14404"/>
                      <a:pt x="228718" y="18998"/>
                      <a:pt x="218124" y="24330"/>
                    </a:cubicBezTo>
                    <a:cubicBezTo>
                      <a:pt x="205249" y="30810"/>
                      <a:pt x="190627" y="38164"/>
                      <a:pt x="169832" y="38164"/>
                    </a:cubicBezTo>
                    <a:cubicBezTo>
                      <a:pt x="147821" y="38164"/>
                      <a:pt x="124781" y="30124"/>
                      <a:pt x="106267" y="16273"/>
                    </a:cubicBezTo>
                    <a:cubicBezTo>
                      <a:pt x="107021" y="44781"/>
                      <a:pt x="112764" y="89936"/>
                      <a:pt x="131295" y="109701"/>
                    </a:cubicBezTo>
                    <a:cubicBezTo>
                      <a:pt x="138392" y="117278"/>
                      <a:pt x="146484" y="119987"/>
                      <a:pt x="156032" y="118033"/>
                    </a:cubicBezTo>
                    <a:cubicBezTo>
                      <a:pt x="158621" y="117501"/>
                      <a:pt x="161209" y="119010"/>
                      <a:pt x="161981" y="121547"/>
                    </a:cubicBezTo>
                    <a:cubicBezTo>
                      <a:pt x="162221" y="122284"/>
                      <a:pt x="171804" y="156107"/>
                      <a:pt x="173964" y="163461"/>
                    </a:cubicBezTo>
                    <a:cubicBezTo>
                      <a:pt x="174769" y="166187"/>
                      <a:pt x="173209" y="169050"/>
                      <a:pt x="170484" y="169856"/>
                    </a:cubicBezTo>
                    <a:cubicBezTo>
                      <a:pt x="167758" y="170627"/>
                      <a:pt x="164895" y="169084"/>
                      <a:pt x="164089" y="166358"/>
                    </a:cubicBezTo>
                    <a:cubicBezTo>
                      <a:pt x="161929" y="158987"/>
                      <a:pt x="153924" y="130736"/>
                      <a:pt x="153375" y="128798"/>
                    </a:cubicBezTo>
                    <a:cubicBezTo>
                      <a:pt x="142129" y="129810"/>
                      <a:pt x="132221" y="125747"/>
                      <a:pt x="123786" y="116730"/>
                    </a:cubicBezTo>
                    <a:cubicBezTo>
                      <a:pt x="100438" y="91821"/>
                      <a:pt x="95295" y="34873"/>
                      <a:pt x="95947" y="5164"/>
                    </a:cubicBezTo>
                    <a:cubicBezTo>
                      <a:pt x="95981" y="3141"/>
                      <a:pt x="97215" y="1324"/>
                      <a:pt x="99084" y="536"/>
                    </a:cubicBezTo>
                    <a:cubicBezTo>
                      <a:pt x="100935" y="-253"/>
                      <a:pt x="103095" y="124"/>
                      <a:pt x="104586" y="1495"/>
                    </a:cubicBezTo>
                    <a:cubicBezTo>
                      <a:pt x="122107" y="17764"/>
                      <a:pt x="147101" y="27878"/>
                      <a:pt x="169832" y="27878"/>
                    </a:cubicBezTo>
                    <a:cubicBezTo>
                      <a:pt x="188192" y="27878"/>
                      <a:pt x="201067" y="21398"/>
                      <a:pt x="213512" y="15141"/>
                    </a:cubicBezTo>
                    <a:cubicBezTo>
                      <a:pt x="224775" y="9467"/>
                      <a:pt x="235421" y="4118"/>
                      <a:pt x="248827" y="4118"/>
                    </a:cubicBezTo>
                    <a:cubicBezTo>
                      <a:pt x="260244" y="4118"/>
                      <a:pt x="267924" y="11198"/>
                      <a:pt x="267924" y="21741"/>
                    </a:cubicBezTo>
                    <a:cubicBezTo>
                      <a:pt x="267924" y="31513"/>
                      <a:pt x="262507" y="37530"/>
                      <a:pt x="256747" y="43907"/>
                    </a:cubicBezTo>
                    <a:cubicBezTo>
                      <a:pt x="245415" y="56473"/>
                      <a:pt x="229935" y="73650"/>
                      <a:pt x="248175" y="137850"/>
                    </a:cubicBezTo>
                    <a:cubicBezTo>
                      <a:pt x="249221" y="138364"/>
                      <a:pt x="262489" y="145153"/>
                      <a:pt x="262867" y="145358"/>
                    </a:cubicBezTo>
                    <a:cubicBezTo>
                      <a:pt x="267941" y="148118"/>
                      <a:pt x="272878" y="150930"/>
                      <a:pt x="277524" y="153758"/>
                    </a:cubicBezTo>
                    <a:cubicBezTo>
                      <a:pt x="330684" y="185901"/>
                      <a:pt x="394044" y="241461"/>
                      <a:pt x="394044" y="323610"/>
                    </a:cubicBezTo>
                    <a:cubicBezTo>
                      <a:pt x="394044" y="357895"/>
                      <a:pt x="371844" y="417810"/>
                      <a:pt x="338809" y="472701"/>
                    </a:cubicBezTo>
                    <a:cubicBezTo>
                      <a:pt x="320929" y="502393"/>
                      <a:pt x="274027" y="572336"/>
                      <a:pt x="224724" y="580393"/>
                    </a:cubicBezTo>
                    <a:cubicBezTo>
                      <a:pt x="221724" y="580873"/>
                      <a:pt x="218792" y="581130"/>
                      <a:pt x="216015" y="581130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7" name="Freeform: Shape 936">
                <a:extLst>
                  <a:ext uri="{FF2B5EF4-FFF2-40B4-BE49-F238E27FC236}">
                    <a16:creationId xmlns:a16="http://schemas.microsoft.com/office/drawing/2014/main" id="{CB405508-1336-42F5-AAF9-7BA0867EFDA5}"/>
                  </a:ext>
                </a:extLst>
              </p:cNvPr>
              <p:cNvSpPr/>
              <p:nvPr/>
            </p:nvSpPr>
            <p:spPr>
              <a:xfrm>
                <a:off x="2786255" y="4990289"/>
                <a:ext cx="139791" cy="171138"/>
              </a:xfrm>
              <a:custGeom>
                <a:avLst/>
                <a:gdLst>
                  <a:gd name="connsiteX0" fmla="*/ 39823 w 127285"/>
                  <a:gd name="connsiteY0" fmla="*/ 154753 h 154285"/>
                  <a:gd name="connsiteX1" fmla="*/ 35075 w 127285"/>
                  <a:gd name="connsiteY1" fmla="*/ 151581 h 154285"/>
                  <a:gd name="connsiteX2" fmla="*/ 9189 w 127285"/>
                  <a:gd name="connsiteY2" fmla="*/ 56936 h 154285"/>
                  <a:gd name="connsiteX3" fmla="*/ 189 w 127285"/>
                  <a:gd name="connsiteY3" fmla="*/ 6073 h 154285"/>
                  <a:gd name="connsiteX4" fmla="*/ 4475 w 127285"/>
                  <a:gd name="connsiteY4" fmla="*/ 193 h 154285"/>
                  <a:gd name="connsiteX5" fmla="*/ 10354 w 127285"/>
                  <a:gd name="connsiteY5" fmla="*/ 4461 h 154285"/>
                  <a:gd name="connsiteX6" fmla="*/ 19269 w 127285"/>
                  <a:gd name="connsiteY6" fmla="*/ 54947 h 154285"/>
                  <a:gd name="connsiteX7" fmla="*/ 42994 w 127285"/>
                  <a:gd name="connsiteY7" fmla="*/ 143696 h 154285"/>
                  <a:gd name="connsiteX8" fmla="*/ 119692 w 127285"/>
                  <a:gd name="connsiteY8" fmla="*/ 112959 h 154285"/>
                  <a:gd name="connsiteX9" fmla="*/ 126772 w 127285"/>
                  <a:gd name="connsiteY9" fmla="*/ 114638 h 154285"/>
                  <a:gd name="connsiteX10" fmla="*/ 125109 w 127285"/>
                  <a:gd name="connsiteY10" fmla="*/ 121719 h 154285"/>
                  <a:gd name="connsiteX11" fmla="*/ 40834 w 127285"/>
                  <a:gd name="connsiteY11" fmla="*/ 154650 h 154285"/>
                  <a:gd name="connsiteX12" fmla="*/ 39823 w 127285"/>
                  <a:gd name="connsiteY12" fmla="*/ 154753 h 154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7285" h="154285">
                    <a:moveTo>
                      <a:pt x="39823" y="154753"/>
                    </a:moveTo>
                    <a:cubicBezTo>
                      <a:pt x="37783" y="154753"/>
                      <a:pt x="35880" y="153519"/>
                      <a:pt x="35075" y="151581"/>
                    </a:cubicBezTo>
                    <a:cubicBezTo>
                      <a:pt x="25903" y="129433"/>
                      <a:pt x="17194" y="97599"/>
                      <a:pt x="9189" y="56936"/>
                    </a:cubicBezTo>
                    <a:cubicBezTo>
                      <a:pt x="6086" y="41216"/>
                      <a:pt x="3052" y="24107"/>
                      <a:pt x="189" y="6073"/>
                    </a:cubicBezTo>
                    <a:cubicBezTo>
                      <a:pt x="-240" y="3279"/>
                      <a:pt x="1663" y="638"/>
                      <a:pt x="4475" y="193"/>
                    </a:cubicBezTo>
                    <a:cubicBezTo>
                      <a:pt x="7286" y="-253"/>
                      <a:pt x="9909" y="1667"/>
                      <a:pt x="10354" y="4461"/>
                    </a:cubicBezTo>
                    <a:cubicBezTo>
                      <a:pt x="13200" y="22359"/>
                      <a:pt x="16200" y="39347"/>
                      <a:pt x="19269" y="54947"/>
                    </a:cubicBezTo>
                    <a:cubicBezTo>
                      <a:pt x="26692" y="92559"/>
                      <a:pt x="34663" y="122387"/>
                      <a:pt x="42994" y="143696"/>
                    </a:cubicBezTo>
                    <a:cubicBezTo>
                      <a:pt x="70852" y="137679"/>
                      <a:pt x="95983" y="127599"/>
                      <a:pt x="119692" y="112959"/>
                    </a:cubicBezTo>
                    <a:cubicBezTo>
                      <a:pt x="122109" y="111484"/>
                      <a:pt x="125280" y="112221"/>
                      <a:pt x="126772" y="114638"/>
                    </a:cubicBezTo>
                    <a:cubicBezTo>
                      <a:pt x="128263" y="117056"/>
                      <a:pt x="127526" y="120227"/>
                      <a:pt x="125109" y="121719"/>
                    </a:cubicBezTo>
                    <a:cubicBezTo>
                      <a:pt x="99154" y="137730"/>
                      <a:pt x="71589" y="148513"/>
                      <a:pt x="40834" y="154650"/>
                    </a:cubicBezTo>
                    <a:cubicBezTo>
                      <a:pt x="40492" y="154719"/>
                      <a:pt x="40166" y="154753"/>
                      <a:pt x="39823" y="154753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8" name="Freeform: Shape 937">
                <a:extLst>
                  <a:ext uri="{FF2B5EF4-FFF2-40B4-BE49-F238E27FC236}">
                    <a16:creationId xmlns:a16="http://schemas.microsoft.com/office/drawing/2014/main" id="{1EB6DBE2-E27F-427F-97F1-19FAB1A5D417}"/>
                  </a:ext>
                </a:extLst>
              </p:cNvPr>
              <p:cNvSpPr/>
              <p:nvPr/>
            </p:nvSpPr>
            <p:spPr>
              <a:xfrm>
                <a:off x="2907663" y="4873483"/>
                <a:ext cx="107314" cy="252429"/>
              </a:xfrm>
              <a:custGeom>
                <a:avLst/>
                <a:gdLst>
                  <a:gd name="connsiteX0" fmla="*/ 11853 w 97714"/>
                  <a:gd name="connsiteY0" fmla="*/ 227743 h 227571"/>
                  <a:gd name="connsiteX1" fmla="*/ 7481 w 97714"/>
                  <a:gd name="connsiteY1" fmla="*/ 225309 h 227571"/>
                  <a:gd name="connsiteX2" fmla="*/ 9144 w 97714"/>
                  <a:gd name="connsiteY2" fmla="*/ 218229 h 227571"/>
                  <a:gd name="connsiteX3" fmla="*/ 86047 w 97714"/>
                  <a:gd name="connsiteY3" fmla="*/ 148749 h 227571"/>
                  <a:gd name="connsiteX4" fmla="*/ 453 w 97714"/>
                  <a:gd name="connsiteY4" fmla="*/ 7046 h 227571"/>
                  <a:gd name="connsiteX5" fmla="*/ 3487 w 97714"/>
                  <a:gd name="connsiteY5" fmla="*/ 446 h 227571"/>
                  <a:gd name="connsiteX6" fmla="*/ 10104 w 97714"/>
                  <a:gd name="connsiteY6" fmla="*/ 3480 h 227571"/>
                  <a:gd name="connsiteX7" fmla="*/ 96590 w 97714"/>
                  <a:gd name="connsiteY7" fmla="*/ 144806 h 227571"/>
                  <a:gd name="connsiteX8" fmla="*/ 96933 w 97714"/>
                  <a:gd name="connsiteY8" fmla="*/ 151680 h 227571"/>
                  <a:gd name="connsiteX9" fmla="*/ 14561 w 97714"/>
                  <a:gd name="connsiteY9" fmla="*/ 226972 h 227571"/>
                  <a:gd name="connsiteX10" fmla="*/ 11853 w 97714"/>
                  <a:gd name="connsiteY10" fmla="*/ 227743 h 227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7714" h="227571">
                    <a:moveTo>
                      <a:pt x="11853" y="227743"/>
                    </a:moveTo>
                    <a:cubicBezTo>
                      <a:pt x="10139" y="227743"/>
                      <a:pt x="8459" y="226886"/>
                      <a:pt x="7481" y="225309"/>
                    </a:cubicBezTo>
                    <a:cubicBezTo>
                      <a:pt x="5990" y="222892"/>
                      <a:pt x="6727" y="219720"/>
                      <a:pt x="9144" y="218229"/>
                    </a:cubicBezTo>
                    <a:cubicBezTo>
                      <a:pt x="35853" y="201737"/>
                      <a:pt x="61053" y="178972"/>
                      <a:pt x="86047" y="148749"/>
                    </a:cubicBezTo>
                    <a:cubicBezTo>
                      <a:pt x="52653" y="114017"/>
                      <a:pt x="20099" y="60223"/>
                      <a:pt x="453" y="7046"/>
                    </a:cubicBezTo>
                    <a:cubicBezTo>
                      <a:pt x="-541" y="4389"/>
                      <a:pt x="830" y="1440"/>
                      <a:pt x="3487" y="446"/>
                    </a:cubicBezTo>
                    <a:cubicBezTo>
                      <a:pt x="6161" y="-531"/>
                      <a:pt x="9110" y="823"/>
                      <a:pt x="10104" y="3480"/>
                    </a:cubicBezTo>
                    <a:cubicBezTo>
                      <a:pt x="29904" y="57086"/>
                      <a:pt x="63041" y="111223"/>
                      <a:pt x="96590" y="144806"/>
                    </a:cubicBezTo>
                    <a:cubicBezTo>
                      <a:pt x="98441" y="146674"/>
                      <a:pt x="98596" y="149640"/>
                      <a:pt x="96933" y="151680"/>
                    </a:cubicBezTo>
                    <a:cubicBezTo>
                      <a:pt x="70241" y="184595"/>
                      <a:pt x="43293" y="209229"/>
                      <a:pt x="14561" y="226972"/>
                    </a:cubicBezTo>
                    <a:cubicBezTo>
                      <a:pt x="13721" y="227503"/>
                      <a:pt x="12779" y="227743"/>
                      <a:pt x="11853" y="227743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39" name="Freeform: Shape 938">
                <a:extLst>
                  <a:ext uri="{FF2B5EF4-FFF2-40B4-BE49-F238E27FC236}">
                    <a16:creationId xmlns:a16="http://schemas.microsoft.com/office/drawing/2014/main" id="{80092AE6-4942-4BD4-89DF-4BE7C7F6DDB1}"/>
                  </a:ext>
                </a:extLst>
              </p:cNvPr>
              <p:cNvSpPr/>
              <p:nvPr/>
            </p:nvSpPr>
            <p:spPr>
              <a:xfrm>
                <a:off x="2763597" y="4529238"/>
                <a:ext cx="87546" cy="346556"/>
              </a:xfrm>
              <a:custGeom>
                <a:avLst/>
                <a:gdLst>
                  <a:gd name="connsiteX0" fmla="*/ 11751 w 79714"/>
                  <a:gd name="connsiteY0" fmla="*/ 313157 h 312428"/>
                  <a:gd name="connsiteX1" fmla="*/ 6643 w 79714"/>
                  <a:gd name="connsiteY1" fmla="*/ 308512 h 312428"/>
                  <a:gd name="connsiteX2" fmla="*/ 3506 w 79714"/>
                  <a:gd name="connsiteY2" fmla="*/ 273317 h 312428"/>
                  <a:gd name="connsiteX3" fmla="*/ 129 w 79714"/>
                  <a:gd name="connsiteY3" fmla="*/ 217466 h 312428"/>
                  <a:gd name="connsiteX4" fmla="*/ 29991 w 79714"/>
                  <a:gd name="connsiteY4" fmla="*/ 62134 h 312428"/>
                  <a:gd name="connsiteX5" fmla="*/ 73191 w 79714"/>
                  <a:gd name="connsiteY5" fmla="*/ 129 h 312428"/>
                  <a:gd name="connsiteX6" fmla="*/ 76929 w 79714"/>
                  <a:gd name="connsiteY6" fmla="*/ 3677 h 312428"/>
                  <a:gd name="connsiteX7" fmla="*/ 80494 w 79714"/>
                  <a:gd name="connsiteY7" fmla="*/ 7380 h 312428"/>
                  <a:gd name="connsiteX8" fmla="*/ 39266 w 79714"/>
                  <a:gd name="connsiteY8" fmla="*/ 66591 h 312428"/>
                  <a:gd name="connsiteX9" fmla="*/ 10414 w 79714"/>
                  <a:gd name="connsiteY9" fmla="*/ 217466 h 312428"/>
                  <a:gd name="connsiteX10" fmla="*/ 13740 w 79714"/>
                  <a:gd name="connsiteY10" fmla="*/ 272289 h 312428"/>
                  <a:gd name="connsiteX11" fmla="*/ 16877 w 79714"/>
                  <a:gd name="connsiteY11" fmla="*/ 307517 h 312428"/>
                  <a:gd name="connsiteX12" fmla="*/ 12266 w 79714"/>
                  <a:gd name="connsiteY12" fmla="*/ 313123 h 312428"/>
                  <a:gd name="connsiteX13" fmla="*/ 11751 w 79714"/>
                  <a:gd name="connsiteY13" fmla="*/ 313157 h 31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9714" h="312428">
                    <a:moveTo>
                      <a:pt x="11751" y="313157"/>
                    </a:moveTo>
                    <a:cubicBezTo>
                      <a:pt x="9146" y="313157"/>
                      <a:pt x="6900" y="311169"/>
                      <a:pt x="6643" y="308512"/>
                    </a:cubicBezTo>
                    <a:cubicBezTo>
                      <a:pt x="5306" y="294763"/>
                      <a:pt x="4311" y="283586"/>
                      <a:pt x="3506" y="273317"/>
                    </a:cubicBezTo>
                    <a:cubicBezTo>
                      <a:pt x="1277" y="255351"/>
                      <a:pt x="129" y="236477"/>
                      <a:pt x="129" y="217466"/>
                    </a:cubicBezTo>
                    <a:cubicBezTo>
                      <a:pt x="129" y="154740"/>
                      <a:pt x="9900" y="103929"/>
                      <a:pt x="29991" y="62134"/>
                    </a:cubicBezTo>
                    <a:cubicBezTo>
                      <a:pt x="41066" y="39111"/>
                      <a:pt x="55603" y="18249"/>
                      <a:pt x="73191" y="129"/>
                    </a:cubicBezTo>
                    <a:lnTo>
                      <a:pt x="76929" y="3677"/>
                    </a:lnTo>
                    <a:lnTo>
                      <a:pt x="80494" y="7380"/>
                    </a:lnTo>
                    <a:cubicBezTo>
                      <a:pt x="63746" y="24626"/>
                      <a:pt x="49860" y="44580"/>
                      <a:pt x="39266" y="66591"/>
                    </a:cubicBezTo>
                    <a:cubicBezTo>
                      <a:pt x="19860" y="106963"/>
                      <a:pt x="10414" y="156317"/>
                      <a:pt x="10414" y="217466"/>
                    </a:cubicBezTo>
                    <a:cubicBezTo>
                      <a:pt x="10414" y="236066"/>
                      <a:pt x="11529" y="254511"/>
                      <a:pt x="13740" y="272289"/>
                    </a:cubicBezTo>
                    <a:cubicBezTo>
                      <a:pt x="14563" y="282712"/>
                      <a:pt x="15540" y="293820"/>
                      <a:pt x="16877" y="307517"/>
                    </a:cubicBezTo>
                    <a:cubicBezTo>
                      <a:pt x="17151" y="310329"/>
                      <a:pt x="15094" y="312849"/>
                      <a:pt x="12266" y="313123"/>
                    </a:cubicBezTo>
                    <a:cubicBezTo>
                      <a:pt x="12094" y="313140"/>
                      <a:pt x="11923" y="313157"/>
                      <a:pt x="11751" y="313157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40" name="Freeform: Shape 939">
                <a:extLst>
                  <a:ext uri="{FF2B5EF4-FFF2-40B4-BE49-F238E27FC236}">
                    <a16:creationId xmlns:a16="http://schemas.microsoft.com/office/drawing/2014/main" id="{B4ED206E-CEB8-44B4-A9B7-782380E1C8E0}"/>
                  </a:ext>
                </a:extLst>
              </p:cNvPr>
              <p:cNvSpPr/>
              <p:nvPr/>
            </p:nvSpPr>
            <p:spPr>
              <a:xfrm>
                <a:off x="2629604" y="4540621"/>
                <a:ext cx="59305" cy="312327"/>
              </a:xfrm>
              <a:custGeom>
                <a:avLst/>
                <a:gdLst>
                  <a:gd name="connsiteX0" fmla="*/ 7346 w 54000"/>
                  <a:gd name="connsiteY0" fmla="*/ 281758 h 281571"/>
                  <a:gd name="connsiteX1" fmla="*/ 7226 w 54000"/>
                  <a:gd name="connsiteY1" fmla="*/ 281758 h 281571"/>
                  <a:gd name="connsiteX2" fmla="*/ 2186 w 54000"/>
                  <a:gd name="connsiteY2" fmla="*/ 276512 h 281571"/>
                  <a:gd name="connsiteX3" fmla="*/ 2237 w 54000"/>
                  <a:gd name="connsiteY3" fmla="*/ 269997 h 281571"/>
                  <a:gd name="connsiteX4" fmla="*/ 1174 w 54000"/>
                  <a:gd name="connsiteY4" fmla="*/ 222958 h 281571"/>
                  <a:gd name="connsiteX5" fmla="*/ 129 w 54000"/>
                  <a:gd name="connsiteY5" fmla="*/ 176912 h 281571"/>
                  <a:gd name="connsiteX6" fmla="*/ 44546 w 54000"/>
                  <a:gd name="connsiteY6" fmla="*/ 2483 h 281571"/>
                  <a:gd name="connsiteX7" fmla="*/ 51660 w 54000"/>
                  <a:gd name="connsiteY7" fmla="*/ 958 h 281571"/>
                  <a:gd name="connsiteX8" fmla="*/ 53186 w 54000"/>
                  <a:gd name="connsiteY8" fmla="*/ 8055 h 281571"/>
                  <a:gd name="connsiteX9" fmla="*/ 10414 w 54000"/>
                  <a:gd name="connsiteY9" fmla="*/ 176912 h 281571"/>
                  <a:gd name="connsiteX10" fmla="*/ 11460 w 54000"/>
                  <a:gd name="connsiteY10" fmla="*/ 222615 h 281571"/>
                  <a:gd name="connsiteX11" fmla="*/ 12523 w 54000"/>
                  <a:gd name="connsiteY11" fmla="*/ 269997 h 281571"/>
                  <a:gd name="connsiteX12" fmla="*/ 12471 w 54000"/>
                  <a:gd name="connsiteY12" fmla="*/ 276735 h 281571"/>
                  <a:gd name="connsiteX13" fmla="*/ 7346 w 54000"/>
                  <a:gd name="connsiteY13" fmla="*/ 281758 h 281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4000" h="281571">
                    <a:moveTo>
                      <a:pt x="7346" y="281758"/>
                    </a:moveTo>
                    <a:lnTo>
                      <a:pt x="7226" y="281758"/>
                    </a:lnTo>
                    <a:cubicBezTo>
                      <a:pt x="4380" y="281706"/>
                      <a:pt x="2134" y="279358"/>
                      <a:pt x="2186" y="276512"/>
                    </a:cubicBezTo>
                    <a:cubicBezTo>
                      <a:pt x="2237" y="274352"/>
                      <a:pt x="2237" y="272158"/>
                      <a:pt x="2237" y="269997"/>
                    </a:cubicBezTo>
                    <a:cubicBezTo>
                      <a:pt x="2237" y="254158"/>
                      <a:pt x="1706" y="238300"/>
                      <a:pt x="1174" y="222958"/>
                    </a:cubicBezTo>
                    <a:cubicBezTo>
                      <a:pt x="660" y="207872"/>
                      <a:pt x="129" y="192255"/>
                      <a:pt x="129" y="176912"/>
                    </a:cubicBezTo>
                    <a:cubicBezTo>
                      <a:pt x="129" y="106763"/>
                      <a:pt x="15077" y="48083"/>
                      <a:pt x="44546" y="2483"/>
                    </a:cubicBezTo>
                    <a:cubicBezTo>
                      <a:pt x="46089" y="83"/>
                      <a:pt x="49277" y="-585"/>
                      <a:pt x="51660" y="958"/>
                    </a:cubicBezTo>
                    <a:cubicBezTo>
                      <a:pt x="54043" y="2500"/>
                      <a:pt x="54729" y="5672"/>
                      <a:pt x="53186" y="8055"/>
                    </a:cubicBezTo>
                    <a:cubicBezTo>
                      <a:pt x="24814" y="51975"/>
                      <a:pt x="10414" y="108786"/>
                      <a:pt x="10414" y="176912"/>
                    </a:cubicBezTo>
                    <a:cubicBezTo>
                      <a:pt x="10414" y="192083"/>
                      <a:pt x="10946" y="207597"/>
                      <a:pt x="11460" y="222615"/>
                    </a:cubicBezTo>
                    <a:cubicBezTo>
                      <a:pt x="11974" y="238026"/>
                      <a:pt x="12523" y="253969"/>
                      <a:pt x="12523" y="269997"/>
                    </a:cubicBezTo>
                    <a:cubicBezTo>
                      <a:pt x="12523" y="272226"/>
                      <a:pt x="12523" y="274506"/>
                      <a:pt x="12471" y="276735"/>
                    </a:cubicBezTo>
                    <a:cubicBezTo>
                      <a:pt x="12420" y="279529"/>
                      <a:pt x="10123" y="281758"/>
                      <a:pt x="7346" y="281758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41" name="Freeform: Shape 940">
                <a:extLst>
                  <a:ext uri="{FF2B5EF4-FFF2-40B4-BE49-F238E27FC236}">
                    <a16:creationId xmlns:a16="http://schemas.microsoft.com/office/drawing/2014/main" id="{068C6650-D291-43F0-A8E1-0C7CD131E8F3}"/>
                  </a:ext>
                </a:extLst>
              </p:cNvPr>
              <p:cNvSpPr/>
              <p:nvPr/>
            </p:nvSpPr>
            <p:spPr>
              <a:xfrm>
                <a:off x="2677481" y="4494884"/>
                <a:ext cx="48009" cy="57047"/>
              </a:xfrm>
              <a:custGeom>
                <a:avLst/>
                <a:gdLst>
                  <a:gd name="connsiteX0" fmla="*/ 5273 w 43714"/>
                  <a:gd name="connsiteY0" fmla="*/ 51602 h 51428"/>
                  <a:gd name="connsiteX1" fmla="*/ 2479 w 43714"/>
                  <a:gd name="connsiteY1" fmla="*/ 50779 h 51428"/>
                  <a:gd name="connsiteX2" fmla="*/ 953 w 43714"/>
                  <a:gd name="connsiteY2" fmla="*/ 43665 h 51428"/>
                  <a:gd name="connsiteX3" fmla="*/ 35565 w 43714"/>
                  <a:gd name="connsiteY3" fmla="*/ 1614 h 51428"/>
                  <a:gd name="connsiteX4" fmla="*/ 42799 w 43714"/>
                  <a:gd name="connsiteY4" fmla="*/ 1614 h 51428"/>
                  <a:gd name="connsiteX5" fmla="*/ 42902 w 43714"/>
                  <a:gd name="connsiteY5" fmla="*/ 8814 h 51428"/>
                  <a:gd name="connsiteX6" fmla="*/ 42867 w 43714"/>
                  <a:gd name="connsiteY6" fmla="*/ 8848 h 51428"/>
                  <a:gd name="connsiteX7" fmla="*/ 9593 w 43714"/>
                  <a:gd name="connsiteY7" fmla="*/ 49254 h 51428"/>
                  <a:gd name="connsiteX8" fmla="*/ 5273 w 43714"/>
                  <a:gd name="connsiteY8" fmla="*/ 51602 h 51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714" h="51428">
                    <a:moveTo>
                      <a:pt x="5273" y="51602"/>
                    </a:moveTo>
                    <a:cubicBezTo>
                      <a:pt x="4313" y="51602"/>
                      <a:pt x="3353" y="51345"/>
                      <a:pt x="2479" y="50779"/>
                    </a:cubicBezTo>
                    <a:cubicBezTo>
                      <a:pt x="96" y="49236"/>
                      <a:pt x="-590" y="46048"/>
                      <a:pt x="953" y="43665"/>
                    </a:cubicBezTo>
                    <a:cubicBezTo>
                      <a:pt x="10639" y="28682"/>
                      <a:pt x="21953" y="14916"/>
                      <a:pt x="35565" y="1614"/>
                    </a:cubicBezTo>
                    <a:cubicBezTo>
                      <a:pt x="37570" y="-358"/>
                      <a:pt x="40810" y="-375"/>
                      <a:pt x="42799" y="1614"/>
                    </a:cubicBezTo>
                    <a:cubicBezTo>
                      <a:pt x="44805" y="3585"/>
                      <a:pt x="44856" y="6791"/>
                      <a:pt x="42902" y="8814"/>
                    </a:cubicBezTo>
                    <a:lnTo>
                      <a:pt x="42867" y="8848"/>
                    </a:lnTo>
                    <a:cubicBezTo>
                      <a:pt x="29702" y="21722"/>
                      <a:pt x="18867" y="34905"/>
                      <a:pt x="9593" y="49254"/>
                    </a:cubicBezTo>
                    <a:cubicBezTo>
                      <a:pt x="8616" y="50779"/>
                      <a:pt x="6953" y="51602"/>
                      <a:pt x="5273" y="51602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42" name="Freeform: Shape 941">
                <a:extLst>
                  <a:ext uri="{FF2B5EF4-FFF2-40B4-BE49-F238E27FC236}">
                    <a16:creationId xmlns:a16="http://schemas.microsoft.com/office/drawing/2014/main" id="{57647B0E-F768-4A0C-AECA-1538BF6C35EB}"/>
                  </a:ext>
                </a:extLst>
              </p:cNvPr>
              <p:cNvSpPr/>
              <p:nvPr/>
            </p:nvSpPr>
            <p:spPr>
              <a:xfrm>
                <a:off x="2527286" y="4938013"/>
                <a:ext cx="105902" cy="152598"/>
              </a:xfrm>
              <a:custGeom>
                <a:avLst/>
                <a:gdLst>
                  <a:gd name="connsiteX0" fmla="*/ 65558 w 96428"/>
                  <a:gd name="connsiteY0" fmla="*/ 138727 h 137571"/>
                  <a:gd name="connsiteX1" fmla="*/ 62969 w 96428"/>
                  <a:gd name="connsiteY1" fmla="*/ 138041 h 137571"/>
                  <a:gd name="connsiteX2" fmla="*/ 33038 w 96428"/>
                  <a:gd name="connsiteY2" fmla="*/ 115910 h 137571"/>
                  <a:gd name="connsiteX3" fmla="*/ 929 w 96428"/>
                  <a:gd name="connsiteY3" fmla="*/ 77596 h 137571"/>
                  <a:gd name="connsiteX4" fmla="*/ 621 w 96428"/>
                  <a:gd name="connsiteY4" fmla="*/ 72624 h 137571"/>
                  <a:gd name="connsiteX5" fmla="*/ 31735 w 96428"/>
                  <a:gd name="connsiteY5" fmla="*/ 3350 h 137571"/>
                  <a:gd name="connsiteX6" fmla="*/ 38438 w 96428"/>
                  <a:gd name="connsiteY6" fmla="*/ 504 h 137571"/>
                  <a:gd name="connsiteX7" fmla="*/ 41267 w 96428"/>
                  <a:gd name="connsiteY7" fmla="*/ 7207 h 137571"/>
                  <a:gd name="connsiteX8" fmla="*/ 11147 w 96428"/>
                  <a:gd name="connsiteY8" fmla="*/ 74424 h 137571"/>
                  <a:gd name="connsiteX9" fmla="*/ 39981 w 96428"/>
                  <a:gd name="connsiteY9" fmla="*/ 108316 h 137571"/>
                  <a:gd name="connsiteX10" fmla="*/ 62558 w 96428"/>
                  <a:gd name="connsiteY10" fmla="*/ 125733 h 137571"/>
                  <a:gd name="connsiteX11" fmla="*/ 79547 w 96428"/>
                  <a:gd name="connsiteY11" fmla="*/ 59047 h 137571"/>
                  <a:gd name="connsiteX12" fmla="*/ 86387 w 96428"/>
                  <a:gd name="connsiteY12" fmla="*/ 21916 h 137571"/>
                  <a:gd name="connsiteX13" fmla="*/ 92267 w 96428"/>
                  <a:gd name="connsiteY13" fmla="*/ 17647 h 137571"/>
                  <a:gd name="connsiteX14" fmla="*/ 96535 w 96428"/>
                  <a:gd name="connsiteY14" fmla="*/ 23544 h 137571"/>
                  <a:gd name="connsiteX15" fmla="*/ 89609 w 96428"/>
                  <a:gd name="connsiteY15" fmla="*/ 61156 h 137571"/>
                  <a:gd name="connsiteX16" fmla="*/ 70461 w 96428"/>
                  <a:gd name="connsiteY16" fmla="*/ 135110 h 137571"/>
                  <a:gd name="connsiteX17" fmla="*/ 67426 w 96428"/>
                  <a:gd name="connsiteY17" fmla="*/ 138384 h 137571"/>
                  <a:gd name="connsiteX18" fmla="*/ 65558 w 96428"/>
                  <a:gd name="connsiteY18" fmla="*/ 138727 h 137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96428" h="137571">
                    <a:moveTo>
                      <a:pt x="65558" y="138727"/>
                    </a:moveTo>
                    <a:cubicBezTo>
                      <a:pt x="64649" y="138727"/>
                      <a:pt x="63758" y="138504"/>
                      <a:pt x="62969" y="138041"/>
                    </a:cubicBezTo>
                    <a:cubicBezTo>
                      <a:pt x="52547" y="131973"/>
                      <a:pt x="42467" y="124533"/>
                      <a:pt x="33038" y="115910"/>
                    </a:cubicBezTo>
                    <a:cubicBezTo>
                      <a:pt x="20815" y="104733"/>
                      <a:pt x="10015" y="91841"/>
                      <a:pt x="929" y="77596"/>
                    </a:cubicBezTo>
                    <a:cubicBezTo>
                      <a:pt x="-13" y="76104"/>
                      <a:pt x="-133" y="74219"/>
                      <a:pt x="621" y="72624"/>
                    </a:cubicBezTo>
                    <a:cubicBezTo>
                      <a:pt x="12415" y="47630"/>
                      <a:pt x="22907" y="25156"/>
                      <a:pt x="31735" y="3350"/>
                    </a:cubicBezTo>
                    <a:cubicBezTo>
                      <a:pt x="32798" y="710"/>
                      <a:pt x="35781" y="-559"/>
                      <a:pt x="38438" y="504"/>
                    </a:cubicBezTo>
                    <a:cubicBezTo>
                      <a:pt x="41061" y="1567"/>
                      <a:pt x="42329" y="4567"/>
                      <a:pt x="41267" y="7207"/>
                    </a:cubicBezTo>
                    <a:cubicBezTo>
                      <a:pt x="32644" y="28499"/>
                      <a:pt x="22512" y="50321"/>
                      <a:pt x="11147" y="74424"/>
                    </a:cubicBezTo>
                    <a:cubicBezTo>
                      <a:pt x="19409" y="86973"/>
                      <a:pt x="29112" y="98373"/>
                      <a:pt x="39981" y="108316"/>
                    </a:cubicBezTo>
                    <a:cubicBezTo>
                      <a:pt x="47164" y="114899"/>
                      <a:pt x="54741" y="120727"/>
                      <a:pt x="62558" y="125733"/>
                    </a:cubicBezTo>
                    <a:cubicBezTo>
                      <a:pt x="69158" y="103738"/>
                      <a:pt x="74867" y="81333"/>
                      <a:pt x="79547" y="59047"/>
                    </a:cubicBezTo>
                    <a:cubicBezTo>
                      <a:pt x="82118" y="46738"/>
                      <a:pt x="84415" y="34241"/>
                      <a:pt x="86387" y="21916"/>
                    </a:cubicBezTo>
                    <a:cubicBezTo>
                      <a:pt x="86832" y="19121"/>
                      <a:pt x="89472" y="17201"/>
                      <a:pt x="92267" y="17647"/>
                    </a:cubicBezTo>
                    <a:cubicBezTo>
                      <a:pt x="95078" y="18093"/>
                      <a:pt x="96981" y="20733"/>
                      <a:pt x="96535" y="23544"/>
                    </a:cubicBezTo>
                    <a:cubicBezTo>
                      <a:pt x="94547" y="36024"/>
                      <a:pt x="92215" y="48676"/>
                      <a:pt x="89609" y="61156"/>
                    </a:cubicBezTo>
                    <a:cubicBezTo>
                      <a:pt x="84432" y="85893"/>
                      <a:pt x="77987" y="110784"/>
                      <a:pt x="70461" y="135110"/>
                    </a:cubicBezTo>
                    <a:cubicBezTo>
                      <a:pt x="69998" y="136601"/>
                      <a:pt x="68884" y="137801"/>
                      <a:pt x="67426" y="138384"/>
                    </a:cubicBezTo>
                    <a:cubicBezTo>
                      <a:pt x="66809" y="138607"/>
                      <a:pt x="66175" y="138727"/>
                      <a:pt x="65558" y="138727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43" name="Freeform: Shape 942">
                <a:extLst>
                  <a:ext uri="{FF2B5EF4-FFF2-40B4-BE49-F238E27FC236}">
                    <a16:creationId xmlns:a16="http://schemas.microsoft.com/office/drawing/2014/main" id="{1E4A2C56-C994-40B4-8C05-BE01BE5BA5F7}"/>
                  </a:ext>
                </a:extLst>
              </p:cNvPr>
              <p:cNvSpPr/>
              <p:nvPr/>
            </p:nvSpPr>
            <p:spPr>
              <a:xfrm>
                <a:off x="2591178" y="4617815"/>
                <a:ext cx="38124" cy="228184"/>
              </a:xfrm>
              <a:custGeom>
                <a:avLst/>
                <a:gdLst>
                  <a:gd name="connsiteX0" fmla="*/ 5272 w 34714"/>
                  <a:gd name="connsiteY0" fmla="*/ 206577 h 205714"/>
                  <a:gd name="connsiteX1" fmla="*/ 4432 w 34714"/>
                  <a:gd name="connsiteY1" fmla="*/ 206509 h 205714"/>
                  <a:gd name="connsiteX2" fmla="*/ 198 w 34714"/>
                  <a:gd name="connsiteY2" fmla="*/ 200594 h 205714"/>
                  <a:gd name="connsiteX3" fmla="*/ 5581 w 34714"/>
                  <a:gd name="connsiteY3" fmla="*/ 140269 h 205714"/>
                  <a:gd name="connsiteX4" fmla="*/ 25175 w 34714"/>
                  <a:gd name="connsiteY4" fmla="*/ 3434 h 205714"/>
                  <a:gd name="connsiteX5" fmla="*/ 31809 w 34714"/>
                  <a:gd name="connsiteY5" fmla="*/ 469 h 205714"/>
                  <a:gd name="connsiteX6" fmla="*/ 34775 w 34714"/>
                  <a:gd name="connsiteY6" fmla="*/ 7120 h 205714"/>
                  <a:gd name="connsiteX7" fmla="*/ 15867 w 34714"/>
                  <a:gd name="connsiteY7" fmla="*/ 140509 h 205714"/>
                  <a:gd name="connsiteX8" fmla="*/ 10347 w 34714"/>
                  <a:gd name="connsiteY8" fmla="*/ 202274 h 205714"/>
                  <a:gd name="connsiteX9" fmla="*/ 5272 w 34714"/>
                  <a:gd name="connsiteY9" fmla="*/ 206577 h 205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4714" h="205714">
                    <a:moveTo>
                      <a:pt x="5272" y="206577"/>
                    </a:moveTo>
                    <a:cubicBezTo>
                      <a:pt x="4998" y="206577"/>
                      <a:pt x="4724" y="206560"/>
                      <a:pt x="4432" y="206509"/>
                    </a:cubicBezTo>
                    <a:cubicBezTo>
                      <a:pt x="1638" y="206046"/>
                      <a:pt x="-265" y="203406"/>
                      <a:pt x="198" y="200594"/>
                    </a:cubicBezTo>
                    <a:cubicBezTo>
                      <a:pt x="3352" y="181446"/>
                      <a:pt x="5118" y="161714"/>
                      <a:pt x="5581" y="140269"/>
                    </a:cubicBezTo>
                    <a:cubicBezTo>
                      <a:pt x="6472" y="101149"/>
                      <a:pt x="9472" y="44389"/>
                      <a:pt x="25175" y="3434"/>
                    </a:cubicBezTo>
                    <a:cubicBezTo>
                      <a:pt x="26187" y="777"/>
                      <a:pt x="29169" y="-543"/>
                      <a:pt x="31809" y="469"/>
                    </a:cubicBezTo>
                    <a:cubicBezTo>
                      <a:pt x="34467" y="1480"/>
                      <a:pt x="35787" y="4463"/>
                      <a:pt x="34775" y="7120"/>
                    </a:cubicBezTo>
                    <a:cubicBezTo>
                      <a:pt x="23427" y="36743"/>
                      <a:pt x="17238" y="80372"/>
                      <a:pt x="15867" y="140509"/>
                    </a:cubicBezTo>
                    <a:cubicBezTo>
                      <a:pt x="15387" y="162434"/>
                      <a:pt x="13569" y="182629"/>
                      <a:pt x="10347" y="202274"/>
                    </a:cubicBezTo>
                    <a:cubicBezTo>
                      <a:pt x="9935" y="204794"/>
                      <a:pt x="7741" y="206577"/>
                      <a:pt x="5272" y="206577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44" name="Freeform: Shape 943">
                <a:extLst>
                  <a:ext uri="{FF2B5EF4-FFF2-40B4-BE49-F238E27FC236}">
                    <a16:creationId xmlns:a16="http://schemas.microsoft.com/office/drawing/2014/main" id="{CD201E22-5DF5-4C73-82DF-294F1F46E99D}"/>
                  </a:ext>
                </a:extLst>
              </p:cNvPr>
              <p:cNvSpPr/>
              <p:nvPr/>
            </p:nvSpPr>
            <p:spPr>
              <a:xfrm>
                <a:off x="2677482" y="4546314"/>
                <a:ext cx="129907" cy="79865"/>
              </a:xfrm>
              <a:custGeom>
                <a:avLst/>
                <a:gdLst>
                  <a:gd name="connsiteX0" fmla="*/ 37774 w 118285"/>
                  <a:gd name="connsiteY0" fmla="*/ 72232 h 72000"/>
                  <a:gd name="connsiteX1" fmla="*/ 129 w 118285"/>
                  <a:gd name="connsiteY1" fmla="*/ 129 h 72000"/>
                  <a:gd name="connsiteX2" fmla="*/ 10414 w 118285"/>
                  <a:gd name="connsiteY2" fmla="*/ 129 h 72000"/>
                  <a:gd name="connsiteX3" fmla="*/ 37774 w 118285"/>
                  <a:gd name="connsiteY3" fmla="*/ 61946 h 72000"/>
                  <a:gd name="connsiteX4" fmla="*/ 111660 w 118285"/>
                  <a:gd name="connsiteY4" fmla="*/ 44014 h 72000"/>
                  <a:gd name="connsiteX5" fmla="*/ 118003 w 118285"/>
                  <a:gd name="connsiteY5" fmla="*/ 47597 h 72000"/>
                  <a:gd name="connsiteX6" fmla="*/ 114420 w 118285"/>
                  <a:gd name="connsiteY6" fmla="*/ 53923 h 72000"/>
                  <a:gd name="connsiteX7" fmla="*/ 37774 w 118285"/>
                  <a:gd name="connsiteY7" fmla="*/ 72232 h 7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8285" h="72000">
                    <a:moveTo>
                      <a:pt x="37774" y="72232"/>
                    </a:moveTo>
                    <a:cubicBezTo>
                      <a:pt x="557" y="72232"/>
                      <a:pt x="266" y="21694"/>
                      <a:pt x="129" y="129"/>
                    </a:cubicBezTo>
                    <a:lnTo>
                      <a:pt x="10414" y="129"/>
                    </a:lnTo>
                    <a:cubicBezTo>
                      <a:pt x="10603" y="30677"/>
                      <a:pt x="13980" y="61946"/>
                      <a:pt x="37774" y="61946"/>
                    </a:cubicBezTo>
                    <a:cubicBezTo>
                      <a:pt x="42232" y="61946"/>
                      <a:pt x="63986" y="57232"/>
                      <a:pt x="111660" y="44014"/>
                    </a:cubicBezTo>
                    <a:cubicBezTo>
                      <a:pt x="114420" y="43260"/>
                      <a:pt x="117232" y="44854"/>
                      <a:pt x="118003" y="47597"/>
                    </a:cubicBezTo>
                    <a:cubicBezTo>
                      <a:pt x="118757" y="50323"/>
                      <a:pt x="117163" y="53169"/>
                      <a:pt x="114420" y="53923"/>
                    </a:cubicBezTo>
                    <a:cubicBezTo>
                      <a:pt x="89769" y="60763"/>
                      <a:pt x="47014" y="72232"/>
                      <a:pt x="37774" y="72232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45" name="Freeform: Shape 944">
                <a:extLst>
                  <a:ext uri="{FF2B5EF4-FFF2-40B4-BE49-F238E27FC236}">
                    <a16:creationId xmlns:a16="http://schemas.microsoft.com/office/drawing/2014/main" id="{53C9E264-9C6B-4F9C-B247-5004A5A1486B}"/>
                  </a:ext>
                </a:extLst>
              </p:cNvPr>
              <p:cNvSpPr/>
              <p:nvPr/>
            </p:nvSpPr>
            <p:spPr>
              <a:xfrm>
                <a:off x="2614371" y="4998833"/>
                <a:ext cx="192036" cy="58472"/>
              </a:xfrm>
              <a:custGeom>
                <a:avLst/>
                <a:gdLst>
                  <a:gd name="connsiteX0" fmla="*/ 161341 w 174857"/>
                  <a:gd name="connsiteY0" fmla="*/ 53518 h 52714"/>
                  <a:gd name="connsiteX1" fmla="*/ 2307 w 174857"/>
                  <a:gd name="connsiteY1" fmla="*/ 9461 h 52714"/>
                  <a:gd name="connsiteX2" fmla="*/ 1072 w 174857"/>
                  <a:gd name="connsiteY2" fmla="*/ 2295 h 52714"/>
                  <a:gd name="connsiteX3" fmla="*/ 8238 w 174857"/>
                  <a:gd name="connsiteY3" fmla="*/ 1078 h 52714"/>
                  <a:gd name="connsiteX4" fmla="*/ 161341 w 174857"/>
                  <a:gd name="connsiteY4" fmla="*/ 43233 h 52714"/>
                  <a:gd name="connsiteX5" fmla="*/ 170581 w 174857"/>
                  <a:gd name="connsiteY5" fmla="*/ 43095 h 52714"/>
                  <a:gd name="connsiteX6" fmla="*/ 175878 w 174857"/>
                  <a:gd name="connsiteY6" fmla="*/ 48084 h 52714"/>
                  <a:gd name="connsiteX7" fmla="*/ 170872 w 174857"/>
                  <a:gd name="connsiteY7" fmla="*/ 53381 h 52714"/>
                  <a:gd name="connsiteX8" fmla="*/ 161341 w 174857"/>
                  <a:gd name="connsiteY8" fmla="*/ 53518 h 52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74857" h="52714">
                    <a:moveTo>
                      <a:pt x="161341" y="53518"/>
                    </a:moveTo>
                    <a:cubicBezTo>
                      <a:pt x="72061" y="53518"/>
                      <a:pt x="32427" y="30770"/>
                      <a:pt x="2307" y="9461"/>
                    </a:cubicBezTo>
                    <a:cubicBezTo>
                      <a:pt x="-8" y="7833"/>
                      <a:pt x="-573" y="4610"/>
                      <a:pt x="1072" y="2295"/>
                    </a:cubicBezTo>
                    <a:cubicBezTo>
                      <a:pt x="2718" y="-19"/>
                      <a:pt x="5941" y="-567"/>
                      <a:pt x="8238" y="1078"/>
                    </a:cubicBezTo>
                    <a:cubicBezTo>
                      <a:pt x="37090" y="21461"/>
                      <a:pt x="75078" y="43233"/>
                      <a:pt x="161341" y="43233"/>
                    </a:cubicBezTo>
                    <a:cubicBezTo>
                      <a:pt x="164410" y="43233"/>
                      <a:pt x="167495" y="43181"/>
                      <a:pt x="170581" y="43095"/>
                    </a:cubicBezTo>
                    <a:cubicBezTo>
                      <a:pt x="173495" y="43010"/>
                      <a:pt x="175792" y="45238"/>
                      <a:pt x="175878" y="48084"/>
                    </a:cubicBezTo>
                    <a:cubicBezTo>
                      <a:pt x="175964" y="50930"/>
                      <a:pt x="173718" y="53295"/>
                      <a:pt x="170872" y="53381"/>
                    </a:cubicBezTo>
                    <a:cubicBezTo>
                      <a:pt x="167701" y="53467"/>
                      <a:pt x="164512" y="53518"/>
                      <a:pt x="161341" y="53518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46" name="Freeform: Shape 945">
                <a:extLst>
                  <a:ext uri="{FF2B5EF4-FFF2-40B4-BE49-F238E27FC236}">
                    <a16:creationId xmlns:a16="http://schemas.microsoft.com/office/drawing/2014/main" id="{716FAB69-FD35-4B4E-87E4-C2FC50353AB6}"/>
                  </a:ext>
                </a:extLst>
              </p:cNvPr>
              <p:cNvSpPr/>
              <p:nvPr/>
            </p:nvSpPr>
            <p:spPr>
              <a:xfrm>
                <a:off x="2561432" y="5056571"/>
                <a:ext cx="66365" cy="945539"/>
              </a:xfrm>
              <a:custGeom>
                <a:avLst/>
                <a:gdLst>
                  <a:gd name="connsiteX0" fmla="*/ 55997 w 60428"/>
                  <a:gd name="connsiteY0" fmla="*/ 852609 h 852428"/>
                  <a:gd name="connsiteX1" fmla="*/ 50837 w 60428"/>
                  <a:gd name="connsiteY1" fmla="*/ 847500 h 852428"/>
                  <a:gd name="connsiteX2" fmla="*/ 49997 w 60428"/>
                  <a:gd name="connsiteY2" fmla="*/ 799363 h 852428"/>
                  <a:gd name="connsiteX3" fmla="*/ 26940 w 60428"/>
                  <a:gd name="connsiteY3" fmla="*/ 484037 h 852428"/>
                  <a:gd name="connsiteX4" fmla="*/ 129 w 60428"/>
                  <a:gd name="connsiteY4" fmla="*/ 43003 h 852428"/>
                  <a:gd name="connsiteX5" fmla="*/ 231 w 60428"/>
                  <a:gd name="connsiteY5" fmla="*/ 5254 h 852428"/>
                  <a:gd name="connsiteX6" fmla="*/ 5374 w 60428"/>
                  <a:gd name="connsiteY6" fmla="*/ 129 h 852428"/>
                  <a:gd name="connsiteX7" fmla="*/ 10517 w 60428"/>
                  <a:gd name="connsiteY7" fmla="*/ 5289 h 852428"/>
                  <a:gd name="connsiteX8" fmla="*/ 10414 w 60428"/>
                  <a:gd name="connsiteY8" fmla="*/ 43003 h 852428"/>
                  <a:gd name="connsiteX9" fmla="*/ 37174 w 60428"/>
                  <a:gd name="connsiteY9" fmla="*/ 483060 h 852428"/>
                  <a:gd name="connsiteX10" fmla="*/ 60266 w 60428"/>
                  <a:gd name="connsiteY10" fmla="*/ 799071 h 852428"/>
                  <a:gd name="connsiteX11" fmla="*/ 61123 w 60428"/>
                  <a:gd name="connsiteY11" fmla="*/ 847449 h 852428"/>
                  <a:gd name="connsiteX12" fmla="*/ 55997 w 60428"/>
                  <a:gd name="connsiteY12" fmla="*/ 852609 h 8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0428" h="852428">
                    <a:moveTo>
                      <a:pt x="55997" y="852609"/>
                    </a:moveTo>
                    <a:cubicBezTo>
                      <a:pt x="53168" y="852609"/>
                      <a:pt x="50854" y="850329"/>
                      <a:pt x="50837" y="847500"/>
                    </a:cubicBezTo>
                    <a:cubicBezTo>
                      <a:pt x="50768" y="832586"/>
                      <a:pt x="50477" y="816849"/>
                      <a:pt x="49997" y="799363"/>
                    </a:cubicBezTo>
                    <a:cubicBezTo>
                      <a:pt x="47014" y="692546"/>
                      <a:pt x="37260" y="591266"/>
                      <a:pt x="26940" y="484037"/>
                    </a:cubicBezTo>
                    <a:cubicBezTo>
                      <a:pt x="13757" y="347220"/>
                      <a:pt x="129" y="205740"/>
                      <a:pt x="129" y="43003"/>
                    </a:cubicBezTo>
                    <a:cubicBezTo>
                      <a:pt x="129" y="30420"/>
                      <a:pt x="180" y="17820"/>
                      <a:pt x="231" y="5254"/>
                    </a:cubicBezTo>
                    <a:cubicBezTo>
                      <a:pt x="231" y="2409"/>
                      <a:pt x="2546" y="129"/>
                      <a:pt x="5374" y="129"/>
                    </a:cubicBezTo>
                    <a:cubicBezTo>
                      <a:pt x="8220" y="129"/>
                      <a:pt x="10517" y="2443"/>
                      <a:pt x="10517" y="5289"/>
                    </a:cubicBezTo>
                    <a:cubicBezTo>
                      <a:pt x="10466" y="17854"/>
                      <a:pt x="10414" y="30420"/>
                      <a:pt x="10414" y="43003"/>
                    </a:cubicBezTo>
                    <a:cubicBezTo>
                      <a:pt x="10414" y="205243"/>
                      <a:pt x="24026" y="346483"/>
                      <a:pt x="37174" y="483060"/>
                    </a:cubicBezTo>
                    <a:cubicBezTo>
                      <a:pt x="47511" y="590460"/>
                      <a:pt x="57283" y="691911"/>
                      <a:pt x="60266" y="799071"/>
                    </a:cubicBezTo>
                    <a:cubicBezTo>
                      <a:pt x="60763" y="816626"/>
                      <a:pt x="61054" y="832449"/>
                      <a:pt x="61123" y="847449"/>
                    </a:cubicBezTo>
                    <a:cubicBezTo>
                      <a:pt x="61140" y="850277"/>
                      <a:pt x="58843" y="852591"/>
                      <a:pt x="55997" y="852609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47" name="Freeform: Shape 946">
                <a:extLst>
                  <a:ext uri="{FF2B5EF4-FFF2-40B4-BE49-F238E27FC236}">
                    <a16:creationId xmlns:a16="http://schemas.microsoft.com/office/drawing/2014/main" id="{737F2BF8-8A29-4028-BAAB-81044E6B68B5}"/>
                  </a:ext>
                </a:extLst>
              </p:cNvPr>
              <p:cNvSpPr/>
              <p:nvPr/>
            </p:nvSpPr>
            <p:spPr>
              <a:xfrm>
                <a:off x="2699509" y="5396121"/>
                <a:ext cx="48009" cy="608967"/>
              </a:xfrm>
              <a:custGeom>
                <a:avLst/>
                <a:gdLst>
                  <a:gd name="connsiteX0" fmla="*/ 5271 w 43714"/>
                  <a:gd name="connsiteY0" fmla="*/ 549856 h 549000"/>
                  <a:gd name="connsiteX1" fmla="*/ 129 w 43714"/>
                  <a:gd name="connsiteY1" fmla="*/ 544713 h 549000"/>
                  <a:gd name="connsiteX2" fmla="*/ 129 w 43714"/>
                  <a:gd name="connsiteY2" fmla="*/ 544130 h 549000"/>
                  <a:gd name="connsiteX3" fmla="*/ 454 w 43714"/>
                  <a:gd name="connsiteY3" fmla="*/ 533639 h 549000"/>
                  <a:gd name="connsiteX4" fmla="*/ 5032 w 43714"/>
                  <a:gd name="connsiteY4" fmla="*/ 481250 h 549000"/>
                  <a:gd name="connsiteX5" fmla="*/ 8100 w 43714"/>
                  <a:gd name="connsiteY5" fmla="*/ 452039 h 549000"/>
                  <a:gd name="connsiteX6" fmla="*/ 19277 w 43714"/>
                  <a:gd name="connsiteY6" fmla="*/ 314621 h 549000"/>
                  <a:gd name="connsiteX7" fmla="*/ 16209 w 43714"/>
                  <a:gd name="connsiteY7" fmla="*/ 243753 h 549000"/>
                  <a:gd name="connsiteX8" fmla="*/ 13106 w 43714"/>
                  <a:gd name="connsiteY8" fmla="*/ 172079 h 549000"/>
                  <a:gd name="connsiteX9" fmla="*/ 25723 w 43714"/>
                  <a:gd name="connsiteY9" fmla="*/ 53416 h 549000"/>
                  <a:gd name="connsiteX10" fmla="*/ 33574 w 43714"/>
                  <a:gd name="connsiteY10" fmla="*/ 4541 h 549000"/>
                  <a:gd name="connsiteX11" fmla="*/ 39386 w 43714"/>
                  <a:gd name="connsiteY11" fmla="*/ 187 h 549000"/>
                  <a:gd name="connsiteX12" fmla="*/ 43740 w 43714"/>
                  <a:gd name="connsiteY12" fmla="*/ 6016 h 549000"/>
                  <a:gd name="connsiteX13" fmla="*/ 35871 w 43714"/>
                  <a:gd name="connsiteY13" fmla="*/ 55130 h 549000"/>
                  <a:gd name="connsiteX14" fmla="*/ 23391 w 43714"/>
                  <a:gd name="connsiteY14" fmla="*/ 172079 h 549000"/>
                  <a:gd name="connsiteX15" fmla="*/ 26460 w 43714"/>
                  <a:gd name="connsiteY15" fmla="*/ 243084 h 549000"/>
                  <a:gd name="connsiteX16" fmla="*/ 29563 w 43714"/>
                  <a:gd name="connsiteY16" fmla="*/ 314621 h 549000"/>
                  <a:gd name="connsiteX17" fmla="*/ 18334 w 43714"/>
                  <a:gd name="connsiteY17" fmla="*/ 453118 h 549000"/>
                  <a:gd name="connsiteX18" fmla="*/ 15266 w 43714"/>
                  <a:gd name="connsiteY18" fmla="*/ 482313 h 549000"/>
                  <a:gd name="connsiteX19" fmla="*/ 10723 w 43714"/>
                  <a:gd name="connsiteY19" fmla="*/ 534136 h 549000"/>
                  <a:gd name="connsiteX20" fmla="*/ 10414 w 43714"/>
                  <a:gd name="connsiteY20" fmla="*/ 544130 h 549000"/>
                  <a:gd name="connsiteX21" fmla="*/ 10414 w 43714"/>
                  <a:gd name="connsiteY21" fmla="*/ 544713 h 549000"/>
                  <a:gd name="connsiteX22" fmla="*/ 5271 w 43714"/>
                  <a:gd name="connsiteY22" fmla="*/ 549856 h 549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3714" h="549000">
                    <a:moveTo>
                      <a:pt x="5271" y="549856"/>
                    </a:moveTo>
                    <a:cubicBezTo>
                      <a:pt x="2426" y="549856"/>
                      <a:pt x="129" y="547541"/>
                      <a:pt x="129" y="544713"/>
                    </a:cubicBezTo>
                    <a:lnTo>
                      <a:pt x="129" y="544130"/>
                    </a:lnTo>
                    <a:cubicBezTo>
                      <a:pt x="129" y="541439"/>
                      <a:pt x="232" y="538216"/>
                      <a:pt x="454" y="533639"/>
                    </a:cubicBezTo>
                    <a:cubicBezTo>
                      <a:pt x="1037" y="521279"/>
                      <a:pt x="2649" y="504427"/>
                      <a:pt x="5032" y="481250"/>
                    </a:cubicBezTo>
                    <a:cubicBezTo>
                      <a:pt x="5991" y="471941"/>
                      <a:pt x="7037" y="462118"/>
                      <a:pt x="8100" y="452039"/>
                    </a:cubicBezTo>
                    <a:cubicBezTo>
                      <a:pt x="13346" y="402633"/>
                      <a:pt x="19277" y="346661"/>
                      <a:pt x="19277" y="314621"/>
                    </a:cubicBezTo>
                    <a:cubicBezTo>
                      <a:pt x="19277" y="291033"/>
                      <a:pt x="17717" y="266998"/>
                      <a:pt x="16209" y="243753"/>
                    </a:cubicBezTo>
                    <a:cubicBezTo>
                      <a:pt x="14683" y="220318"/>
                      <a:pt x="13106" y="196061"/>
                      <a:pt x="13106" y="172079"/>
                    </a:cubicBezTo>
                    <a:cubicBezTo>
                      <a:pt x="13106" y="128124"/>
                      <a:pt x="18951" y="93513"/>
                      <a:pt x="25723" y="53416"/>
                    </a:cubicBezTo>
                    <a:cubicBezTo>
                      <a:pt x="28329" y="38021"/>
                      <a:pt x="31020" y="22113"/>
                      <a:pt x="33574" y="4541"/>
                    </a:cubicBezTo>
                    <a:cubicBezTo>
                      <a:pt x="33969" y="1730"/>
                      <a:pt x="36591" y="-241"/>
                      <a:pt x="39386" y="187"/>
                    </a:cubicBezTo>
                    <a:cubicBezTo>
                      <a:pt x="42197" y="598"/>
                      <a:pt x="44151" y="3204"/>
                      <a:pt x="43740" y="6016"/>
                    </a:cubicBezTo>
                    <a:cubicBezTo>
                      <a:pt x="41186" y="23707"/>
                      <a:pt x="38477" y="39684"/>
                      <a:pt x="35871" y="55130"/>
                    </a:cubicBezTo>
                    <a:cubicBezTo>
                      <a:pt x="29169" y="94764"/>
                      <a:pt x="23391" y="128981"/>
                      <a:pt x="23391" y="172079"/>
                    </a:cubicBezTo>
                    <a:cubicBezTo>
                      <a:pt x="23391" y="195736"/>
                      <a:pt x="24951" y="219804"/>
                      <a:pt x="26460" y="243084"/>
                    </a:cubicBezTo>
                    <a:cubicBezTo>
                      <a:pt x="27986" y="266501"/>
                      <a:pt x="29563" y="290707"/>
                      <a:pt x="29563" y="314621"/>
                    </a:cubicBezTo>
                    <a:cubicBezTo>
                      <a:pt x="29563" y="347193"/>
                      <a:pt x="23597" y="403473"/>
                      <a:pt x="18334" y="453118"/>
                    </a:cubicBezTo>
                    <a:cubicBezTo>
                      <a:pt x="17254" y="463199"/>
                      <a:pt x="16226" y="473004"/>
                      <a:pt x="15266" y="482313"/>
                    </a:cubicBezTo>
                    <a:cubicBezTo>
                      <a:pt x="12900" y="505318"/>
                      <a:pt x="11306" y="521999"/>
                      <a:pt x="10723" y="534136"/>
                    </a:cubicBezTo>
                    <a:cubicBezTo>
                      <a:pt x="10500" y="538473"/>
                      <a:pt x="10414" y="541644"/>
                      <a:pt x="10414" y="544130"/>
                    </a:cubicBezTo>
                    <a:lnTo>
                      <a:pt x="10414" y="544713"/>
                    </a:lnTo>
                    <a:cubicBezTo>
                      <a:pt x="10414" y="547541"/>
                      <a:pt x="8100" y="549856"/>
                      <a:pt x="5271" y="549856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48" name="Freeform: Shape 947">
                <a:extLst>
                  <a:ext uri="{FF2B5EF4-FFF2-40B4-BE49-F238E27FC236}">
                    <a16:creationId xmlns:a16="http://schemas.microsoft.com/office/drawing/2014/main" id="{A4B85DAE-8350-4D36-A5E6-30EAB9AAEC01}"/>
                  </a:ext>
                </a:extLst>
              </p:cNvPr>
              <p:cNvSpPr/>
              <p:nvPr/>
            </p:nvSpPr>
            <p:spPr>
              <a:xfrm>
                <a:off x="2665636" y="5099201"/>
                <a:ext cx="146851" cy="1036813"/>
              </a:xfrm>
              <a:custGeom>
                <a:avLst/>
                <a:gdLst>
                  <a:gd name="connsiteX0" fmla="*/ 128790 w 133714"/>
                  <a:gd name="connsiteY0" fmla="*/ 935326 h 934714"/>
                  <a:gd name="connsiteX1" fmla="*/ 123664 w 133714"/>
                  <a:gd name="connsiteY1" fmla="*/ 930509 h 934714"/>
                  <a:gd name="connsiteX2" fmla="*/ 123081 w 133714"/>
                  <a:gd name="connsiteY2" fmla="*/ 910949 h 934714"/>
                  <a:gd name="connsiteX3" fmla="*/ 123664 w 133714"/>
                  <a:gd name="connsiteY3" fmla="*/ 883760 h 934714"/>
                  <a:gd name="connsiteX4" fmla="*/ 124247 w 133714"/>
                  <a:gd name="connsiteY4" fmla="*/ 857189 h 934714"/>
                  <a:gd name="connsiteX5" fmla="*/ 124195 w 133714"/>
                  <a:gd name="connsiteY5" fmla="*/ 848240 h 934714"/>
                  <a:gd name="connsiteX6" fmla="*/ 85487 w 133714"/>
                  <a:gd name="connsiteY6" fmla="*/ 417320 h 934714"/>
                  <a:gd name="connsiteX7" fmla="*/ 64401 w 133714"/>
                  <a:gd name="connsiteY7" fmla="*/ 273629 h 934714"/>
                  <a:gd name="connsiteX8" fmla="*/ 45938 w 133714"/>
                  <a:gd name="connsiteY8" fmla="*/ 87989 h 934714"/>
                  <a:gd name="connsiteX9" fmla="*/ 41961 w 133714"/>
                  <a:gd name="connsiteY9" fmla="*/ 58057 h 934714"/>
                  <a:gd name="connsiteX10" fmla="*/ 252 w 133714"/>
                  <a:gd name="connsiteY10" fmla="*/ 6389 h 934714"/>
                  <a:gd name="connsiteX11" fmla="*/ 4161 w 133714"/>
                  <a:gd name="connsiteY11" fmla="*/ 252 h 934714"/>
                  <a:gd name="connsiteX12" fmla="*/ 10298 w 133714"/>
                  <a:gd name="connsiteY12" fmla="*/ 4160 h 934714"/>
                  <a:gd name="connsiteX13" fmla="*/ 49555 w 133714"/>
                  <a:gd name="connsiteY13" fmla="*/ 50789 h 934714"/>
                  <a:gd name="connsiteX14" fmla="*/ 51750 w 133714"/>
                  <a:gd name="connsiteY14" fmla="*/ 54183 h 934714"/>
                  <a:gd name="connsiteX15" fmla="*/ 56190 w 133714"/>
                  <a:gd name="connsiteY15" fmla="*/ 87269 h 934714"/>
                  <a:gd name="connsiteX16" fmla="*/ 74601 w 133714"/>
                  <a:gd name="connsiteY16" fmla="*/ 272292 h 934714"/>
                  <a:gd name="connsiteX17" fmla="*/ 95652 w 133714"/>
                  <a:gd name="connsiteY17" fmla="*/ 415743 h 934714"/>
                  <a:gd name="connsiteX18" fmla="*/ 134481 w 133714"/>
                  <a:gd name="connsiteY18" fmla="*/ 848155 h 934714"/>
                  <a:gd name="connsiteX19" fmla="*/ 134533 w 133714"/>
                  <a:gd name="connsiteY19" fmla="*/ 857189 h 934714"/>
                  <a:gd name="connsiteX20" fmla="*/ 133950 w 133714"/>
                  <a:gd name="connsiteY20" fmla="*/ 884103 h 934714"/>
                  <a:gd name="connsiteX21" fmla="*/ 133367 w 133714"/>
                  <a:gd name="connsiteY21" fmla="*/ 910949 h 934714"/>
                  <a:gd name="connsiteX22" fmla="*/ 133933 w 133714"/>
                  <a:gd name="connsiteY22" fmla="*/ 929857 h 934714"/>
                  <a:gd name="connsiteX23" fmla="*/ 129133 w 133714"/>
                  <a:gd name="connsiteY23" fmla="*/ 935326 h 934714"/>
                  <a:gd name="connsiteX24" fmla="*/ 128790 w 133714"/>
                  <a:gd name="connsiteY24" fmla="*/ 935326 h 934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33714" h="934714">
                    <a:moveTo>
                      <a:pt x="128790" y="935326"/>
                    </a:moveTo>
                    <a:cubicBezTo>
                      <a:pt x="126098" y="935326"/>
                      <a:pt x="123835" y="933235"/>
                      <a:pt x="123664" y="930509"/>
                    </a:cubicBezTo>
                    <a:cubicBezTo>
                      <a:pt x="123270" y="924286"/>
                      <a:pt x="123081" y="917703"/>
                      <a:pt x="123081" y="910949"/>
                    </a:cubicBezTo>
                    <a:cubicBezTo>
                      <a:pt x="123081" y="901880"/>
                      <a:pt x="123372" y="892675"/>
                      <a:pt x="123664" y="883760"/>
                    </a:cubicBezTo>
                    <a:cubicBezTo>
                      <a:pt x="123938" y="875000"/>
                      <a:pt x="124247" y="865949"/>
                      <a:pt x="124247" y="857189"/>
                    </a:cubicBezTo>
                    <a:cubicBezTo>
                      <a:pt x="124247" y="854206"/>
                      <a:pt x="124213" y="851223"/>
                      <a:pt x="124195" y="848240"/>
                    </a:cubicBezTo>
                    <a:cubicBezTo>
                      <a:pt x="122481" y="654097"/>
                      <a:pt x="104515" y="539086"/>
                      <a:pt x="85487" y="417320"/>
                    </a:cubicBezTo>
                    <a:cubicBezTo>
                      <a:pt x="78475" y="372389"/>
                      <a:pt x="71207" y="325932"/>
                      <a:pt x="64401" y="273629"/>
                    </a:cubicBezTo>
                    <a:cubicBezTo>
                      <a:pt x="56481" y="212857"/>
                      <a:pt x="50447" y="152137"/>
                      <a:pt x="45938" y="87989"/>
                    </a:cubicBezTo>
                    <a:cubicBezTo>
                      <a:pt x="45252" y="78320"/>
                      <a:pt x="43813" y="68994"/>
                      <a:pt x="41961" y="58057"/>
                    </a:cubicBezTo>
                    <a:cubicBezTo>
                      <a:pt x="31555" y="50772"/>
                      <a:pt x="5618" y="30560"/>
                      <a:pt x="252" y="6389"/>
                    </a:cubicBezTo>
                    <a:cubicBezTo>
                      <a:pt x="-365" y="3629"/>
                      <a:pt x="1384" y="869"/>
                      <a:pt x="4161" y="252"/>
                    </a:cubicBezTo>
                    <a:cubicBezTo>
                      <a:pt x="6938" y="-365"/>
                      <a:pt x="9681" y="1400"/>
                      <a:pt x="10298" y="4160"/>
                    </a:cubicBezTo>
                    <a:cubicBezTo>
                      <a:pt x="14172" y="21663"/>
                      <a:pt x="33115" y="39715"/>
                      <a:pt x="49555" y="50789"/>
                    </a:cubicBezTo>
                    <a:cubicBezTo>
                      <a:pt x="50721" y="51560"/>
                      <a:pt x="51510" y="52794"/>
                      <a:pt x="51750" y="54183"/>
                    </a:cubicBezTo>
                    <a:cubicBezTo>
                      <a:pt x="53361" y="63766"/>
                      <a:pt x="55384" y="75663"/>
                      <a:pt x="56190" y="87269"/>
                    </a:cubicBezTo>
                    <a:cubicBezTo>
                      <a:pt x="60698" y="151212"/>
                      <a:pt x="66715" y="211726"/>
                      <a:pt x="74601" y="272292"/>
                    </a:cubicBezTo>
                    <a:cubicBezTo>
                      <a:pt x="81390" y="324475"/>
                      <a:pt x="88641" y="370880"/>
                      <a:pt x="95652" y="415743"/>
                    </a:cubicBezTo>
                    <a:cubicBezTo>
                      <a:pt x="114733" y="537886"/>
                      <a:pt x="132767" y="653257"/>
                      <a:pt x="134481" y="848155"/>
                    </a:cubicBezTo>
                    <a:cubicBezTo>
                      <a:pt x="134498" y="851172"/>
                      <a:pt x="134533" y="854172"/>
                      <a:pt x="134533" y="857189"/>
                    </a:cubicBezTo>
                    <a:cubicBezTo>
                      <a:pt x="134533" y="866120"/>
                      <a:pt x="134224" y="875257"/>
                      <a:pt x="133950" y="884103"/>
                    </a:cubicBezTo>
                    <a:cubicBezTo>
                      <a:pt x="133658" y="892932"/>
                      <a:pt x="133367" y="902052"/>
                      <a:pt x="133367" y="910949"/>
                    </a:cubicBezTo>
                    <a:cubicBezTo>
                      <a:pt x="133367" y="917497"/>
                      <a:pt x="133555" y="923857"/>
                      <a:pt x="133933" y="929857"/>
                    </a:cubicBezTo>
                    <a:cubicBezTo>
                      <a:pt x="134104" y="932703"/>
                      <a:pt x="131961" y="935137"/>
                      <a:pt x="129133" y="935326"/>
                    </a:cubicBezTo>
                    <a:lnTo>
                      <a:pt x="128790" y="935326"/>
                    </a:ln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49" name="Freeform: Shape 948">
                <a:extLst>
                  <a:ext uri="{FF2B5EF4-FFF2-40B4-BE49-F238E27FC236}">
                    <a16:creationId xmlns:a16="http://schemas.microsoft.com/office/drawing/2014/main" id="{624A4CE2-E187-4A79-BF72-1E763CAC1ED3}"/>
                  </a:ext>
                </a:extLst>
              </p:cNvPr>
              <p:cNvSpPr/>
              <p:nvPr/>
            </p:nvSpPr>
            <p:spPr>
              <a:xfrm>
                <a:off x="2878911" y="6022871"/>
                <a:ext cx="25417" cy="109814"/>
              </a:xfrm>
              <a:custGeom>
                <a:avLst/>
                <a:gdLst>
                  <a:gd name="connsiteX0" fmla="*/ 5273 w 23142"/>
                  <a:gd name="connsiteY0" fmla="*/ 99938 h 99000"/>
                  <a:gd name="connsiteX1" fmla="*/ 4416 w 23142"/>
                  <a:gd name="connsiteY1" fmla="*/ 99869 h 99000"/>
                  <a:gd name="connsiteX2" fmla="*/ 198 w 23142"/>
                  <a:gd name="connsiteY2" fmla="*/ 93938 h 99000"/>
                  <a:gd name="connsiteX3" fmla="*/ 12936 w 23142"/>
                  <a:gd name="connsiteY3" fmla="*/ 4520 h 99000"/>
                  <a:gd name="connsiteX4" fmla="*/ 18781 w 23142"/>
                  <a:gd name="connsiteY4" fmla="*/ 183 h 99000"/>
                  <a:gd name="connsiteX5" fmla="*/ 23118 w 23142"/>
                  <a:gd name="connsiteY5" fmla="*/ 6029 h 99000"/>
                  <a:gd name="connsiteX6" fmla="*/ 10347 w 23142"/>
                  <a:gd name="connsiteY6" fmla="*/ 95635 h 99000"/>
                  <a:gd name="connsiteX7" fmla="*/ 5273 w 23142"/>
                  <a:gd name="connsiteY7" fmla="*/ 99938 h 99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42" h="99000">
                    <a:moveTo>
                      <a:pt x="5273" y="99938"/>
                    </a:moveTo>
                    <a:cubicBezTo>
                      <a:pt x="4998" y="99938"/>
                      <a:pt x="4707" y="99903"/>
                      <a:pt x="4416" y="99869"/>
                    </a:cubicBezTo>
                    <a:cubicBezTo>
                      <a:pt x="1621" y="99389"/>
                      <a:pt x="-264" y="96749"/>
                      <a:pt x="198" y="93938"/>
                    </a:cubicBezTo>
                    <a:cubicBezTo>
                      <a:pt x="250" y="93595"/>
                      <a:pt x="11238" y="16092"/>
                      <a:pt x="12936" y="4520"/>
                    </a:cubicBezTo>
                    <a:cubicBezTo>
                      <a:pt x="13347" y="1726"/>
                      <a:pt x="15987" y="-228"/>
                      <a:pt x="18781" y="183"/>
                    </a:cubicBezTo>
                    <a:cubicBezTo>
                      <a:pt x="21593" y="612"/>
                      <a:pt x="23530" y="3218"/>
                      <a:pt x="23118" y="6029"/>
                    </a:cubicBezTo>
                    <a:cubicBezTo>
                      <a:pt x="21404" y="17583"/>
                      <a:pt x="10364" y="95480"/>
                      <a:pt x="10347" y="95635"/>
                    </a:cubicBezTo>
                    <a:cubicBezTo>
                      <a:pt x="9918" y="98155"/>
                      <a:pt x="7741" y="99938"/>
                      <a:pt x="5273" y="99938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50" name="Freeform: Shape 949">
                <a:extLst>
                  <a:ext uri="{FF2B5EF4-FFF2-40B4-BE49-F238E27FC236}">
                    <a16:creationId xmlns:a16="http://schemas.microsoft.com/office/drawing/2014/main" id="{63D2BF77-C7C8-408F-A036-60F92566F249}"/>
                  </a:ext>
                </a:extLst>
              </p:cNvPr>
              <p:cNvSpPr/>
              <p:nvPr/>
            </p:nvSpPr>
            <p:spPr>
              <a:xfrm>
                <a:off x="2892973" y="5120254"/>
                <a:ext cx="38124" cy="914163"/>
              </a:xfrm>
              <a:custGeom>
                <a:avLst/>
                <a:gdLst>
                  <a:gd name="connsiteX0" fmla="*/ 5275 w 34714"/>
                  <a:gd name="connsiteY0" fmla="*/ 824117 h 824142"/>
                  <a:gd name="connsiteX1" fmla="*/ 4521 w 34714"/>
                  <a:gd name="connsiteY1" fmla="*/ 824066 h 824142"/>
                  <a:gd name="connsiteX2" fmla="*/ 184 w 34714"/>
                  <a:gd name="connsiteY2" fmla="*/ 818220 h 824142"/>
                  <a:gd name="connsiteX3" fmla="*/ 17121 w 34714"/>
                  <a:gd name="connsiteY3" fmla="*/ 707683 h 824142"/>
                  <a:gd name="connsiteX4" fmla="*/ 25229 w 34714"/>
                  <a:gd name="connsiteY4" fmla="*/ 621197 h 824142"/>
                  <a:gd name="connsiteX5" fmla="*/ 14738 w 34714"/>
                  <a:gd name="connsiteY5" fmla="*/ 452700 h 824142"/>
                  <a:gd name="connsiteX6" fmla="*/ 4195 w 34714"/>
                  <a:gd name="connsiteY6" fmla="*/ 283432 h 824142"/>
                  <a:gd name="connsiteX7" fmla="*/ 12578 w 34714"/>
                  <a:gd name="connsiteY7" fmla="*/ 137717 h 824142"/>
                  <a:gd name="connsiteX8" fmla="*/ 20138 w 34714"/>
                  <a:gd name="connsiteY8" fmla="*/ 10774 h 824142"/>
                  <a:gd name="connsiteX9" fmla="*/ 20086 w 34714"/>
                  <a:gd name="connsiteY9" fmla="*/ 129 h 824142"/>
                  <a:gd name="connsiteX10" fmla="*/ 30372 w 34714"/>
                  <a:gd name="connsiteY10" fmla="*/ 129 h 824142"/>
                  <a:gd name="connsiteX11" fmla="*/ 30424 w 34714"/>
                  <a:gd name="connsiteY11" fmla="*/ 10774 h 824142"/>
                  <a:gd name="connsiteX12" fmla="*/ 22829 w 34714"/>
                  <a:gd name="connsiteY12" fmla="*/ 138626 h 824142"/>
                  <a:gd name="connsiteX13" fmla="*/ 14481 w 34714"/>
                  <a:gd name="connsiteY13" fmla="*/ 283432 h 824142"/>
                  <a:gd name="connsiteX14" fmla="*/ 24972 w 34714"/>
                  <a:gd name="connsiteY14" fmla="*/ 451740 h 824142"/>
                  <a:gd name="connsiteX15" fmla="*/ 35515 w 34714"/>
                  <a:gd name="connsiteY15" fmla="*/ 621197 h 824142"/>
                  <a:gd name="connsiteX16" fmla="*/ 27286 w 34714"/>
                  <a:gd name="connsiteY16" fmla="*/ 709312 h 824142"/>
                  <a:gd name="connsiteX17" fmla="*/ 10349 w 34714"/>
                  <a:gd name="connsiteY17" fmla="*/ 819712 h 824142"/>
                  <a:gd name="connsiteX18" fmla="*/ 5275 w 34714"/>
                  <a:gd name="connsiteY18" fmla="*/ 824117 h 824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4714" h="824142">
                    <a:moveTo>
                      <a:pt x="5275" y="824117"/>
                    </a:moveTo>
                    <a:cubicBezTo>
                      <a:pt x="5018" y="824117"/>
                      <a:pt x="4778" y="824100"/>
                      <a:pt x="4521" y="824066"/>
                    </a:cubicBezTo>
                    <a:cubicBezTo>
                      <a:pt x="1709" y="823637"/>
                      <a:pt x="-228" y="821032"/>
                      <a:pt x="184" y="818220"/>
                    </a:cubicBezTo>
                    <a:cubicBezTo>
                      <a:pt x="8001" y="764837"/>
                      <a:pt x="13486" y="730449"/>
                      <a:pt x="17121" y="707683"/>
                    </a:cubicBezTo>
                    <a:cubicBezTo>
                      <a:pt x="24612" y="660677"/>
                      <a:pt x="25229" y="656837"/>
                      <a:pt x="25229" y="621197"/>
                    </a:cubicBezTo>
                    <a:cubicBezTo>
                      <a:pt x="25229" y="564643"/>
                      <a:pt x="19898" y="507729"/>
                      <a:pt x="14738" y="452700"/>
                    </a:cubicBezTo>
                    <a:cubicBezTo>
                      <a:pt x="9561" y="397466"/>
                      <a:pt x="4195" y="340363"/>
                      <a:pt x="4195" y="283432"/>
                    </a:cubicBezTo>
                    <a:cubicBezTo>
                      <a:pt x="4195" y="233220"/>
                      <a:pt x="8447" y="184671"/>
                      <a:pt x="12578" y="137717"/>
                    </a:cubicBezTo>
                    <a:cubicBezTo>
                      <a:pt x="16452" y="93437"/>
                      <a:pt x="20138" y="51609"/>
                      <a:pt x="20138" y="10774"/>
                    </a:cubicBezTo>
                    <a:cubicBezTo>
                      <a:pt x="20138" y="7260"/>
                      <a:pt x="20086" y="129"/>
                      <a:pt x="20086" y="129"/>
                    </a:cubicBezTo>
                    <a:lnTo>
                      <a:pt x="30372" y="129"/>
                    </a:lnTo>
                    <a:cubicBezTo>
                      <a:pt x="30372" y="129"/>
                      <a:pt x="30424" y="7243"/>
                      <a:pt x="30424" y="10774"/>
                    </a:cubicBezTo>
                    <a:cubicBezTo>
                      <a:pt x="30424" y="52071"/>
                      <a:pt x="26721" y="94106"/>
                      <a:pt x="22829" y="138626"/>
                    </a:cubicBezTo>
                    <a:cubicBezTo>
                      <a:pt x="18715" y="185357"/>
                      <a:pt x="14481" y="233666"/>
                      <a:pt x="14481" y="283432"/>
                    </a:cubicBezTo>
                    <a:cubicBezTo>
                      <a:pt x="14481" y="339883"/>
                      <a:pt x="19812" y="396746"/>
                      <a:pt x="24972" y="451740"/>
                    </a:cubicBezTo>
                    <a:cubicBezTo>
                      <a:pt x="30166" y="507009"/>
                      <a:pt x="35515" y="564163"/>
                      <a:pt x="35515" y="621197"/>
                    </a:cubicBezTo>
                    <a:cubicBezTo>
                      <a:pt x="35515" y="657643"/>
                      <a:pt x="34898" y="661551"/>
                      <a:pt x="27286" y="709312"/>
                    </a:cubicBezTo>
                    <a:cubicBezTo>
                      <a:pt x="23652" y="732043"/>
                      <a:pt x="18166" y="766397"/>
                      <a:pt x="10349" y="819712"/>
                    </a:cubicBezTo>
                    <a:cubicBezTo>
                      <a:pt x="9989" y="822266"/>
                      <a:pt x="7778" y="824117"/>
                      <a:pt x="5275" y="824117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51" name="Freeform: Shape 950">
                <a:extLst>
                  <a:ext uri="{FF2B5EF4-FFF2-40B4-BE49-F238E27FC236}">
                    <a16:creationId xmlns:a16="http://schemas.microsoft.com/office/drawing/2014/main" id="{ED98C092-009F-4277-ADDF-71203CC3F8BB}"/>
                  </a:ext>
                </a:extLst>
              </p:cNvPr>
              <p:cNvSpPr/>
              <p:nvPr/>
            </p:nvSpPr>
            <p:spPr>
              <a:xfrm>
                <a:off x="2509297" y="5982467"/>
                <a:ext cx="218866" cy="158303"/>
              </a:xfrm>
              <a:custGeom>
                <a:avLst/>
                <a:gdLst>
                  <a:gd name="connsiteX0" fmla="*/ 10554 w 199285"/>
                  <a:gd name="connsiteY0" fmla="*/ 111711 h 142714"/>
                  <a:gd name="connsiteX1" fmla="*/ 22674 w 199285"/>
                  <a:gd name="connsiteY1" fmla="*/ 132969 h 142714"/>
                  <a:gd name="connsiteX2" fmla="*/ 189748 w 199285"/>
                  <a:gd name="connsiteY2" fmla="*/ 59254 h 142714"/>
                  <a:gd name="connsiteX3" fmla="*/ 183183 w 199285"/>
                  <a:gd name="connsiteY3" fmla="*/ 36694 h 142714"/>
                  <a:gd name="connsiteX4" fmla="*/ 178914 w 199285"/>
                  <a:gd name="connsiteY4" fmla="*/ 23340 h 142714"/>
                  <a:gd name="connsiteX5" fmla="*/ 137377 w 199285"/>
                  <a:gd name="connsiteY5" fmla="*/ 51677 h 142714"/>
                  <a:gd name="connsiteX6" fmla="*/ 114286 w 199285"/>
                  <a:gd name="connsiteY6" fmla="*/ 31689 h 142714"/>
                  <a:gd name="connsiteX7" fmla="*/ 102508 w 199285"/>
                  <a:gd name="connsiteY7" fmla="*/ 17803 h 142714"/>
                  <a:gd name="connsiteX8" fmla="*/ 101223 w 199285"/>
                  <a:gd name="connsiteY8" fmla="*/ 17666 h 142714"/>
                  <a:gd name="connsiteX9" fmla="*/ 82177 w 199285"/>
                  <a:gd name="connsiteY9" fmla="*/ 32357 h 142714"/>
                  <a:gd name="connsiteX10" fmla="*/ 10554 w 199285"/>
                  <a:gd name="connsiteY10" fmla="*/ 111711 h 142714"/>
                  <a:gd name="connsiteX11" fmla="*/ 22674 w 199285"/>
                  <a:gd name="connsiteY11" fmla="*/ 143254 h 142714"/>
                  <a:gd name="connsiteX12" fmla="*/ 131 w 199285"/>
                  <a:gd name="connsiteY12" fmla="*/ 109534 h 142714"/>
                  <a:gd name="connsiteX13" fmla="*/ 2034 w 199285"/>
                  <a:gd name="connsiteY13" fmla="*/ 105369 h 142714"/>
                  <a:gd name="connsiteX14" fmla="*/ 73314 w 199285"/>
                  <a:gd name="connsiteY14" fmla="*/ 27146 h 142714"/>
                  <a:gd name="connsiteX15" fmla="*/ 101223 w 199285"/>
                  <a:gd name="connsiteY15" fmla="*/ 7380 h 142714"/>
                  <a:gd name="connsiteX16" fmla="*/ 104428 w 199285"/>
                  <a:gd name="connsiteY16" fmla="*/ 7706 h 142714"/>
                  <a:gd name="connsiteX17" fmla="*/ 123303 w 199285"/>
                  <a:gd name="connsiteY17" fmla="*/ 26734 h 142714"/>
                  <a:gd name="connsiteX18" fmla="*/ 137377 w 199285"/>
                  <a:gd name="connsiteY18" fmla="*/ 41391 h 142714"/>
                  <a:gd name="connsiteX19" fmla="*/ 174680 w 199285"/>
                  <a:gd name="connsiteY19" fmla="*/ 12711 h 142714"/>
                  <a:gd name="connsiteX20" fmla="*/ 175400 w 199285"/>
                  <a:gd name="connsiteY20" fmla="*/ 11906 h 142714"/>
                  <a:gd name="connsiteX21" fmla="*/ 173857 w 199285"/>
                  <a:gd name="connsiteY21" fmla="*/ 6763 h 142714"/>
                  <a:gd name="connsiteX22" fmla="*/ 177286 w 199285"/>
                  <a:gd name="connsiteY22" fmla="*/ 351 h 142714"/>
                  <a:gd name="connsiteX23" fmla="*/ 183697 w 199285"/>
                  <a:gd name="connsiteY23" fmla="*/ 3780 h 142714"/>
                  <a:gd name="connsiteX24" fmla="*/ 192971 w 199285"/>
                  <a:gd name="connsiteY24" fmla="*/ 33523 h 142714"/>
                  <a:gd name="connsiteX25" fmla="*/ 200034 w 199285"/>
                  <a:gd name="connsiteY25" fmla="*/ 59254 h 142714"/>
                  <a:gd name="connsiteX26" fmla="*/ 22674 w 199285"/>
                  <a:gd name="connsiteY26" fmla="*/ 143254 h 142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9285" h="142714">
                    <a:moveTo>
                      <a:pt x="10554" y="111711"/>
                    </a:moveTo>
                    <a:cubicBezTo>
                      <a:pt x="11051" y="117986"/>
                      <a:pt x="13263" y="132969"/>
                      <a:pt x="22674" y="132969"/>
                    </a:cubicBezTo>
                    <a:cubicBezTo>
                      <a:pt x="48611" y="132969"/>
                      <a:pt x="189748" y="100569"/>
                      <a:pt x="189748" y="59254"/>
                    </a:cubicBezTo>
                    <a:cubicBezTo>
                      <a:pt x="189731" y="56923"/>
                      <a:pt x="186251" y="46174"/>
                      <a:pt x="183183" y="36694"/>
                    </a:cubicBezTo>
                    <a:cubicBezTo>
                      <a:pt x="181845" y="32546"/>
                      <a:pt x="180405" y="28054"/>
                      <a:pt x="178914" y="23340"/>
                    </a:cubicBezTo>
                    <a:cubicBezTo>
                      <a:pt x="166177" y="37054"/>
                      <a:pt x="149686" y="51677"/>
                      <a:pt x="137377" y="51677"/>
                    </a:cubicBezTo>
                    <a:cubicBezTo>
                      <a:pt x="125291" y="51677"/>
                      <a:pt x="119445" y="41066"/>
                      <a:pt x="114286" y="31689"/>
                    </a:cubicBezTo>
                    <a:cubicBezTo>
                      <a:pt x="110600" y="25003"/>
                      <a:pt x="107120" y="18677"/>
                      <a:pt x="102508" y="17803"/>
                    </a:cubicBezTo>
                    <a:cubicBezTo>
                      <a:pt x="102080" y="17717"/>
                      <a:pt x="101651" y="17666"/>
                      <a:pt x="101223" y="17666"/>
                    </a:cubicBezTo>
                    <a:cubicBezTo>
                      <a:pt x="90817" y="17666"/>
                      <a:pt x="89154" y="20477"/>
                      <a:pt x="82177" y="32357"/>
                    </a:cubicBezTo>
                    <a:cubicBezTo>
                      <a:pt x="73228" y="47580"/>
                      <a:pt x="58348" y="72900"/>
                      <a:pt x="10554" y="111711"/>
                    </a:cubicBezTo>
                    <a:close/>
                    <a:moveTo>
                      <a:pt x="22674" y="143254"/>
                    </a:moveTo>
                    <a:cubicBezTo>
                      <a:pt x="9388" y="143254"/>
                      <a:pt x="748" y="130329"/>
                      <a:pt x="131" y="109534"/>
                    </a:cubicBezTo>
                    <a:cubicBezTo>
                      <a:pt x="80" y="107923"/>
                      <a:pt x="783" y="106380"/>
                      <a:pt x="2034" y="105369"/>
                    </a:cubicBezTo>
                    <a:cubicBezTo>
                      <a:pt x="50000" y="66780"/>
                      <a:pt x="64588" y="41974"/>
                      <a:pt x="73314" y="27146"/>
                    </a:cubicBezTo>
                    <a:cubicBezTo>
                      <a:pt x="80566" y="14820"/>
                      <a:pt x="84937" y="7380"/>
                      <a:pt x="101223" y="7380"/>
                    </a:cubicBezTo>
                    <a:cubicBezTo>
                      <a:pt x="102251" y="7380"/>
                      <a:pt x="103331" y="7483"/>
                      <a:pt x="104428" y="7706"/>
                    </a:cubicBezTo>
                    <a:cubicBezTo>
                      <a:pt x="113788" y="9454"/>
                      <a:pt x="118845" y="18643"/>
                      <a:pt x="123303" y="26734"/>
                    </a:cubicBezTo>
                    <a:cubicBezTo>
                      <a:pt x="128325" y="35854"/>
                      <a:pt x="131771" y="41391"/>
                      <a:pt x="137377" y="41391"/>
                    </a:cubicBezTo>
                    <a:cubicBezTo>
                      <a:pt x="144577" y="41391"/>
                      <a:pt x="158874" y="30403"/>
                      <a:pt x="174680" y="12711"/>
                    </a:cubicBezTo>
                    <a:cubicBezTo>
                      <a:pt x="174886" y="12489"/>
                      <a:pt x="175143" y="12197"/>
                      <a:pt x="175400" y="11906"/>
                    </a:cubicBezTo>
                    <a:lnTo>
                      <a:pt x="173857" y="6763"/>
                    </a:lnTo>
                    <a:cubicBezTo>
                      <a:pt x="173034" y="4054"/>
                      <a:pt x="174560" y="1174"/>
                      <a:pt x="177286" y="351"/>
                    </a:cubicBezTo>
                    <a:cubicBezTo>
                      <a:pt x="179994" y="-471"/>
                      <a:pt x="182874" y="1054"/>
                      <a:pt x="183697" y="3780"/>
                    </a:cubicBezTo>
                    <a:cubicBezTo>
                      <a:pt x="183697" y="3780"/>
                      <a:pt x="190863" y="26974"/>
                      <a:pt x="192971" y="33523"/>
                    </a:cubicBezTo>
                    <a:cubicBezTo>
                      <a:pt x="197737" y="48283"/>
                      <a:pt x="200034" y="55534"/>
                      <a:pt x="200034" y="59254"/>
                    </a:cubicBezTo>
                    <a:cubicBezTo>
                      <a:pt x="200034" y="111437"/>
                      <a:pt x="46468" y="143254"/>
                      <a:pt x="22674" y="143254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52" name="Freeform: Shape 951">
                <a:extLst>
                  <a:ext uri="{FF2B5EF4-FFF2-40B4-BE49-F238E27FC236}">
                    <a16:creationId xmlns:a16="http://schemas.microsoft.com/office/drawing/2014/main" id="{080F835E-0E5E-4581-9533-491FD45DF956}"/>
                  </a:ext>
                </a:extLst>
              </p:cNvPr>
              <p:cNvSpPr/>
              <p:nvPr/>
            </p:nvSpPr>
            <p:spPr>
              <a:xfrm>
                <a:off x="2616192" y="5924685"/>
                <a:ext cx="98842" cy="31376"/>
              </a:xfrm>
              <a:custGeom>
                <a:avLst/>
                <a:gdLst>
                  <a:gd name="connsiteX0" fmla="*/ 33685 w 90000"/>
                  <a:gd name="connsiteY0" fmla="*/ 29250 h 28285"/>
                  <a:gd name="connsiteX1" fmla="*/ 2845 w 90000"/>
                  <a:gd name="connsiteY1" fmla="*/ 21124 h 28285"/>
                  <a:gd name="connsiteX2" fmla="*/ 736 w 90000"/>
                  <a:gd name="connsiteY2" fmla="*/ 14164 h 28285"/>
                  <a:gd name="connsiteX3" fmla="*/ 7713 w 90000"/>
                  <a:gd name="connsiteY3" fmla="*/ 12056 h 28285"/>
                  <a:gd name="connsiteX4" fmla="*/ 33685 w 90000"/>
                  <a:gd name="connsiteY4" fmla="*/ 18964 h 28285"/>
                  <a:gd name="connsiteX5" fmla="*/ 83193 w 90000"/>
                  <a:gd name="connsiteY5" fmla="*/ 964 h 28285"/>
                  <a:gd name="connsiteX6" fmla="*/ 90308 w 90000"/>
                  <a:gd name="connsiteY6" fmla="*/ 2439 h 28285"/>
                  <a:gd name="connsiteX7" fmla="*/ 88833 w 90000"/>
                  <a:gd name="connsiteY7" fmla="*/ 9570 h 28285"/>
                  <a:gd name="connsiteX8" fmla="*/ 33685 w 90000"/>
                  <a:gd name="connsiteY8" fmla="*/ 29250 h 28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0000" h="28285">
                    <a:moveTo>
                      <a:pt x="33685" y="29250"/>
                    </a:moveTo>
                    <a:cubicBezTo>
                      <a:pt x="23399" y="29250"/>
                      <a:pt x="12736" y="26439"/>
                      <a:pt x="2845" y="21124"/>
                    </a:cubicBezTo>
                    <a:cubicBezTo>
                      <a:pt x="342" y="19770"/>
                      <a:pt x="-601" y="16667"/>
                      <a:pt x="736" y="14164"/>
                    </a:cubicBezTo>
                    <a:cubicBezTo>
                      <a:pt x="2091" y="11661"/>
                      <a:pt x="5211" y="10719"/>
                      <a:pt x="7713" y="12056"/>
                    </a:cubicBezTo>
                    <a:cubicBezTo>
                      <a:pt x="16113" y="16581"/>
                      <a:pt x="25096" y="18964"/>
                      <a:pt x="33685" y="18964"/>
                    </a:cubicBezTo>
                    <a:cubicBezTo>
                      <a:pt x="47948" y="18964"/>
                      <a:pt x="65519" y="12570"/>
                      <a:pt x="83193" y="964"/>
                    </a:cubicBezTo>
                    <a:cubicBezTo>
                      <a:pt x="85559" y="-579"/>
                      <a:pt x="88748" y="73"/>
                      <a:pt x="90308" y="2439"/>
                    </a:cubicBezTo>
                    <a:cubicBezTo>
                      <a:pt x="91868" y="4821"/>
                      <a:pt x="91199" y="8010"/>
                      <a:pt x="88833" y="9570"/>
                    </a:cubicBezTo>
                    <a:cubicBezTo>
                      <a:pt x="75171" y="18553"/>
                      <a:pt x="54496" y="29250"/>
                      <a:pt x="33685" y="29250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53" name="Freeform: Shape 952">
                <a:extLst>
                  <a:ext uri="{FF2B5EF4-FFF2-40B4-BE49-F238E27FC236}">
                    <a16:creationId xmlns:a16="http://schemas.microsoft.com/office/drawing/2014/main" id="{60CDCD5C-C047-45F8-B88E-DC599415E24D}"/>
                  </a:ext>
                </a:extLst>
              </p:cNvPr>
              <p:cNvSpPr/>
              <p:nvPr/>
            </p:nvSpPr>
            <p:spPr>
              <a:xfrm>
                <a:off x="2758100" y="6082695"/>
                <a:ext cx="151087" cy="191105"/>
              </a:xfrm>
              <a:custGeom>
                <a:avLst/>
                <a:gdLst>
                  <a:gd name="connsiteX0" fmla="*/ 40534 w 137571"/>
                  <a:gd name="connsiteY0" fmla="*/ 172879 h 172285"/>
                  <a:gd name="connsiteX1" fmla="*/ 129 w 137571"/>
                  <a:gd name="connsiteY1" fmla="*/ 143204 h 172285"/>
                  <a:gd name="connsiteX2" fmla="*/ 11100 w 137571"/>
                  <a:gd name="connsiteY2" fmla="*/ 109107 h 172285"/>
                  <a:gd name="connsiteX3" fmla="*/ 23529 w 137571"/>
                  <a:gd name="connsiteY3" fmla="*/ 76656 h 172285"/>
                  <a:gd name="connsiteX4" fmla="*/ 23786 w 137571"/>
                  <a:gd name="connsiteY4" fmla="*/ 75867 h 172285"/>
                  <a:gd name="connsiteX5" fmla="*/ 40123 w 137571"/>
                  <a:gd name="connsiteY5" fmla="*/ 41033 h 172285"/>
                  <a:gd name="connsiteX6" fmla="*/ 67431 w 137571"/>
                  <a:gd name="connsiteY6" fmla="*/ 14719 h 172285"/>
                  <a:gd name="connsiteX7" fmla="*/ 98426 w 137571"/>
                  <a:gd name="connsiteY7" fmla="*/ 34073 h 172285"/>
                  <a:gd name="connsiteX8" fmla="*/ 104529 w 137571"/>
                  <a:gd name="connsiteY8" fmla="*/ 40433 h 172285"/>
                  <a:gd name="connsiteX9" fmla="*/ 111883 w 137571"/>
                  <a:gd name="connsiteY9" fmla="*/ 35633 h 172285"/>
                  <a:gd name="connsiteX10" fmla="*/ 119151 w 137571"/>
                  <a:gd name="connsiteY10" fmla="*/ 35684 h 172285"/>
                  <a:gd name="connsiteX11" fmla="*/ 119117 w 137571"/>
                  <a:gd name="connsiteY11" fmla="*/ 42953 h 172285"/>
                  <a:gd name="connsiteX12" fmla="*/ 104169 w 137571"/>
                  <a:gd name="connsiteY12" fmla="*/ 50736 h 172285"/>
                  <a:gd name="connsiteX13" fmla="*/ 90626 w 137571"/>
                  <a:gd name="connsiteY13" fmla="*/ 40759 h 172285"/>
                  <a:gd name="connsiteX14" fmla="*/ 67431 w 137571"/>
                  <a:gd name="connsiteY14" fmla="*/ 25004 h 172285"/>
                  <a:gd name="connsiteX15" fmla="*/ 49106 w 137571"/>
                  <a:gd name="connsiteY15" fmla="*/ 46039 h 172285"/>
                  <a:gd name="connsiteX16" fmla="*/ 33454 w 137571"/>
                  <a:gd name="connsiteY16" fmla="*/ 79399 h 172285"/>
                  <a:gd name="connsiteX17" fmla="*/ 20443 w 137571"/>
                  <a:gd name="connsiteY17" fmla="*/ 113427 h 172285"/>
                  <a:gd name="connsiteX18" fmla="*/ 10414 w 137571"/>
                  <a:gd name="connsiteY18" fmla="*/ 143204 h 172285"/>
                  <a:gd name="connsiteX19" fmla="*/ 40534 w 137571"/>
                  <a:gd name="connsiteY19" fmla="*/ 162593 h 172285"/>
                  <a:gd name="connsiteX20" fmla="*/ 117883 w 137571"/>
                  <a:gd name="connsiteY20" fmla="*/ 74376 h 172285"/>
                  <a:gd name="connsiteX21" fmla="*/ 118020 w 137571"/>
                  <a:gd name="connsiteY21" fmla="*/ 73827 h 172285"/>
                  <a:gd name="connsiteX22" fmla="*/ 127414 w 137571"/>
                  <a:gd name="connsiteY22" fmla="*/ 31724 h 172285"/>
                  <a:gd name="connsiteX23" fmla="*/ 117369 w 137571"/>
                  <a:gd name="connsiteY23" fmla="*/ 9507 h 172285"/>
                  <a:gd name="connsiteX24" fmla="*/ 116049 w 137571"/>
                  <a:gd name="connsiteY24" fmla="*/ 2359 h 172285"/>
                  <a:gd name="connsiteX25" fmla="*/ 123214 w 137571"/>
                  <a:gd name="connsiteY25" fmla="*/ 1039 h 172285"/>
                  <a:gd name="connsiteX26" fmla="*/ 137700 w 137571"/>
                  <a:gd name="connsiteY26" fmla="*/ 31724 h 172285"/>
                  <a:gd name="connsiteX27" fmla="*/ 127929 w 137571"/>
                  <a:gd name="connsiteY27" fmla="*/ 76621 h 172285"/>
                  <a:gd name="connsiteX28" fmla="*/ 40534 w 137571"/>
                  <a:gd name="connsiteY28" fmla="*/ 172879 h 17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37571" h="172285">
                    <a:moveTo>
                      <a:pt x="40534" y="172879"/>
                    </a:moveTo>
                    <a:cubicBezTo>
                      <a:pt x="20460" y="172879"/>
                      <a:pt x="129" y="162696"/>
                      <a:pt x="129" y="143204"/>
                    </a:cubicBezTo>
                    <a:cubicBezTo>
                      <a:pt x="129" y="132781"/>
                      <a:pt x="5460" y="121279"/>
                      <a:pt x="11100" y="109107"/>
                    </a:cubicBezTo>
                    <a:cubicBezTo>
                      <a:pt x="15883" y="98787"/>
                      <a:pt x="20837" y="88124"/>
                      <a:pt x="23529" y="76656"/>
                    </a:cubicBezTo>
                    <a:cubicBezTo>
                      <a:pt x="23597" y="76381"/>
                      <a:pt x="23683" y="76124"/>
                      <a:pt x="23786" y="75867"/>
                    </a:cubicBezTo>
                    <a:cubicBezTo>
                      <a:pt x="29546" y="61827"/>
                      <a:pt x="35049" y="50119"/>
                      <a:pt x="40123" y="41033"/>
                    </a:cubicBezTo>
                    <a:cubicBezTo>
                      <a:pt x="50134" y="23084"/>
                      <a:pt x="58809" y="14719"/>
                      <a:pt x="67431" y="14719"/>
                    </a:cubicBezTo>
                    <a:cubicBezTo>
                      <a:pt x="81866" y="14719"/>
                      <a:pt x="91431" y="25913"/>
                      <a:pt x="98426" y="34073"/>
                    </a:cubicBezTo>
                    <a:cubicBezTo>
                      <a:pt x="100466" y="36456"/>
                      <a:pt x="103226" y="39661"/>
                      <a:pt x="104529" y="40433"/>
                    </a:cubicBezTo>
                    <a:cubicBezTo>
                      <a:pt x="105609" y="40296"/>
                      <a:pt x="107974" y="39490"/>
                      <a:pt x="111883" y="35633"/>
                    </a:cubicBezTo>
                    <a:cubicBezTo>
                      <a:pt x="113906" y="33644"/>
                      <a:pt x="117163" y="33644"/>
                      <a:pt x="119151" y="35684"/>
                    </a:cubicBezTo>
                    <a:cubicBezTo>
                      <a:pt x="121157" y="37690"/>
                      <a:pt x="121140" y="40947"/>
                      <a:pt x="119117" y="42953"/>
                    </a:cubicBezTo>
                    <a:cubicBezTo>
                      <a:pt x="113803" y="48199"/>
                      <a:pt x="108917" y="50736"/>
                      <a:pt x="104169" y="50736"/>
                    </a:cubicBezTo>
                    <a:cubicBezTo>
                      <a:pt x="99163" y="50736"/>
                      <a:pt x="95391" y="46330"/>
                      <a:pt x="90626" y="40759"/>
                    </a:cubicBezTo>
                    <a:cubicBezTo>
                      <a:pt x="84609" y="33747"/>
                      <a:pt x="77134" y="25004"/>
                      <a:pt x="67431" y="25004"/>
                    </a:cubicBezTo>
                    <a:cubicBezTo>
                      <a:pt x="66334" y="25004"/>
                      <a:pt x="60266" y="26016"/>
                      <a:pt x="49106" y="46039"/>
                    </a:cubicBezTo>
                    <a:cubicBezTo>
                      <a:pt x="44271" y="54696"/>
                      <a:pt x="39009" y="65924"/>
                      <a:pt x="33454" y="79399"/>
                    </a:cubicBezTo>
                    <a:cubicBezTo>
                      <a:pt x="30489" y="91741"/>
                      <a:pt x="25157" y="103261"/>
                      <a:pt x="20443" y="113427"/>
                    </a:cubicBezTo>
                    <a:cubicBezTo>
                      <a:pt x="15060" y="125033"/>
                      <a:pt x="10414" y="135061"/>
                      <a:pt x="10414" y="143204"/>
                    </a:cubicBezTo>
                    <a:cubicBezTo>
                      <a:pt x="10414" y="155941"/>
                      <a:pt x="25569" y="162593"/>
                      <a:pt x="40534" y="162593"/>
                    </a:cubicBezTo>
                    <a:cubicBezTo>
                      <a:pt x="64774" y="162593"/>
                      <a:pt x="106123" y="134547"/>
                      <a:pt x="117883" y="74376"/>
                    </a:cubicBezTo>
                    <a:cubicBezTo>
                      <a:pt x="117917" y="74187"/>
                      <a:pt x="117969" y="74016"/>
                      <a:pt x="118020" y="73827"/>
                    </a:cubicBezTo>
                    <a:cubicBezTo>
                      <a:pt x="124963" y="51541"/>
                      <a:pt x="127414" y="34159"/>
                      <a:pt x="127414" y="31724"/>
                    </a:cubicBezTo>
                    <a:cubicBezTo>
                      <a:pt x="127414" y="21439"/>
                      <a:pt x="124123" y="14170"/>
                      <a:pt x="117369" y="9507"/>
                    </a:cubicBezTo>
                    <a:cubicBezTo>
                      <a:pt x="115037" y="7896"/>
                      <a:pt x="114437" y="4690"/>
                      <a:pt x="116049" y="2359"/>
                    </a:cubicBezTo>
                    <a:cubicBezTo>
                      <a:pt x="117660" y="10"/>
                      <a:pt x="120866" y="-573"/>
                      <a:pt x="123214" y="1039"/>
                    </a:cubicBezTo>
                    <a:cubicBezTo>
                      <a:pt x="132814" y="7673"/>
                      <a:pt x="137700" y="17993"/>
                      <a:pt x="137700" y="31724"/>
                    </a:cubicBezTo>
                    <a:cubicBezTo>
                      <a:pt x="137700" y="36559"/>
                      <a:pt x="134426" y="55656"/>
                      <a:pt x="127929" y="76621"/>
                    </a:cubicBezTo>
                    <a:cubicBezTo>
                      <a:pt x="114969" y="142279"/>
                      <a:pt x="68151" y="172879"/>
                      <a:pt x="40534" y="172879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54" name="Freeform: Shape 953">
                <a:extLst>
                  <a:ext uri="{FF2B5EF4-FFF2-40B4-BE49-F238E27FC236}">
                    <a16:creationId xmlns:a16="http://schemas.microsoft.com/office/drawing/2014/main" id="{DD5448D4-43D3-4601-805B-002512FFFC78}"/>
                  </a:ext>
                </a:extLst>
              </p:cNvPr>
              <p:cNvSpPr/>
              <p:nvPr/>
            </p:nvSpPr>
            <p:spPr>
              <a:xfrm>
                <a:off x="2801941" y="6022862"/>
                <a:ext cx="101666" cy="34228"/>
              </a:xfrm>
              <a:custGeom>
                <a:avLst/>
                <a:gdLst>
                  <a:gd name="connsiteX0" fmla="*/ 42683 w 92571"/>
                  <a:gd name="connsiteY0" fmla="*/ 31734 h 30857"/>
                  <a:gd name="connsiteX1" fmla="*/ 2483 w 92571"/>
                  <a:gd name="connsiteY1" fmla="*/ 19820 h 30857"/>
                  <a:gd name="connsiteX2" fmla="*/ 940 w 92571"/>
                  <a:gd name="connsiteY2" fmla="*/ 12706 h 30857"/>
                  <a:gd name="connsiteX3" fmla="*/ 8055 w 92571"/>
                  <a:gd name="connsiteY3" fmla="*/ 11163 h 30857"/>
                  <a:gd name="connsiteX4" fmla="*/ 42683 w 92571"/>
                  <a:gd name="connsiteY4" fmla="*/ 21449 h 30857"/>
                  <a:gd name="connsiteX5" fmla="*/ 84581 w 92571"/>
                  <a:gd name="connsiteY5" fmla="*/ 1546 h 30857"/>
                  <a:gd name="connsiteX6" fmla="*/ 91815 w 92571"/>
                  <a:gd name="connsiteY6" fmla="*/ 1683 h 30857"/>
                  <a:gd name="connsiteX7" fmla="*/ 91798 w 92571"/>
                  <a:gd name="connsiteY7" fmla="*/ 8883 h 30857"/>
                  <a:gd name="connsiteX8" fmla="*/ 42683 w 92571"/>
                  <a:gd name="connsiteY8" fmla="*/ 31734 h 30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571" h="30857">
                    <a:moveTo>
                      <a:pt x="42683" y="31734"/>
                    </a:moveTo>
                    <a:cubicBezTo>
                      <a:pt x="28883" y="31734"/>
                      <a:pt x="14226" y="27380"/>
                      <a:pt x="2483" y="19820"/>
                    </a:cubicBezTo>
                    <a:cubicBezTo>
                      <a:pt x="101" y="18277"/>
                      <a:pt x="-585" y="15089"/>
                      <a:pt x="940" y="12706"/>
                    </a:cubicBezTo>
                    <a:cubicBezTo>
                      <a:pt x="2483" y="10306"/>
                      <a:pt x="5672" y="9637"/>
                      <a:pt x="8055" y="11163"/>
                    </a:cubicBezTo>
                    <a:cubicBezTo>
                      <a:pt x="18032" y="17609"/>
                      <a:pt x="30975" y="21449"/>
                      <a:pt x="42683" y="21449"/>
                    </a:cubicBezTo>
                    <a:cubicBezTo>
                      <a:pt x="56518" y="21449"/>
                      <a:pt x="70609" y="14746"/>
                      <a:pt x="84581" y="1546"/>
                    </a:cubicBezTo>
                    <a:cubicBezTo>
                      <a:pt x="86621" y="-391"/>
                      <a:pt x="89860" y="-340"/>
                      <a:pt x="91815" y="1683"/>
                    </a:cubicBezTo>
                    <a:cubicBezTo>
                      <a:pt x="93786" y="3689"/>
                      <a:pt x="93786" y="6894"/>
                      <a:pt x="91798" y="8883"/>
                    </a:cubicBezTo>
                    <a:cubicBezTo>
                      <a:pt x="75701" y="24089"/>
                      <a:pt x="59226" y="31734"/>
                      <a:pt x="42683" y="31734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55" name="Freeform: Shape 954">
                <a:extLst>
                  <a:ext uri="{FF2B5EF4-FFF2-40B4-BE49-F238E27FC236}">
                    <a16:creationId xmlns:a16="http://schemas.microsoft.com/office/drawing/2014/main" id="{A74B2C43-011F-4389-AB2E-8F9BD5408212}"/>
                  </a:ext>
                </a:extLst>
              </p:cNvPr>
              <p:cNvSpPr/>
              <p:nvPr/>
            </p:nvSpPr>
            <p:spPr>
              <a:xfrm>
                <a:off x="2364435" y="4681162"/>
                <a:ext cx="213216" cy="222480"/>
              </a:xfrm>
              <a:custGeom>
                <a:avLst/>
                <a:gdLst>
                  <a:gd name="connsiteX0" fmla="*/ 51599 w 194142"/>
                  <a:gd name="connsiteY0" fmla="*/ 72393 h 200571"/>
                  <a:gd name="connsiteX1" fmla="*/ 68794 w 194142"/>
                  <a:gd name="connsiteY1" fmla="*/ 78633 h 200571"/>
                  <a:gd name="connsiteX2" fmla="*/ 119125 w 194142"/>
                  <a:gd name="connsiteY2" fmla="*/ 92313 h 200571"/>
                  <a:gd name="connsiteX3" fmla="*/ 85799 w 194142"/>
                  <a:gd name="connsiteY3" fmla="*/ 32485 h 200571"/>
                  <a:gd name="connsiteX4" fmla="*/ 16268 w 194142"/>
                  <a:gd name="connsiteY4" fmla="*/ 13593 h 200571"/>
                  <a:gd name="connsiteX5" fmla="*/ 189668 w 194142"/>
                  <a:gd name="connsiteY5" fmla="*/ 201119 h 200571"/>
                  <a:gd name="connsiteX6" fmla="*/ 186805 w 194142"/>
                  <a:gd name="connsiteY6" fmla="*/ 200245 h 200571"/>
                  <a:gd name="connsiteX7" fmla="*/ 134194 w 194142"/>
                  <a:gd name="connsiteY7" fmla="*/ 168239 h 200571"/>
                  <a:gd name="connsiteX8" fmla="*/ 32331 w 194142"/>
                  <a:gd name="connsiteY8" fmla="*/ 79216 h 200571"/>
                  <a:gd name="connsiteX9" fmla="*/ 34285 w 194142"/>
                  <a:gd name="connsiteY9" fmla="*/ 73628 h 200571"/>
                  <a:gd name="connsiteX10" fmla="*/ 39034 w 194142"/>
                  <a:gd name="connsiteY10" fmla="*/ 71433 h 200571"/>
                  <a:gd name="connsiteX11" fmla="*/ 857 w 194142"/>
                  <a:gd name="connsiteY11" fmla="*/ 7919 h 200571"/>
                  <a:gd name="connsiteX12" fmla="*/ 1165 w 194142"/>
                  <a:gd name="connsiteY12" fmla="*/ 2176 h 200571"/>
                  <a:gd name="connsiteX13" fmla="*/ 6617 w 194142"/>
                  <a:gd name="connsiteY13" fmla="*/ 308 h 200571"/>
                  <a:gd name="connsiteX14" fmla="*/ 90582 w 194142"/>
                  <a:gd name="connsiteY14" fmla="*/ 23142 h 200571"/>
                  <a:gd name="connsiteX15" fmla="*/ 93719 w 194142"/>
                  <a:gd name="connsiteY15" fmla="*/ 25593 h 200571"/>
                  <a:gd name="connsiteX16" fmla="*/ 131005 w 194142"/>
                  <a:gd name="connsiteY16" fmla="*/ 92502 h 200571"/>
                  <a:gd name="connsiteX17" fmla="*/ 130731 w 194142"/>
                  <a:gd name="connsiteY17" fmla="*/ 97953 h 200571"/>
                  <a:gd name="connsiteX18" fmla="*/ 127919 w 194142"/>
                  <a:gd name="connsiteY18" fmla="*/ 101193 h 200571"/>
                  <a:gd name="connsiteX19" fmla="*/ 124337 w 194142"/>
                  <a:gd name="connsiteY19" fmla="*/ 102702 h 200571"/>
                  <a:gd name="connsiteX20" fmla="*/ 64988 w 194142"/>
                  <a:gd name="connsiteY20" fmla="*/ 88199 h 200571"/>
                  <a:gd name="connsiteX21" fmla="*/ 47108 w 194142"/>
                  <a:gd name="connsiteY21" fmla="*/ 81839 h 200571"/>
                  <a:gd name="connsiteX22" fmla="*/ 43868 w 194142"/>
                  <a:gd name="connsiteY22" fmla="*/ 81291 h 200571"/>
                  <a:gd name="connsiteX23" fmla="*/ 139354 w 194142"/>
                  <a:gd name="connsiteY23" fmla="*/ 159342 h 200571"/>
                  <a:gd name="connsiteX24" fmla="*/ 192531 w 194142"/>
                  <a:gd name="connsiteY24" fmla="*/ 191691 h 200571"/>
                  <a:gd name="connsiteX25" fmla="*/ 193937 w 194142"/>
                  <a:gd name="connsiteY25" fmla="*/ 198839 h 200571"/>
                  <a:gd name="connsiteX26" fmla="*/ 189668 w 194142"/>
                  <a:gd name="connsiteY26" fmla="*/ 201119 h 200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94142" h="200571">
                    <a:moveTo>
                      <a:pt x="51599" y="72393"/>
                    </a:moveTo>
                    <a:cubicBezTo>
                      <a:pt x="56571" y="73782"/>
                      <a:pt x="62297" y="76062"/>
                      <a:pt x="68794" y="78633"/>
                    </a:cubicBezTo>
                    <a:cubicBezTo>
                      <a:pt x="83177" y="84359"/>
                      <a:pt x="100799" y="91371"/>
                      <a:pt x="119125" y="92313"/>
                    </a:cubicBezTo>
                    <a:lnTo>
                      <a:pt x="85799" y="32485"/>
                    </a:lnTo>
                    <a:lnTo>
                      <a:pt x="16268" y="13593"/>
                    </a:lnTo>
                    <a:close/>
                    <a:moveTo>
                      <a:pt x="189668" y="201119"/>
                    </a:moveTo>
                    <a:cubicBezTo>
                      <a:pt x="188674" y="201119"/>
                      <a:pt x="187679" y="200828"/>
                      <a:pt x="186805" y="200245"/>
                    </a:cubicBezTo>
                    <a:cubicBezTo>
                      <a:pt x="169902" y="188930"/>
                      <a:pt x="151748" y="178405"/>
                      <a:pt x="134194" y="168239"/>
                    </a:cubicBezTo>
                    <a:cubicBezTo>
                      <a:pt x="87017" y="140913"/>
                      <a:pt x="42462" y="115096"/>
                      <a:pt x="32331" y="79216"/>
                    </a:cubicBezTo>
                    <a:cubicBezTo>
                      <a:pt x="31731" y="77125"/>
                      <a:pt x="32519" y="74896"/>
                      <a:pt x="34285" y="73628"/>
                    </a:cubicBezTo>
                    <a:cubicBezTo>
                      <a:pt x="35674" y="72633"/>
                      <a:pt x="37285" y="71896"/>
                      <a:pt x="39034" y="71433"/>
                    </a:cubicBezTo>
                    <a:lnTo>
                      <a:pt x="857" y="7919"/>
                    </a:lnTo>
                    <a:cubicBezTo>
                      <a:pt x="-223" y="6119"/>
                      <a:pt x="-86" y="3839"/>
                      <a:pt x="1165" y="2176"/>
                    </a:cubicBezTo>
                    <a:cubicBezTo>
                      <a:pt x="2434" y="496"/>
                      <a:pt x="4594" y="-241"/>
                      <a:pt x="6617" y="308"/>
                    </a:cubicBezTo>
                    <a:lnTo>
                      <a:pt x="90582" y="23142"/>
                    </a:lnTo>
                    <a:cubicBezTo>
                      <a:pt x="91919" y="23502"/>
                      <a:pt x="93051" y="24376"/>
                      <a:pt x="93719" y="25593"/>
                    </a:cubicBezTo>
                    <a:lnTo>
                      <a:pt x="131005" y="92502"/>
                    </a:lnTo>
                    <a:cubicBezTo>
                      <a:pt x="131965" y="94216"/>
                      <a:pt x="131862" y="96342"/>
                      <a:pt x="130731" y="97953"/>
                    </a:cubicBezTo>
                    <a:cubicBezTo>
                      <a:pt x="129857" y="99188"/>
                      <a:pt x="128862" y="100250"/>
                      <a:pt x="127919" y="101193"/>
                    </a:cubicBezTo>
                    <a:cubicBezTo>
                      <a:pt x="126959" y="102136"/>
                      <a:pt x="125691" y="102685"/>
                      <a:pt x="124337" y="102702"/>
                    </a:cubicBezTo>
                    <a:cubicBezTo>
                      <a:pt x="102222" y="103028"/>
                      <a:pt x="81548" y="94782"/>
                      <a:pt x="64988" y="88199"/>
                    </a:cubicBezTo>
                    <a:cubicBezTo>
                      <a:pt x="57908" y="85388"/>
                      <a:pt x="51788" y="82953"/>
                      <a:pt x="47108" y="81839"/>
                    </a:cubicBezTo>
                    <a:cubicBezTo>
                      <a:pt x="45857" y="81548"/>
                      <a:pt x="44777" y="81359"/>
                      <a:pt x="43868" y="81291"/>
                    </a:cubicBezTo>
                    <a:cubicBezTo>
                      <a:pt x="55645" y="110845"/>
                      <a:pt x="96377" y="134433"/>
                      <a:pt x="139354" y="159342"/>
                    </a:cubicBezTo>
                    <a:cubicBezTo>
                      <a:pt x="157045" y="169593"/>
                      <a:pt x="175337" y="180188"/>
                      <a:pt x="192531" y="191691"/>
                    </a:cubicBezTo>
                    <a:cubicBezTo>
                      <a:pt x="194879" y="193285"/>
                      <a:pt x="195514" y="196473"/>
                      <a:pt x="193937" y="198839"/>
                    </a:cubicBezTo>
                    <a:cubicBezTo>
                      <a:pt x="192942" y="200313"/>
                      <a:pt x="191314" y="201119"/>
                      <a:pt x="189668" y="201119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56" name="Freeform: Shape 955">
                <a:extLst>
                  <a:ext uri="{FF2B5EF4-FFF2-40B4-BE49-F238E27FC236}">
                    <a16:creationId xmlns:a16="http://schemas.microsoft.com/office/drawing/2014/main" id="{13DECBA1-6225-45F2-8B91-945D082BD20B}"/>
                  </a:ext>
                </a:extLst>
              </p:cNvPr>
              <p:cNvSpPr/>
              <p:nvPr/>
            </p:nvSpPr>
            <p:spPr>
              <a:xfrm>
                <a:off x="2477477" y="4744202"/>
                <a:ext cx="127083" cy="104109"/>
              </a:xfrm>
              <a:custGeom>
                <a:avLst/>
                <a:gdLst>
                  <a:gd name="connsiteX0" fmla="*/ 111715 w 115714"/>
                  <a:gd name="connsiteY0" fmla="*/ 94058 h 93857"/>
                  <a:gd name="connsiteX1" fmla="*/ 109367 w 115714"/>
                  <a:gd name="connsiteY1" fmla="*/ 93527 h 93857"/>
                  <a:gd name="connsiteX2" fmla="*/ 106487 w 115714"/>
                  <a:gd name="connsiteY2" fmla="*/ 92087 h 93857"/>
                  <a:gd name="connsiteX3" fmla="*/ 51321 w 115714"/>
                  <a:gd name="connsiteY3" fmla="*/ 52624 h 93857"/>
                  <a:gd name="connsiteX4" fmla="*/ 38121 w 115714"/>
                  <a:gd name="connsiteY4" fmla="*/ 38173 h 93857"/>
                  <a:gd name="connsiteX5" fmla="*/ 2327 w 115714"/>
                  <a:gd name="connsiteY5" fmla="*/ 9492 h 93857"/>
                  <a:gd name="connsiteX6" fmla="*/ 1058 w 115714"/>
                  <a:gd name="connsiteY6" fmla="*/ 2327 h 93857"/>
                  <a:gd name="connsiteX7" fmla="*/ 8224 w 115714"/>
                  <a:gd name="connsiteY7" fmla="*/ 1058 h 93857"/>
                  <a:gd name="connsiteX8" fmla="*/ 45304 w 115714"/>
                  <a:gd name="connsiteY8" fmla="*/ 30835 h 93857"/>
                  <a:gd name="connsiteX9" fmla="*/ 59190 w 115714"/>
                  <a:gd name="connsiteY9" fmla="*/ 46007 h 93857"/>
                  <a:gd name="connsiteX10" fmla="*/ 111115 w 115714"/>
                  <a:gd name="connsiteY10" fmla="*/ 82898 h 93857"/>
                  <a:gd name="connsiteX11" fmla="*/ 113807 w 115714"/>
                  <a:gd name="connsiteY11" fmla="*/ 84253 h 93857"/>
                  <a:gd name="connsiteX12" fmla="*/ 116824 w 115714"/>
                  <a:gd name="connsiteY12" fmla="*/ 88915 h 93857"/>
                  <a:gd name="connsiteX13" fmla="*/ 111715 w 115714"/>
                  <a:gd name="connsiteY13" fmla="*/ 94058 h 93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5714" h="93857">
                    <a:moveTo>
                      <a:pt x="111715" y="94058"/>
                    </a:moveTo>
                    <a:cubicBezTo>
                      <a:pt x="110910" y="94058"/>
                      <a:pt x="110070" y="93887"/>
                      <a:pt x="109367" y="93527"/>
                    </a:cubicBezTo>
                    <a:lnTo>
                      <a:pt x="106487" y="92087"/>
                    </a:lnTo>
                    <a:cubicBezTo>
                      <a:pt x="68344" y="72870"/>
                      <a:pt x="61212" y="64384"/>
                      <a:pt x="51321" y="52624"/>
                    </a:cubicBezTo>
                    <a:cubicBezTo>
                      <a:pt x="47875" y="48544"/>
                      <a:pt x="43967" y="43898"/>
                      <a:pt x="38121" y="38173"/>
                    </a:cubicBezTo>
                    <a:cubicBezTo>
                      <a:pt x="29378" y="29635"/>
                      <a:pt x="17670" y="20241"/>
                      <a:pt x="2327" y="9492"/>
                    </a:cubicBezTo>
                    <a:cubicBezTo>
                      <a:pt x="-5" y="7864"/>
                      <a:pt x="-570" y="4658"/>
                      <a:pt x="1058" y="2327"/>
                    </a:cubicBezTo>
                    <a:cubicBezTo>
                      <a:pt x="2704" y="-5"/>
                      <a:pt x="5910" y="-570"/>
                      <a:pt x="8224" y="1058"/>
                    </a:cubicBezTo>
                    <a:cubicBezTo>
                      <a:pt x="24030" y="12150"/>
                      <a:pt x="36167" y="21870"/>
                      <a:pt x="45304" y="30835"/>
                    </a:cubicBezTo>
                    <a:cubicBezTo>
                      <a:pt x="51510" y="36887"/>
                      <a:pt x="55590" y="41738"/>
                      <a:pt x="59190" y="46007"/>
                    </a:cubicBezTo>
                    <a:cubicBezTo>
                      <a:pt x="68618" y="57218"/>
                      <a:pt x="74858" y="64624"/>
                      <a:pt x="111115" y="82898"/>
                    </a:cubicBezTo>
                    <a:lnTo>
                      <a:pt x="113807" y="84253"/>
                    </a:lnTo>
                    <a:cubicBezTo>
                      <a:pt x="115590" y="85058"/>
                      <a:pt x="116824" y="86841"/>
                      <a:pt x="116824" y="88915"/>
                    </a:cubicBezTo>
                    <a:cubicBezTo>
                      <a:pt x="116824" y="91761"/>
                      <a:pt x="114544" y="94058"/>
                      <a:pt x="111715" y="94058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57" name="Freeform: Shape 956">
                <a:extLst>
                  <a:ext uri="{FF2B5EF4-FFF2-40B4-BE49-F238E27FC236}">
                    <a16:creationId xmlns:a16="http://schemas.microsoft.com/office/drawing/2014/main" id="{59464BF1-1BFA-4FCB-BB9C-EF407615BB4B}"/>
                  </a:ext>
                </a:extLst>
              </p:cNvPr>
              <p:cNvSpPr/>
              <p:nvPr/>
            </p:nvSpPr>
            <p:spPr>
              <a:xfrm>
                <a:off x="2428725" y="4672080"/>
                <a:ext cx="103078" cy="115518"/>
              </a:xfrm>
              <a:custGeom>
                <a:avLst/>
                <a:gdLst>
                  <a:gd name="connsiteX0" fmla="*/ 86146 w 93857"/>
                  <a:gd name="connsiteY0" fmla="*/ 104614 h 104142"/>
                  <a:gd name="connsiteX1" fmla="*/ 85032 w 93857"/>
                  <a:gd name="connsiteY1" fmla="*/ 104494 h 104142"/>
                  <a:gd name="connsiteX2" fmla="*/ 81123 w 93857"/>
                  <a:gd name="connsiteY2" fmla="*/ 98374 h 104142"/>
                  <a:gd name="connsiteX3" fmla="*/ 84278 w 93857"/>
                  <a:gd name="connsiteY3" fmla="*/ 70020 h 104142"/>
                  <a:gd name="connsiteX4" fmla="*/ 84192 w 93857"/>
                  <a:gd name="connsiteY4" fmla="*/ 68151 h 104142"/>
                  <a:gd name="connsiteX5" fmla="*/ 79546 w 93857"/>
                  <a:gd name="connsiteY5" fmla="*/ 57283 h 104142"/>
                  <a:gd name="connsiteX6" fmla="*/ 68078 w 93857"/>
                  <a:gd name="connsiteY6" fmla="*/ 42763 h 104142"/>
                  <a:gd name="connsiteX7" fmla="*/ 30912 w 93857"/>
                  <a:gd name="connsiteY7" fmla="*/ 10414 h 104142"/>
                  <a:gd name="connsiteX8" fmla="*/ 9569 w 93857"/>
                  <a:gd name="connsiteY8" fmla="*/ 32168 h 104142"/>
                  <a:gd name="connsiteX9" fmla="*/ 2455 w 93857"/>
                  <a:gd name="connsiteY9" fmla="*/ 33643 h 104142"/>
                  <a:gd name="connsiteX10" fmla="*/ 964 w 93857"/>
                  <a:gd name="connsiteY10" fmla="*/ 26529 h 104142"/>
                  <a:gd name="connsiteX11" fmla="*/ 30912 w 93857"/>
                  <a:gd name="connsiteY11" fmla="*/ 129 h 104142"/>
                  <a:gd name="connsiteX12" fmla="*/ 76221 w 93857"/>
                  <a:gd name="connsiteY12" fmla="*/ 36471 h 104142"/>
                  <a:gd name="connsiteX13" fmla="*/ 87483 w 93857"/>
                  <a:gd name="connsiteY13" fmla="*/ 50751 h 104142"/>
                  <a:gd name="connsiteX14" fmla="*/ 94443 w 93857"/>
                  <a:gd name="connsiteY14" fmla="*/ 67346 h 104142"/>
                  <a:gd name="connsiteX15" fmla="*/ 94564 w 93857"/>
                  <a:gd name="connsiteY15" fmla="*/ 69934 h 104142"/>
                  <a:gd name="connsiteX16" fmla="*/ 91169 w 93857"/>
                  <a:gd name="connsiteY16" fmla="*/ 100586 h 104142"/>
                  <a:gd name="connsiteX17" fmla="*/ 86146 w 93857"/>
                  <a:gd name="connsiteY17" fmla="*/ 104614 h 104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93857" h="104142">
                    <a:moveTo>
                      <a:pt x="86146" y="104614"/>
                    </a:moveTo>
                    <a:cubicBezTo>
                      <a:pt x="85786" y="104614"/>
                      <a:pt x="85409" y="104580"/>
                      <a:pt x="85032" y="104494"/>
                    </a:cubicBezTo>
                    <a:cubicBezTo>
                      <a:pt x="82272" y="103894"/>
                      <a:pt x="80506" y="101151"/>
                      <a:pt x="81123" y="98374"/>
                    </a:cubicBezTo>
                    <a:cubicBezTo>
                      <a:pt x="83215" y="88894"/>
                      <a:pt x="84278" y="79363"/>
                      <a:pt x="84278" y="70020"/>
                    </a:cubicBezTo>
                    <a:cubicBezTo>
                      <a:pt x="84278" y="69351"/>
                      <a:pt x="84243" y="68768"/>
                      <a:pt x="84192" y="68151"/>
                    </a:cubicBezTo>
                    <a:cubicBezTo>
                      <a:pt x="83901" y="64363"/>
                      <a:pt x="82289" y="60591"/>
                      <a:pt x="79546" y="57283"/>
                    </a:cubicBezTo>
                    <a:cubicBezTo>
                      <a:pt x="75501" y="52346"/>
                      <a:pt x="71729" y="47477"/>
                      <a:pt x="68078" y="42763"/>
                    </a:cubicBezTo>
                    <a:cubicBezTo>
                      <a:pt x="54655" y="25397"/>
                      <a:pt x="43049" y="10414"/>
                      <a:pt x="30912" y="10414"/>
                    </a:cubicBezTo>
                    <a:cubicBezTo>
                      <a:pt x="27638" y="10414"/>
                      <a:pt x="20078" y="16106"/>
                      <a:pt x="9569" y="32168"/>
                    </a:cubicBezTo>
                    <a:cubicBezTo>
                      <a:pt x="8026" y="34534"/>
                      <a:pt x="4838" y="35203"/>
                      <a:pt x="2455" y="33643"/>
                    </a:cubicBezTo>
                    <a:cubicBezTo>
                      <a:pt x="72" y="32100"/>
                      <a:pt x="-579" y="28911"/>
                      <a:pt x="964" y="26529"/>
                    </a:cubicBezTo>
                    <a:cubicBezTo>
                      <a:pt x="12586" y="8768"/>
                      <a:pt x="22392" y="129"/>
                      <a:pt x="30912" y="129"/>
                    </a:cubicBezTo>
                    <a:cubicBezTo>
                      <a:pt x="48106" y="129"/>
                      <a:pt x="61135" y="16963"/>
                      <a:pt x="76221" y="36471"/>
                    </a:cubicBezTo>
                    <a:cubicBezTo>
                      <a:pt x="79821" y="41117"/>
                      <a:pt x="83541" y="45934"/>
                      <a:pt x="87483" y="50751"/>
                    </a:cubicBezTo>
                    <a:cubicBezTo>
                      <a:pt x="91581" y="55671"/>
                      <a:pt x="93981" y="61431"/>
                      <a:pt x="94443" y="67346"/>
                    </a:cubicBezTo>
                    <a:cubicBezTo>
                      <a:pt x="94529" y="68237"/>
                      <a:pt x="94564" y="69094"/>
                      <a:pt x="94564" y="69934"/>
                    </a:cubicBezTo>
                    <a:cubicBezTo>
                      <a:pt x="94564" y="80100"/>
                      <a:pt x="93415" y="90386"/>
                      <a:pt x="91169" y="100586"/>
                    </a:cubicBezTo>
                    <a:cubicBezTo>
                      <a:pt x="90638" y="102986"/>
                      <a:pt x="88512" y="104614"/>
                      <a:pt x="86146" y="104614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58" name="Freeform: Shape 957">
                <a:extLst>
                  <a:ext uri="{FF2B5EF4-FFF2-40B4-BE49-F238E27FC236}">
                    <a16:creationId xmlns:a16="http://schemas.microsoft.com/office/drawing/2014/main" id="{DA546C3D-A704-4310-9F50-D235E1B2DDF6}"/>
                  </a:ext>
                </a:extLst>
              </p:cNvPr>
              <p:cNvSpPr/>
              <p:nvPr/>
            </p:nvSpPr>
            <p:spPr>
              <a:xfrm>
                <a:off x="2521023" y="4477677"/>
                <a:ext cx="170855" cy="308049"/>
              </a:xfrm>
              <a:custGeom>
                <a:avLst/>
                <a:gdLst>
                  <a:gd name="connsiteX0" fmla="*/ 34591 w 155571"/>
                  <a:gd name="connsiteY0" fmla="*/ 278623 h 277714"/>
                  <a:gd name="connsiteX1" fmla="*/ 30956 w 155571"/>
                  <a:gd name="connsiteY1" fmla="*/ 277114 h 277714"/>
                  <a:gd name="connsiteX2" fmla="*/ 1796 w 155571"/>
                  <a:gd name="connsiteY2" fmla="*/ 246806 h 277714"/>
                  <a:gd name="connsiteX3" fmla="*/ 1539 w 155571"/>
                  <a:gd name="connsiteY3" fmla="*/ 246531 h 277714"/>
                  <a:gd name="connsiteX4" fmla="*/ 1676 w 155571"/>
                  <a:gd name="connsiteY4" fmla="*/ 239297 h 277714"/>
                  <a:gd name="connsiteX5" fmla="*/ 8876 w 155571"/>
                  <a:gd name="connsiteY5" fmla="*/ 239331 h 277714"/>
                  <a:gd name="connsiteX6" fmla="*/ 31574 w 155571"/>
                  <a:gd name="connsiteY6" fmla="*/ 263091 h 277714"/>
                  <a:gd name="connsiteX7" fmla="*/ 64145 w 155571"/>
                  <a:gd name="connsiteY7" fmla="*/ 109320 h 277714"/>
                  <a:gd name="connsiteX8" fmla="*/ 122311 w 155571"/>
                  <a:gd name="connsiteY8" fmla="*/ 14520 h 277714"/>
                  <a:gd name="connsiteX9" fmla="*/ 148659 w 155571"/>
                  <a:gd name="connsiteY9" fmla="*/ 446 h 277714"/>
                  <a:gd name="connsiteX10" fmla="*/ 155259 w 155571"/>
                  <a:gd name="connsiteY10" fmla="*/ 3497 h 277714"/>
                  <a:gd name="connsiteX11" fmla="*/ 152191 w 155571"/>
                  <a:gd name="connsiteY11" fmla="*/ 10097 h 277714"/>
                  <a:gd name="connsiteX12" fmla="*/ 128311 w 155571"/>
                  <a:gd name="connsiteY12" fmla="*/ 22869 h 277714"/>
                  <a:gd name="connsiteX13" fmla="*/ 74242 w 155571"/>
                  <a:gd name="connsiteY13" fmla="*/ 111291 h 277714"/>
                  <a:gd name="connsiteX14" fmla="*/ 39631 w 155571"/>
                  <a:gd name="connsiteY14" fmla="*/ 274560 h 277714"/>
                  <a:gd name="connsiteX15" fmla="*/ 36048 w 155571"/>
                  <a:gd name="connsiteY15" fmla="*/ 278417 h 277714"/>
                  <a:gd name="connsiteX16" fmla="*/ 34591 w 155571"/>
                  <a:gd name="connsiteY16" fmla="*/ 278623 h 27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5571" h="277714">
                    <a:moveTo>
                      <a:pt x="34591" y="278623"/>
                    </a:moveTo>
                    <a:cubicBezTo>
                      <a:pt x="33254" y="278623"/>
                      <a:pt x="31934" y="278091"/>
                      <a:pt x="30956" y="277114"/>
                    </a:cubicBezTo>
                    <a:cubicBezTo>
                      <a:pt x="21014" y="267171"/>
                      <a:pt x="11242" y="256817"/>
                      <a:pt x="1796" y="246806"/>
                    </a:cubicBezTo>
                    <a:lnTo>
                      <a:pt x="1539" y="246531"/>
                    </a:lnTo>
                    <a:cubicBezTo>
                      <a:pt x="-381" y="244491"/>
                      <a:pt x="-346" y="241251"/>
                      <a:pt x="1676" y="239297"/>
                    </a:cubicBezTo>
                    <a:cubicBezTo>
                      <a:pt x="3682" y="237343"/>
                      <a:pt x="6888" y="237343"/>
                      <a:pt x="8876" y="239331"/>
                    </a:cubicBezTo>
                    <a:cubicBezTo>
                      <a:pt x="8876" y="239331"/>
                      <a:pt x="24014" y="255360"/>
                      <a:pt x="31574" y="263091"/>
                    </a:cubicBezTo>
                    <a:cubicBezTo>
                      <a:pt x="36168" y="241646"/>
                      <a:pt x="58934" y="135891"/>
                      <a:pt x="64145" y="109320"/>
                    </a:cubicBezTo>
                    <a:cubicBezTo>
                      <a:pt x="71739" y="70629"/>
                      <a:pt x="93494" y="35194"/>
                      <a:pt x="122311" y="14520"/>
                    </a:cubicBezTo>
                    <a:cubicBezTo>
                      <a:pt x="130676" y="8520"/>
                      <a:pt x="139539" y="3789"/>
                      <a:pt x="148659" y="446"/>
                    </a:cubicBezTo>
                    <a:cubicBezTo>
                      <a:pt x="151299" y="-531"/>
                      <a:pt x="154265" y="823"/>
                      <a:pt x="155259" y="3497"/>
                    </a:cubicBezTo>
                    <a:cubicBezTo>
                      <a:pt x="156237" y="6171"/>
                      <a:pt x="154865" y="9120"/>
                      <a:pt x="152191" y="10097"/>
                    </a:cubicBezTo>
                    <a:cubicBezTo>
                      <a:pt x="143945" y="13114"/>
                      <a:pt x="135922" y="17417"/>
                      <a:pt x="128311" y="22869"/>
                    </a:cubicBezTo>
                    <a:cubicBezTo>
                      <a:pt x="101551" y="42051"/>
                      <a:pt x="81339" y="75120"/>
                      <a:pt x="74242" y="111291"/>
                    </a:cubicBezTo>
                    <a:cubicBezTo>
                      <a:pt x="68996" y="137966"/>
                      <a:pt x="45134" y="248880"/>
                      <a:pt x="39631" y="274560"/>
                    </a:cubicBezTo>
                    <a:cubicBezTo>
                      <a:pt x="39236" y="276411"/>
                      <a:pt x="37865" y="277886"/>
                      <a:pt x="36048" y="278417"/>
                    </a:cubicBezTo>
                    <a:cubicBezTo>
                      <a:pt x="35568" y="278554"/>
                      <a:pt x="35088" y="278623"/>
                      <a:pt x="34591" y="278623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59" name="Freeform: Shape 958">
                <a:extLst>
                  <a:ext uri="{FF2B5EF4-FFF2-40B4-BE49-F238E27FC236}">
                    <a16:creationId xmlns:a16="http://schemas.microsoft.com/office/drawing/2014/main" id="{186555CE-5BE7-4745-8559-B330571E5507}"/>
                  </a:ext>
                </a:extLst>
              </p:cNvPr>
              <p:cNvSpPr/>
              <p:nvPr/>
            </p:nvSpPr>
            <p:spPr>
              <a:xfrm rot="20220973">
                <a:off x="2692616" y="4374877"/>
                <a:ext cx="38415" cy="22462"/>
              </a:xfrm>
              <a:custGeom>
                <a:avLst/>
                <a:gdLst>
                  <a:gd name="connsiteX0" fmla="*/ 64160 w 71584"/>
                  <a:gd name="connsiteY0" fmla="*/ 42945 h 41443"/>
                  <a:gd name="connsiteX1" fmla="*/ 58006 w 71584"/>
                  <a:gd name="connsiteY1" fmla="*/ 39755 h 41443"/>
                  <a:gd name="connsiteX2" fmla="*/ 7552 w 71584"/>
                  <a:gd name="connsiteY2" fmla="*/ 15265 h 41443"/>
                  <a:gd name="connsiteX3" fmla="*/ 190 w 71584"/>
                  <a:gd name="connsiteY3" fmla="*/ 7555 h 41443"/>
                  <a:gd name="connsiteX4" fmla="*/ 7894 w 71584"/>
                  <a:gd name="connsiteY4" fmla="*/ 195 h 41443"/>
                  <a:gd name="connsiteX5" fmla="*/ 70288 w 71584"/>
                  <a:gd name="connsiteY5" fmla="*/ 31039 h 41443"/>
                  <a:gd name="connsiteX6" fmla="*/ 68505 w 71584"/>
                  <a:gd name="connsiteY6" fmla="*/ 41538 h 41443"/>
                  <a:gd name="connsiteX7" fmla="*/ 64160 w 71584"/>
                  <a:gd name="connsiteY7" fmla="*/ 42945 h 4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1584" h="41443">
                    <a:moveTo>
                      <a:pt x="64160" y="42945"/>
                    </a:moveTo>
                    <a:cubicBezTo>
                      <a:pt x="61799" y="42945"/>
                      <a:pt x="59463" y="41815"/>
                      <a:pt x="58006" y="39755"/>
                    </a:cubicBezTo>
                    <a:cubicBezTo>
                      <a:pt x="49893" y="28301"/>
                      <a:pt x="27689" y="15718"/>
                      <a:pt x="7552" y="15265"/>
                    </a:cubicBezTo>
                    <a:cubicBezTo>
                      <a:pt x="3390" y="15165"/>
                      <a:pt x="95" y="11724"/>
                      <a:pt x="190" y="7555"/>
                    </a:cubicBezTo>
                    <a:cubicBezTo>
                      <a:pt x="286" y="3410"/>
                      <a:pt x="3777" y="19"/>
                      <a:pt x="7894" y="195"/>
                    </a:cubicBezTo>
                    <a:cubicBezTo>
                      <a:pt x="33717" y="798"/>
                      <a:pt x="59890" y="16346"/>
                      <a:pt x="70288" y="31039"/>
                    </a:cubicBezTo>
                    <a:cubicBezTo>
                      <a:pt x="72700" y="34455"/>
                      <a:pt x="71896" y="39152"/>
                      <a:pt x="68505" y="41538"/>
                    </a:cubicBezTo>
                    <a:cubicBezTo>
                      <a:pt x="67174" y="42493"/>
                      <a:pt x="65667" y="42945"/>
                      <a:pt x="64160" y="42945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60" name="Freeform: Shape 959">
                <a:extLst>
                  <a:ext uri="{FF2B5EF4-FFF2-40B4-BE49-F238E27FC236}">
                    <a16:creationId xmlns:a16="http://schemas.microsoft.com/office/drawing/2014/main" id="{6B313848-1032-4AA4-9B22-0A21C7638D23}"/>
                  </a:ext>
                </a:extLst>
              </p:cNvPr>
              <p:cNvSpPr/>
              <p:nvPr/>
            </p:nvSpPr>
            <p:spPr>
              <a:xfrm rot="20220973">
                <a:off x="2714693" y="4400888"/>
                <a:ext cx="13142" cy="23484"/>
              </a:xfrm>
              <a:custGeom>
                <a:avLst/>
                <a:gdLst>
                  <a:gd name="connsiteX0" fmla="*/ 25159 w 24489"/>
                  <a:gd name="connsiteY0" fmla="*/ 30501 h 43327"/>
                  <a:gd name="connsiteX1" fmla="*/ 9989 w 24489"/>
                  <a:gd name="connsiteY1" fmla="*/ 43009 h 43327"/>
                  <a:gd name="connsiteX2" fmla="*/ 519 w 24489"/>
                  <a:gd name="connsiteY2" fmla="*/ 14249 h 43327"/>
                  <a:gd name="connsiteX3" fmla="*/ 15690 w 24489"/>
                  <a:gd name="connsiteY3" fmla="*/ 1741 h 43327"/>
                  <a:gd name="connsiteX4" fmla="*/ 25159 w 24489"/>
                  <a:gd name="connsiteY4" fmla="*/ 30501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89" h="43327">
                    <a:moveTo>
                      <a:pt x="25159" y="30501"/>
                    </a:moveTo>
                    <a:cubicBezTo>
                      <a:pt x="23577" y="41904"/>
                      <a:pt x="16795" y="47505"/>
                      <a:pt x="9989" y="43009"/>
                    </a:cubicBezTo>
                    <a:cubicBezTo>
                      <a:pt x="3182" y="38538"/>
                      <a:pt x="-1063" y="25653"/>
                      <a:pt x="519" y="14249"/>
                    </a:cubicBezTo>
                    <a:cubicBezTo>
                      <a:pt x="2077" y="2846"/>
                      <a:pt x="8883" y="-2755"/>
                      <a:pt x="15690" y="1741"/>
                    </a:cubicBezTo>
                    <a:cubicBezTo>
                      <a:pt x="22497" y="6237"/>
                      <a:pt x="26742" y="19097"/>
                      <a:pt x="25159" y="30501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61" name="Freeform: Shape 960">
                <a:extLst>
                  <a:ext uri="{FF2B5EF4-FFF2-40B4-BE49-F238E27FC236}">
                    <a16:creationId xmlns:a16="http://schemas.microsoft.com/office/drawing/2014/main" id="{8C655BE1-1021-4641-A09B-FA406A7AC34A}"/>
                  </a:ext>
                </a:extLst>
              </p:cNvPr>
              <p:cNvSpPr/>
              <p:nvPr/>
            </p:nvSpPr>
            <p:spPr>
              <a:xfrm rot="21570368" flipH="1">
                <a:off x="2681173" y="4396134"/>
                <a:ext cx="31514" cy="63658"/>
              </a:xfrm>
              <a:custGeom>
                <a:avLst/>
                <a:gdLst>
                  <a:gd name="connsiteX0" fmla="*/ 14937 w 37371"/>
                  <a:gd name="connsiteY0" fmla="*/ 76803 h 74743"/>
                  <a:gd name="connsiteX1" fmla="*/ 10733 w 37371"/>
                  <a:gd name="connsiteY1" fmla="*/ 76149 h 74743"/>
                  <a:gd name="connsiteX2" fmla="*/ 7276 w 37371"/>
                  <a:gd name="connsiteY2" fmla="*/ 69329 h 74743"/>
                  <a:gd name="connsiteX3" fmla="*/ 14096 w 37371"/>
                  <a:gd name="connsiteY3" fmla="*/ 65872 h 74743"/>
                  <a:gd name="connsiteX4" fmla="*/ 14844 w 37371"/>
                  <a:gd name="connsiteY4" fmla="*/ 65872 h 74743"/>
                  <a:gd name="connsiteX5" fmla="*/ 22972 w 37371"/>
                  <a:gd name="connsiteY5" fmla="*/ 61481 h 74743"/>
                  <a:gd name="connsiteX6" fmla="*/ 22972 w 37371"/>
                  <a:gd name="connsiteY6" fmla="*/ 61294 h 74743"/>
                  <a:gd name="connsiteX7" fmla="*/ 20730 w 37371"/>
                  <a:gd name="connsiteY7" fmla="*/ 59706 h 74743"/>
                  <a:gd name="connsiteX8" fmla="*/ 10079 w 37371"/>
                  <a:gd name="connsiteY8" fmla="*/ 40553 h 74743"/>
                  <a:gd name="connsiteX9" fmla="*/ 18114 w 37371"/>
                  <a:gd name="connsiteY9" fmla="*/ 14205 h 74743"/>
                  <a:gd name="connsiteX10" fmla="*/ 19982 w 37371"/>
                  <a:gd name="connsiteY10" fmla="*/ 10188 h 74743"/>
                  <a:gd name="connsiteX11" fmla="*/ 27083 w 37371"/>
                  <a:gd name="connsiteY11" fmla="*/ 7478 h 74743"/>
                  <a:gd name="connsiteX12" fmla="*/ 29792 w 37371"/>
                  <a:gd name="connsiteY12" fmla="*/ 14579 h 74743"/>
                  <a:gd name="connsiteX13" fmla="*/ 27830 w 37371"/>
                  <a:gd name="connsiteY13" fmla="*/ 18784 h 74743"/>
                  <a:gd name="connsiteX14" fmla="*/ 20823 w 37371"/>
                  <a:gd name="connsiteY14" fmla="*/ 40459 h 74743"/>
                  <a:gd name="connsiteX15" fmla="*/ 26709 w 37371"/>
                  <a:gd name="connsiteY15" fmla="*/ 50643 h 74743"/>
                  <a:gd name="connsiteX16" fmla="*/ 33810 w 37371"/>
                  <a:gd name="connsiteY16" fmla="*/ 61201 h 74743"/>
                  <a:gd name="connsiteX17" fmla="*/ 33810 w 37371"/>
                  <a:gd name="connsiteY17" fmla="*/ 62042 h 74743"/>
                  <a:gd name="connsiteX18" fmla="*/ 14844 w 37371"/>
                  <a:gd name="connsiteY18" fmla="*/ 76617 h 747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7371" h="74743">
                    <a:moveTo>
                      <a:pt x="14937" y="76803"/>
                    </a:moveTo>
                    <a:cubicBezTo>
                      <a:pt x="13442" y="76803"/>
                      <a:pt x="12041" y="76617"/>
                      <a:pt x="10733" y="76149"/>
                    </a:cubicBezTo>
                    <a:cubicBezTo>
                      <a:pt x="7930" y="75215"/>
                      <a:pt x="6341" y="72132"/>
                      <a:pt x="7276" y="69329"/>
                    </a:cubicBezTo>
                    <a:cubicBezTo>
                      <a:pt x="8210" y="66526"/>
                      <a:pt x="11293" y="64938"/>
                      <a:pt x="14096" y="65872"/>
                    </a:cubicBezTo>
                    <a:cubicBezTo>
                      <a:pt x="14096" y="65872"/>
                      <a:pt x="14376" y="65872"/>
                      <a:pt x="14844" y="65872"/>
                    </a:cubicBezTo>
                    <a:cubicBezTo>
                      <a:pt x="18674" y="65872"/>
                      <a:pt x="22972" y="62789"/>
                      <a:pt x="22972" y="61481"/>
                    </a:cubicBezTo>
                    <a:lnTo>
                      <a:pt x="22972" y="61294"/>
                    </a:lnTo>
                    <a:cubicBezTo>
                      <a:pt x="22972" y="61294"/>
                      <a:pt x="21477" y="60266"/>
                      <a:pt x="20730" y="59706"/>
                    </a:cubicBezTo>
                    <a:cubicBezTo>
                      <a:pt x="16806" y="56996"/>
                      <a:pt x="10079" y="52512"/>
                      <a:pt x="10079" y="40553"/>
                    </a:cubicBezTo>
                    <a:cubicBezTo>
                      <a:pt x="10079" y="31397"/>
                      <a:pt x="14563" y="21867"/>
                      <a:pt x="18114" y="14205"/>
                    </a:cubicBezTo>
                    <a:cubicBezTo>
                      <a:pt x="18768" y="12804"/>
                      <a:pt x="19422" y="11496"/>
                      <a:pt x="19982" y="10188"/>
                    </a:cubicBezTo>
                    <a:cubicBezTo>
                      <a:pt x="21197" y="7478"/>
                      <a:pt x="24373" y="6264"/>
                      <a:pt x="27083" y="7478"/>
                    </a:cubicBezTo>
                    <a:cubicBezTo>
                      <a:pt x="29792" y="8693"/>
                      <a:pt x="31007" y="11870"/>
                      <a:pt x="29792" y="14579"/>
                    </a:cubicBezTo>
                    <a:cubicBezTo>
                      <a:pt x="29232" y="15887"/>
                      <a:pt x="28578" y="17289"/>
                      <a:pt x="27830" y="18784"/>
                    </a:cubicBezTo>
                    <a:cubicBezTo>
                      <a:pt x="24654" y="25417"/>
                      <a:pt x="20823" y="33732"/>
                      <a:pt x="20823" y="40459"/>
                    </a:cubicBezTo>
                    <a:cubicBezTo>
                      <a:pt x="20823" y="46626"/>
                      <a:pt x="23252" y="48307"/>
                      <a:pt x="26709" y="50643"/>
                    </a:cubicBezTo>
                    <a:cubicBezTo>
                      <a:pt x="29512" y="52512"/>
                      <a:pt x="33810" y="55408"/>
                      <a:pt x="33810" y="61201"/>
                    </a:cubicBezTo>
                    <a:cubicBezTo>
                      <a:pt x="33810" y="61481"/>
                      <a:pt x="33810" y="61761"/>
                      <a:pt x="33810" y="62042"/>
                    </a:cubicBezTo>
                    <a:cubicBezTo>
                      <a:pt x="33249" y="71011"/>
                      <a:pt x="22318" y="76617"/>
                      <a:pt x="14844" y="76617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962" name="Freeform: Shape 961">
                <a:extLst>
                  <a:ext uri="{FF2B5EF4-FFF2-40B4-BE49-F238E27FC236}">
                    <a16:creationId xmlns:a16="http://schemas.microsoft.com/office/drawing/2014/main" id="{38510D4B-4646-4FF6-900F-649EC02E934A}"/>
                  </a:ext>
                </a:extLst>
              </p:cNvPr>
              <p:cNvSpPr/>
              <p:nvPr/>
            </p:nvSpPr>
            <p:spPr>
              <a:xfrm rot="20220973">
                <a:off x="2662988" y="4394878"/>
                <a:ext cx="13142" cy="23484"/>
              </a:xfrm>
              <a:custGeom>
                <a:avLst/>
                <a:gdLst>
                  <a:gd name="connsiteX0" fmla="*/ 25159 w 24489"/>
                  <a:gd name="connsiteY0" fmla="*/ 30501 h 43327"/>
                  <a:gd name="connsiteX1" fmla="*/ 9989 w 24489"/>
                  <a:gd name="connsiteY1" fmla="*/ 43009 h 43327"/>
                  <a:gd name="connsiteX2" fmla="*/ 519 w 24489"/>
                  <a:gd name="connsiteY2" fmla="*/ 14249 h 43327"/>
                  <a:gd name="connsiteX3" fmla="*/ 15690 w 24489"/>
                  <a:gd name="connsiteY3" fmla="*/ 1741 h 43327"/>
                  <a:gd name="connsiteX4" fmla="*/ 25159 w 24489"/>
                  <a:gd name="connsiteY4" fmla="*/ 30501 h 43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489" h="43327">
                    <a:moveTo>
                      <a:pt x="25159" y="30501"/>
                    </a:moveTo>
                    <a:cubicBezTo>
                      <a:pt x="23577" y="41904"/>
                      <a:pt x="16795" y="47505"/>
                      <a:pt x="9989" y="43009"/>
                    </a:cubicBezTo>
                    <a:cubicBezTo>
                      <a:pt x="3182" y="38538"/>
                      <a:pt x="-1063" y="25653"/>
                      <a:pt x="519" y="14249"/>
                    </a:cubicBezTo>
                    <a:cubicBezTo>
                      <a:pt x="2077" y="2846"/>
                      <a:pt x="8883" y="-2755"/>
                      <a:pt x="15690" y="1741"/>
                    </a:cubicBezTo>
                    <a:cubicBezTo>
                      <a:pt x="22497" y="6237"/>
                      <a:pt x="26742" y="19097"/>
                      <a:pt x="25159" y="30501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591" name="Group 590">
              <a:extLst>
                <a:ext uri="{FF2B5EF4-FFF2-40B4-BE49-F238E27FC236}">
                  <a16:creationId xmlns:a16="http://schemas.microsoft.com/office/drawing/2014/main" id="{F868947A-C923-4097-8E54-83766B5953D1}"/>
                </a:ext>
              </a:extLst>
            </p:cNvPr>
            <p:cNvGrpSpPr/>
            <p:nvPr/>
          </p:nvGrpSpPr>
          <p:grpSpPr>
            <a:xfrm>
              <a:off x="529381" y="5221797"/>
              <a:ext cx="1181807" cy="939687"/>
              <a:chOff x="5651198" y="981564"/>
              <a:chExt cx="1181807" cy="939687"/>
            </a:xfrm>
          </p:grpSpPr>
          <p:sp>
            <p:nvSpPr>
              <p:cNvPr id="623" name="Freeform: Shape 622">
                <a:extLst>
                  <a:ext uri="{FF2B5EF4-FFF2-40B4-BE49-F238E27FC236}">
                    <a16:creationId xmlns:a16="http://schemas.microsoft.com/office/drawing/2014/main" id="{366E5592-2E5A-40CE-8980-AE8A7CBCEF10}"/>
                  </a:ext>
                </a:extLst>
              </p:cNvPr>
              <p:cNvSpPr/>
              <p:nvPr/>
            </p:nvSpPr>
            <p:spPr>
              <a:xfrm>
                <a:off x="6825291" y="1811469"/>
                <a:ext cx="7714" cy="7714"/>
              </a:xfrm>
              <a:custGeom>
                <a:avLst/>
                <a:gdLst>
                  <a:gd name="connsiteX0" fmla="*/ 6634 w 7714"/>
                  <a:gd name="connsiteY0" fmla="*/ 257 h 7714"/>
                  <a:gd name="connsiteX1" fmla="*/ 257 w 7714"/>
                  <a:gd name="connsiteY1" fmla="*/ 3960 h 7714"/>
                  <a:gd name="connsiteX2" fmla="*/ 7834 w 7714"/>
                  <a:gd name="connsiteY2" fmla="*/ 8348 h 7714"/>
                  <a:gd name="connsiteX3" fmla="*/ 6634 w 7714"/>
                  <a:gd name="connsiteY3" fmla="*/ 25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4" h="7714">
                    <a:moveTo>
                      <a:pt x="6634" y="257"/>
                    </a:moveTo>
                    <a:lnTo>
                      <a:pt x="257" y="3960"/>
                    </a:lnTo>
                    <a:lnTo>
                      <a:pt x="7834" y="8348"/>
                    </a:lnTo>
                    <a:cubicBezTo>
                      <a:pt x="7594" y="5606"/>
                      <a:pt x="7217" y="2897"/>
                      <a:pt x="6634" y="257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24" name="Freeform: Shape 623">
                <a:extLst>
                  <a:ext uri="{FF2B5EF4-FFF2-40B4-BE49-F238E27FC236}">
                    <a16:creationId xmlns:a16="http://schemas.microsoft.com/office/drawing/2014/main" id="{C5E91EEB-E56E-4D74-AC57-EEBD5FCD1869}"/>
                  </a:ext>
                </a:extLst>
              </p:cNvPr>
              <p:cNvSpPr/>
              <p:nvPr/>
            </p:nvSpPr>
            <p:spPr>
              <a:xfrm>
                <a:off x="6789669" y="1767034"/>
                <a:ext cx="7714" cy="2571"/>
              </a:xfrm>
              <a:custGeom>
                <a:avLst/>
                <a:gdLst>
                  <a:gd name="connsiteX0" fmla="*/ 7560 w 7714"/>
                  <a:gd name="connsiteY0" fmla="*/ 2897 h 2571"/>
                  <a:gd name="connsiteX1" fmla="*/ 257 w 7714"/>
                  <a:gd name="connsiteY1" fmla="*/ 257 h 2571"/>
                  <a:gd name="connsiteX2" fmla="*/ 6223 w 7714"/>
                  <a:gd name="connsiteY2" fmla="*/ 3686 h 2571"/>
                  <a:gd name="connsiteX3" fmla="*/ 7560 w 7714"/>
                  <a:gd name="connsiteY3" fmla="*/ 2897 h 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4" h="2571">
                    <a:moveTo>
                      <a:pt x="7560" y="2897"/>
                    </a:moveTo>
                    <a:cubicBezTo>
                      <a:pt x="5229" y="1869"/>
                      <a:pt x="2794" y="1011"/>
                      <a:pt x="257" y="257"/>
                    </a:cubicBezTo>
                    <a:lnTo>
                      <a:pt x="6223" y="3686"/>
                    </a:lnTo>
                    <a:lnTo>
                      <a:pt x="7560" y="289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25" name="Freeform: Shape 624">
                <a:extLst>
                  <a:ext uri="{FF2B5EF4-FFF2-40B4-BE49-F238E27FC236}">
                    <a16:creationId xmlns:a16="http://schemas.microsoft.com/office/drawing/2014/main" id="{563DA2FD-80E5-4C68-8D58-E40935619ABC}"/>
                  </a:ext>
                </a:extLst>
              </p:cNvPr>
              <p:cNvSpPr/>
              <p:nvPr/>
            </p:nvSpPr>
            <p:spPr>
              <a:xfrm>
                <a:off x="6780069" y="1806189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823 w 30857"/>
                  <a:gd name="connsiteY1" fmla="*/ 18189 h 18000"/>
                  <a:gd name="connsiteX2" fmla="*/ 31354 w 30857"/>
                  <a:gd name="connsiteY2" fmla="*/ 9240 h 18000"/>
                  <a:gd name="connsiteX3" fmla="*/ 15823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823" y="18189"/>
                    </a:lnTo>
                    <a:lnTo>
                      <a:pt x="31354" y="9240"/>
                    </a:lnTo>
                    <a:lnTo>
                      <a:pt x="15823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26" name="Freeform: Shape 625">
                <a:extLst>
                  <a:ext uri="{FF2B5EF4-FFF2-40B4-BE49-F238E27FC236}">
                    <a16:creationId xmlns:a16="http://schemas.microsoft.com/office/drawing/2014/main" id="{83DB87D0-B9D8-4BCC-B22F-B984FC09F19C}"/>
                  </a:ext>
                </a:extLst>
              </p:cNvPr>
              <p:cNvSpPr/>
              <p:nvPr/>
            </p:nvSpPr>
            <p:spPr>
              <a:xfrm>
                <a:off x="6802697" y="1781332"/>
                <a:ext cx="20571" cy="15429"/>
              </a:xfrm>
              <a:custGeom>
                <a:avLst/>
                <a:gdLst>
                  <a:gd name="connsiteX0" fmla="*/ 22097 w 20571"/>
                  <a:gd name="connsiteY0" fmla="*/ 12566 h 15428"/>
                  <a:gd name="connsiteX1" fmla="*/ 12326 w 20571"/>
                  <a:gd name="connsiteY1" fmla="*/ 257 h 15428"/>
                  <a:gd name="connsiteX2" fmla="*/ 257 w 20571"/>
                  <a:gd name="connsiteY2" fmla="*/ 7252 h 15428"/>
                  <a:gd name="connsiteX3" fmla="*/ 15789 w 20571"/>
                  <a:gd name="connsiteY3" fmla="*/ 16234 h 15428"/>
                  <a:gd name="connsiteX4" fmla="*/ 22097 w 20571"/>
                  <a:gd name="connsiteY4" fmla="*/ 12566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71" h="15428">
                    <a:moveTo>
                      <a:pt x="22097" y="12566"/>
                    </a:moveTo>
                    <a:cubicBezTo>
                      <a:pt x="19423" y="8074"/>
                      <a:pt x="16166" y="3926"/>
                      <a:pt x="12326" y="257"/>
                    </a:cubicBezTo>
                    <a:lnTo>
                      <a:pt x="257" y="7252"/>
                    </a:lnTo>
                    <a:lnTo>
                      <a:pt x="15789" y="16234"/>
                    </a:lnTo>
                    <a:lnTo>
                      <a:pt x="22097" y="1256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27" name="Freeform: Shape 626">
                <a:extLst>
                  <a:ext uri="{FF2B5EF4-FFF2-40B4-BE49-F238E27FC236}">
                    <a16:creationId xmlns:a16="http://schemas.microsoft.com/office/drawing/2014/main" id="{68895028-85C1-4BA7-8013-15D4CAC46A1E}"/>
                  </a:ext>
                </a:extLst>
              </p:cNvPr>
              <p:cNvSpPr/>
              <p:nvPr/>
            </p:nvSpPr>
            <p:spPr>
              <a:xfrm>
                <a:off x="6780069" y="1859846"/>
                <a:ext cx="30857" cy="18000"/>
              </a:xfrm>
              <a:custGeom>
                <a:avLst/>
                <a:gdLst>
                  <a:gd name="connsiteX0" fmla="*/ 15823 w 30857"/>
                  <a:gd name="connsiteY0" fmla="*/ 257 h 18000"/>
                  <a:gd name="connsiteX1" fmla="*/ 257 w 30857"/>
                  <a:gd name="connsiteY1" fmla="*/ 9240 h 18000"/>
                  <a:gd name="connsiteX2" fmla="*/ 15823 w 30857"/>
                  <a:gd name="connsiteY2" fmla="*/ 18223 h 18000"/>
                  <a:gd name="connsiteX3" fmla="*/ 31354 w 30857"/>
                  <a:gd name="connsiteY3" fmla="*/ 9240 h 18000"/>
                  <a:gd name="connsiteX4" fmla="*/ 15823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823" y="257"/>
                    </a:moveTo>
                    <a:lnTo>
                      <a:pt x="257" y="9240"/>
                    </a:lnTo>
                    <a:lnTo>
                      <a:pt x="15823" y="18223"/>
                    </a:lnTo>
                    <a:lnTo>
                      <a:pt x="31354" y="9240"/>
                    </a:lnTo>
                    <a:lnTo>
                      <a:pt x="15823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28" name="Freeform: Shape 627">
                <a:extLst>
                  <a:ext uri="{FF2B5EF4-FFF2-40B4-BE49-F238E27FC236}">
                    <a16:creationId xmlns:a16="http://schemas.microsoft.com/office/drawing/2014/main" id="{445F32A4-6FC7-492F-8FA7-AB616F62C516}"/>
                  </a:ext>
                </a:extLst>
              </p:cNvPr>
              <p:cNvSpPr/>
              <p:nvPr/>
            </p:nvSpPr>
            <p:spPr>
              <a:xfrm>
                <a:off x="6802697" y="1833034"/>
                <a:ext cx="28286" cy="18000"/>
              </a:xfrm>
              <a:custGeom>
                <a:avLst/>
                <a:gdLst>
                  <a:gd name="connsiteX0" fmla="*/ 29091 w 28285"/>
                  <a:gd name="connsiteY0" fmla="*/ 7937 h 18000"/>
                  <a:gd name="connsiteX1" fmla="*/ 15789 w 28285"/>
                  <a:gd name="connsiteY1" fmla="*/ 257 h 18000"/>
                  <a:gd name="connsiteX2" fmla="*/ 257 w 28285"/>
                  <a:gd name="connsiteY2" fmla="*/ 9206 h 18000"/>
                  <a:gd name="connsiteX3" fmla="*/ 15789 w 28285"/>
                  <a:gd name="connsiteY3" fmla="*/ 18189 h 18000"/>
                  <a:gd name="connsiteX4" fmla="*/ 28303 w 28285"/>
                  <a:gd name="connsiteY4" fmla="*/ 10954 h 18000"/>
                  <a:gd name="connsiteX5" fmla="*/ 29091 w 28285"/>
                  <a:gd name="connsiteY5" fmla="*/ 793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85" h="18000">
                    <a:moveTo>
                      <a:pt x="29091" y="7937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28303" y="10954"/>
                    </a:lnTo>
                    <a:cubicBezTo>
                      <a:pt x="28577" y="9960"/>
                      <a:pt x="28851" y="8932"/>
                      <a:pt x="29091" y="7937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29" name="Freeform: Shape 628">
                <a:extLst>
                  <a:ext uri="{FF2B5EF4-FFF2-40B4-BE49-F238E27FC236}">
                    <a16:creationId xmlns:a16="http://schemas.microsoft.com/office/drawing/2014/main" id="{74D96989-E046-4C52-AF4A-731CA56C197C}"/>
                  </a:ext>
                </a:extLst>
              </p:cNvPr>
              <p:cNvSpPr/>
              <p:nvPr/>
            </p:nvSpPr>
            <p:spPr>
              <a:xfrm>
                <a:off x="6734880" y="1806189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54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54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0" name="Freeform: Shape 629">
                <a:extLst>
                  <a:ext uri="{FF2B5EF4-FFF2-40B4-BE49-F238E27FC236}">
                    <a16:creationId xmlns:a16="http://schemas.microsoft.com/office/drawing/2014/main" id="{05C25E0F-72E9-4352-8B92-8EFEFB69C0CF}"/>
                  </a:ext>
                </a:extLst>
              </p:cNvPr>
              <p:cNvSpPr/>
              <p:nvPr/>
            </p:nvSpPr>
            <p:spPr>
              <a:xfrm>
                <a:off x="6757474" y="1779343"/>
                <a:ext cx="30857" cy="18000"/>
              </a:xfrm>
              <a:custGeom>
                <a:avLst/>
                <a:gdLst>
                  <a:gd name="connsiteX0" fmla="*/ 15789 w 30857"/>
                  <a:gd name="connsiteY0" fmla="*/ 18223 h 18000"/>
                  <a:gd name="connsiteX1" fmla="*/ 31354 w 30857"/>
                  <a:gd name="connsiteY1" fmla="*/ 9240 h 18000"/>
                  <a:gd name="connsiteX2" fmla="*/ 15789 w 30857"/>
                  <a:gd name="connsiteY2" fmla="*/ 257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223"/>
                    </a:moveTo>
                    <a:lnTo>
                      <a:pt x="31354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1" name="Freeform: Shape 630">
                <a:extLst>
                  <a:ext uri="{FF2B5EF4-FFF2-40B4-BE49-F238E27FC236}">
                    <a16:creationId xmlns:a16="http://schemas.microsoft.com/office/drawing/2014/main" id="{3D5FA4CD-A5C5-48D5-AC7F-BC30C3F46E7B}"/>
                  </a:ext>
                </a:extLst>
              </p:cNvPr>
              <p:cNvSpPr/>
              <p:nvPr/>
            </p:nvSpPr>
            <p:spPr>
              <a:xfrm>
                <a:off x="6734880" y="1859846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223 h 18000"/>
                  <a:gd name="connsiteX2" fmla="*/ 31354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223"/>
                    </a:lnTo>
                    <a:lnTo>
                      <a:pt x="31354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2" name="Freeform: Shape 631">
                <a:extLst>
                  <a:ext uri="{FF2B5EF4-FFF2-40B4-BE49-F238E27FC236}">
                    <a16:creationId xmlns:a16="http://schemas.microsoft.com/office/drawing/2014/main" id="{78D11AD2-0A1B-4BEC-B00A-711B811097E3}"/>
                  </a:ext>
                </a:extLst>
              </p:cNvPr>
              <p:cNvSpPr/>
              <p:nvPr/>
            </p:nvSpPr>
            <p:spPr>
              <a:xfrm>
                <a:off x="6757474" y="1833034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54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54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3" name="Freeform: Shape 632">
                <a:extLst>
                  <a:ext uri="{FF2B5EF4-FFF2-40B4-BE49-F238E27FC236}">
                    <a16:creationId xmlns:a16="http://schemas.microsoft.com/office/drawing/2014/main" id="{66851A90-7178-4B5A-B94B-37A6387D9004}"/>
                  </a:ext>
                </a:extLst>
              </p:cNvPr>
              <p:cNvSpPr/>
              <p:nvPr/>
            </p:nvSpPr>
            <p:spPr>
              <a:xfrm>
                <a:off x="6740709" y="1913537"/>
                <a:ext cx="12857" cy="5143"/>
              </a:xfrm>
              <a:custGeom>
                <a:avLst/>
                <a:gdLst>
                  <a:gd name="connsiteX0" fmla="*/ 257 w 12857"/>
                  <a:gd name="connsiteY0" fmla="*/ 5846 h 5142"/>
                  <a:gd name="connsiteX1" fmla="*/ 11571 w 12857"/>
                  <a:gd name="connsiteY1" fmla="*/ 3068 h 5142"/>
                  <a:gd name="connsiteX2" fmla="*/ 13663 w 12857"/>
                  <a:gd name="connsiteY2" fmla="*/ 2383 h 5142"/>
                  <a:gd name="connsiteX3" fmla="*/ 9960 w 12857"/>
                  <a:gd name="connsiteY3" fmla="*/ 257 h 5142"/>
                  <a:gd name="connsiteX4" fmla="*/ 257 w 12857"/>
                  <a:gd name="connsiteY4" fmla="*/ 5846 h 5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57" h="5142">
                    <a:moveTo>
                      <a:pt x="257" y="5846"/>
                    </a:moveTo>
                    <a:cubicBezTo>
                      <a:pt x="4234" y="5057"/>
                      <a:pt x="8040" y="4131"/>
                      <a:pt x="11571" y="3068"/>
                    </a:cubicBezTo>
                    <a:cubicBezTo>
                      <a:pt x="12291" y="2863"/>
                      <a:pt x="12977" y="2589"/>
                      <a:pt x="13663" y="2383"/>
                    </a:cubicBezTo>
                    <a:lnTo>
                      <a:pt x="9960" y="257"/>
                    </a:lnTo>
                    <a:lnTo>
                      <a:pt x="257" y="584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4" name="Freeform: Shape 633">
                <a:extLst>
                  <a:ext uri="{FF2B5EF4-FFF2-40B4-BE49-F238E27FC236}">
                    <a16:creationId xmlns:a16="http://schemas.microsoft.com/office/drawing/2014/main" id="{B703E311-BC21-4247-8EA0-118611CEB616}"/>
                  </a:ext>
                </a:extLst>
              </p:cNvPr>
              <p:cNvSpPr/>
              <p:nvPr/>
            </p:nvSpPr>
            <p:spPr>
              <a:xfrm>
                <a:off x="6757474" y="188669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54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54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5" name="Freeform: Shape 634">
                <a:extLst>
                  <a:ext uri="{FF2B5EF4-FFF2-40B4-BE49-F238E27FC236}">
                    <a16:creationId xmlns:a16="http://schemas.microsoft.com/office/drawing/2014/main" id="{3EAF62F5-B8D8-4632-A6F1-CD2B8E3ECEE1}"/>
                  </a:ext>
                </a:extLst>
              </p:cNvPr>
              <p:cNvSpPr/>
              <p:nvPr/>
            </p:nvSpPr>
            <p:spPr>
              <a:xfrm>
                <a:off x="6689691" y="1806189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6" name="Freeform: Shape 635">
                <a:extLst>
                  <a:ext uri="{FF2B5EF4-FFF2-40B4-BE49-F238E27FC236}">
                    <a16:creationId xmlns:a16="http://schemas.microsoft.com/office/drawing/2014/main" id="{287A35D0-9431-4783-88DC-42FBC50BE548}"/>
                  </a:ext>
                </a:extLst>
              </p:cNvPr>
              <p:cNvSpPr/>
              <p:nvPr/>
            </p:nvSpPr>
            <p:spPr>
              <a:xfrm>
                <a:off x="6712286" y="1779343"/>
                <a:ext cx="30857" cy="18000"/>
              </a:xfrm>
              <a:custGeom>
                <a:avLst/>
                <a:gdLst>
                  <a:gd name="connsiteX0" fmla="*/ 15789 w 30857"/>
                  <a:gd name="connsiteY0" fmla="*/ 18223 h 18000"/>
                  <a:gd name="connsiteX1" fmla="*/ 31320 w 30857"/>
                  <a:gd name="connsiteY1" fmla="*/ 9240 h 18000"/>
                  <a:gd name="connsiteX2" fmla="*/ 15789 w 30857"/>
                  <a:gd name="connsiteY2" fmla="*/ 257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223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7" name="Freeform: Shape 636">
                <a:extLst>
                  <a:ext uri="{FF2B5EF4-FFF2-40B4-BE49-F238E27FC236}">
                    <a16:creationId xmlns:a16="http://schemas.microsoft.com/office/drawing/2014/main" id="{04691EF7-805B-43E0-8033-D48EC5C4CAF5}"/>
                  </a:ext>
                </a:extLst>
              </p:cNvPr>
              <p:cNvSpPr/>
              <p:nvPr/>
            </p:nvSpPr>
            <p:spPr>
              <a:xfrm>
                <a:off x="6689691" y="1859846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223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8" name="Freeform: Shape 637">
                <a:extLst>
                  <a:ext uri="{FF2B5EF4-FFF2-40B4-BE49-F238E27FC236}">
                    <a16:creationId xmlns:a16="http://schemas.microsoft.com/office/drawing/2014/main" id="{037B83AD-97F7-49D5-A3DB-ADF55FC88A84}"/>
                  </a:ext>
                </a:extLst>
              </p:cNvPr>
              <p:cNvSpPr/>
              <p:nvPr/>
            </p:nvSpPr>
            <p:spPr>
              <a:xfrm>
                <a:off x="6712286" y="1833034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39" name="Freeform: Shape 638">
                <a:extLst>
                  <a:ext uri="{FF2B5EF4-FFF2-40B4-BE49-F238E27FC236}">
                    <a16:creationId xmlns:a16="http://schemas.microsoft.com/office/drawing/2014/main" id="{00AD8286-E1C2-45F4-915C-C7D42E81D167}"/>
                  </a:ext>
                </a:extLst>
              </p:cNvPr>
              <p:cNvSpPr/>
              <p:nvPr/>
            </p:nvSpPr>
            <p:spPr>
              <a:xfrm>
                <a:off x="6695074" y="1913537"/>
                <a:ext cx="23143" cy="7714"/>
              </a:xfrm>
              <a:custGeom>
                <a:avLst/>
                <a:gdLst>
                  <a:gd name="connsiteX0" fmla="*/ 257 w 23142"/>
                  <a:gd name="connsiteY0" fmla="*/ 6120 h 7714"/>
                  <a:gd name="connsiteX1" fmla="*/ 24257 w 23142"/>
                  <a:gd name="connsiteY1" fmla="*/ 8246 h 7714"/>
                  <a:gd name="connsiteX2" fmla="*/ 10406 w 23142"/>
                  <a:gd name="connsiteY2" fmla="*/ 257 h 7714"/>
                  <a:gd name="connsiteX3" fmla="*/ 257 w 23142"/>
                  <a:gd name="connsiteY3" fmla="*/ 6120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142" h="7714">
                    <a:moveTo>
                      <a:pt x="257" y="6120"/>
                    </a:moveTo>
                    <a:cubicBezTo>
                      <a:pt x="8006" y="7800"/>
                      <a:pt x="16166" y="8451"/>
                      <a:pt x="24257" y="8246"/>
                    </a:cubicBezTo>
                    <a:lnTo>
                      <a:pt x="10406" y="257"/>
                    </a:lnTo>
                    <a:lnTo>
                      <a:pt x="257" y="612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0" name="Freeform: Shape 639">
                <a:extLst>
                  <a:ext uri="{FF2B5EF4-FFF2-40B4-BE49-F238E27FC236}">
                    <a16:creationId xmlns:a16="http://schemas.microsoft.com/office/drawing/2014/main" id="{C8CF7416-506B-4892-A61A-989E5737B6DA}"/>
                  </a:ext>
                </a:extLst>
              </p:cNvPr>
              <p:cNvSpPr/>
              <p:nvPr/>
            </p:nvSpPr>
            <p:spPr>
              <a:xfrm>
                <a:off x="6712286" y="188669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1" name="Freeform: Shape 640">
                <a:extLst>
                  <a:ext uri="{FF2B5EF4-FFF2-40B4-BE49-F238E27FC236}">
                    <a16:creationId xmlns:a16="http://schemas.microsoft.com/office/drawing/2014/main" id="{0DA996B7-8DC6-44FA-B5B7-5DDE51BC8746}"/>
                  </a:ext>
                </a:extLst>
              </p:cNvPr>
              <p:cNvSpPr/>
              <p:nvPr/>
            </p:nvSpPr>
            <p:spPr>
              <a:xfrm>
                <a:off x="6644709" y="1806189"/>
                <a:ext cx="30857" cy="18000"/>
              </a:xfrm>
              <a:custGeom>
                <a:avLst/>
                <a:gdLst>
                  <a:gd name="connsiteX0" fmla="*/ 31114 w 30857"/>
                  <a:gd name="connsiteY0" fmla="*/ 9240 h 18000"/>
                  <a:gd name="connsiteX1" fmla="*/ 15583 w 30857"/>
                  <a:gd name="connsiteY1" fmla="*/ 257 h 18000"/>
                  <a:gd name="connsiteX2" fmla="*/ 360 w 30857"/>
                  <a:gd name="connsiteY2" fmla="*/ 9069 h 18000"/>
                  <a:gd name="connsiteX3" fmla="*/ 257 w 30857"/>
                  <a:gd name="connsiteY3" fmla="*/ 9343 h 18000"/>
                  <a:gd name="connsiteX4" fmla="*/ 15583 w 30857"/>
                  <a:gd name="connsiteY4" fmla="*/ 18189 h 18000"/>
                  <a:gd name="connsiteX5" fmla="*/ 31114 w 30857"/>
                  <a:gd name="connsiteY5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31114" y="9240"/>
                    </a:moveTo>
                    <a:lnTo>
                      <a:pt x="15583" y="257"/>
                    </a:lnTo>
                    <a:lnTo>
                      <a:pt x="360" y="9069"/>
                    </a:lnTo>
                    <a:cubicBezTo>
                      <a:pt x="325" y="9137"/>
                      <a:pt x="291" y="9240"/>
                      <a:pt x="257" y="9343"/>
                    </a:cubicBezTo>
                    <a:lnTo>
                      <a:pt x="15583" y="18189"/>
                    </a:lnTo>
                    <a:lnTo>
                      <a:pt x="31114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2" name="Freeform: Shape 641">
                <a:extLst>
                  <a:ext uri="{FF2B5EF4-FFF2-40B4-BE49-F238E27FC236}">
                    <a16:creationId xmlns:a16="http://schemas.microsoft.com/office/drawing/2014/main" id="{F475BE99-3690-4C16-BEAC-CB1EF93C9AD3}"/>
                  </a:ext>
                </a:extLst>
              </p:cNvPr>
              <p:cNvSpPr/>
              <p:nvPr/>
            </p:nvSpPr>
            <p:spPr>
              <a:xfrm>
                <a:off x="6654000" y="1859846"/>
                <a:ext cx="20571" cy="18000"/>
              </a:xfrm>
              <a:custGeom>
                <a:avLst/>
                <a:gdLst>
                  <a:gd name="connsiteX0" fmla="*/ 6291 w 20571"/>
                  <a:gd name="connsiteY0" fmla="*/ 18223 h 18000"/>
                  <a:gd name="connsiteX1" fmla="*/ 21823 w 20571"/>
                  <a:gd name="connsiteY1" fmla="*/ 9240 h 18000"/>
                  <a:gd name="connsiteX2" fmla="*/ 6291 w 20571"/>
                  <a:gd name="connsiteY2" fmla="*/ 257 h 18000"/>
                  <a:gd name="connsiteX3" fmla="*/ 3171 w 20571"/>
                  <a:gd name="connsiteY3" fmla="*/ 2074 h 18000"/>
                  <a:gd name="connsiteX4" fmla="*/ 3583 w 20571"/>
                  <a:gd name="connsiteY4" fmla="*/ 2623 h 18000"/>
                  <a:gd name="connsiteX5" fmla="*/ 257 w 20571"/>
                  <a:gd name="connsiteY5" fmla="*/ 14726 h 18000"/>
                  <a:gd name="connsiteX6" fmla="*/ 6291 w 20571"/>
                  <a:gd name="connsiteY6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571" h="18000">
                    <a:moveTo>
                      <a:pt x="6291" y="18223"/>
                    </a:moveTo>
                    <a:lnTo>
                      <a:pt x="21823" y="9240"/>
                    </a:lnTo>
                    <a:lnTo>
                      <a:pt x="6291" y="257"/>
                    </a:lnTo>
                    <a:lnTo>
                      <a:pt x="3171" y="2074"/>
                    </a:lnTo>
                    <a:cubicBezTo>
                      <a:pt x="3309" y="2246"/>
                      <a:pt x="3411" y="2452"/>
                      <a:pt x="3583" y="2623"/>
                    </a:cubicBezTo>
                    <a:cubicBezTo>
                      <a:pt x="1594" y="6360"/>
                      <a:pt x="566" y="10474"/>
                      <a:pt x="257" y="14726"/>
                    </a:cubicBezTo>
                    <a:lnTo>
                      <a:pt x="6291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3" name="Freeform: Shape 642">
                <a:extLst>
                  <a:ext uri="{FF2B5EF4-FFF2-40B4-BE49-F238E27FC236}">
                    <a16:creationId xmlns:a16="http://schemas.microsoft.com/office/drawing/2014/main" id="{1DA0922E-515C-41AA-9C01-70CBD794CD9F}"/>
                  </a:ext>
                </a:extLst>
              </p:cNvPr>
              <p:cNvSpPr/>
              <p:nvPr/>
            </p:nvSpPr>
            <p:spPr>
              <a:xfrm>
                <a:off x="6667097" y="1833034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4" name="Freeform: Shape 643">
                <a:extLst>
                  <a:ext uri="{FF2B5EF4-FFF2-40B4-BE49-F238E27FC236}">
                    <a16:creationId xmlns:a16="http://schemas.microsoft.com/office/drawing/2014/main" id="{EB472789-50CE-40A4-BAE6-AC75B4462DD3}"/>
                  </a:ext>
                </a:extLst>
              </p:cNvPr>
              <p:cNvSpPr/>
              <p:nvPr/>
            </p:nvSpPr>
            <p:spPr>
              <a:xfrm>
                <a:off x="6644811" y="1837286"/>
                <a:ext cx="7714" cy="7714"/>
              </a:xfrm>
              <a:custGeom>
                <a:avLst/>
                <a:gdLst>
                  <a:gd name="connsiteX0" fmla="*/ 8417 w 7714"/>
                  <a:gd name="connsiteY0" fmla="*/ 4954 h 7714"/>
                  <a:gd name="connsiteX1" fmla="*/ 257 w 7714"/>
                  <a:gd name="connsiteY1" fmla="*/ 257 h 7714"/>
                  <a:gd name="connsiteX2" fmla="*/ 2657 w 7714"/>
                  <a:gd name="connsiteY2" fmla="*/ 8280 h 7714"/>
                  <a:gd name="connsiteX3" fmla="*/ 8417 w 7714"/>
                  <a:gd name="connsiteY3" fmla="*/ 4954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4" h="7714">
                    <a:moveTo>
                      <a:pt x="8417" y="4954"/>
                    </a:moveTo>
                    <a:lnTo>
                      <a:pt x="257" y="257"/>
                    </a:lnTo>
                    <a:cubicBezTo>
                      <a:pt x="874" y="3034"/>
                      <a:pt x="1697" y="5709"/>
                      <a:pt x="2657" y="8280"/>
                    </a:cubicBezTo>
                    <a:lnTo>
                      <a:pt x="8417" y="4954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5" name="Freeform: Shape 644">
                <a:extLst>
                  <a:ext uri="{FF2B5EF4-FFF2-40B4-BE49-F238E27FC236}">
                    <a16:creationId xmlns:a16="http://schemas.microsoft.com/office/drawing/2014/main" id="{62E1A4EE-9774-4AEC-91B9-064773429806}"/>
                  </a:ext>
                </a:extLst>
              </p:cNvPr>
              <p:cNvSpPr/>
              <p:nvPr/>
            </p:nvSpPr>
            <p:spPr>
              <a:xfrm>
                <a:off x="6667097" y="1886692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6" name="Freeform: Shape 645">
                <a:extLst>
                  <a:ext uri="{FF2B5EF4-FFF2-40B4-BE49-F238E27FC236}">
                    <a16:creationId xmlns:a16="http://schemas.microsoft.com/office/drawing/2014/main" id="{6656EDF6-DCDB-4021-A7B1-BC0B4690C767}"/>
                  </a:ext>
                </a:extLst>
              </p:cNvPr>
              <p:cNvSpPr/>
              <p:nvPr/>
            </p:nvSpPr>
            <p:spPr>
              <a:xfrm>
                <a:off x="6739097" y="1762949"/>
                <a:ext cx="23143" cy="7714"/>
              </a:xfrm>
              <a:custGeom>
                <a:avLst/>
                <a:gdLst>
                  <a:gd name="connsiteX0" fmla="*/ 24360 w 23142"/>
                  <a:gd name="connsiteY0" fmla="*/ 400 h 7714"/>
                  <a:gd name="connsiteX1" fmla="*/ 257 w 23142"/>
                  <a:gd name="connsiteY1" fmla="*/ 1223 h 7714"/>
                  <a:gd name="connsiteX2" fmla="*/ 11571 w 23142"/>
                  <a:gd name="connsiteY2" fmla="*/ 7771 h 7714"/>
                  <a:gd name="connsiteX3" fmla="*/ 24360 w 23142"/>
                  <a:gd name="connsiteY3" fmla="*/ 400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142" h="7714">
                    <a:moveTo>
                      <a:pt x="24360" y="400"/>
                    </a:moveTo>
                    <a:cubicBezTo>
                      <a:pt x="16474" y="57"/>
                      <a:pt x="8383" y="332"/>
                      <a:pt x="257" y="1223"/>
                    </a:cubicBezTo>
                    <a:lnTo>
                      <a:pt x="11571" y="7771"/>
                    </a:lnTo>
                    <a:lnTo>
                      <a:pt x="24360" y="40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7" name="Freeform: Shape 646">
                <a:extLst>
                  <a:ext uri="{FF2B5EF4-FFF2-40B4-BE49-F238E27FC236}">
                    <a16:creationId xmlns:a16="http://schemas.microsoft.com/office/drawing/2014/main" id="{2049AA76-1113-4266-B321-9EF5B8B63DA2}"/>
                  </a:ext>
                </a:extLst>
              </p:cNvPr>
              <p:cNvSpPr/>
              <p:nvPr/>
            </p:nvSpPr>
            <p:spPr>
              <a:xfrm>
                <a:off x="6667097" y="1779446"/>
                <a:ext cx="30857" cy="18000"/>
              </a:xfrm>
              <a:custGeom>
                <a:avLst/>
                <a:gdLst>
                  <a:gd name="connsiteX0" fmla="*/ 15960 w 30857"/>
                  <a:gd name="connsiteY0" fmla="*/ 257 h 18000"/>
                  <a:gd name="connsiteX1" fmla="*/ 14246 w 30857"/>
                  <a:gd name="connsiteY1" fmla="*/ 1080 h 18000"/>
                  <a:gd name="connsiteX2" fmla="*/ 257 w 30857"/>
                  <a:gd name="connsiteY2" fmla="*/ 9137 h 18000"/>
                  <a:gd name="connsiteX3" fmla="*/ 15789 w 30857"/>
                  <a:gd name="connsiteY3" fmla="*/ 18120 h 18000"/>
                  <a:gd name="connsiteX4" fmla="*/ 31320 w 30857"/>
                  <a:gd name="connsiteY4" fmla="*/ 9137 h 18000"/>
                  <a:gd name="connsiteX5" fmla="*/ 15960 w 30857"/>
                  <a:gd name="connsiteY5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15960" y="257"/>
                    </a:moveTo>
                    <a:cubicBezTo>
                      <a:pt x="15377" y="531"/>
                      <a:pt x="14794" y="806"/>
                      <a:pt x="14246" y="1080"/>
                    </a:cubicBezTo>
                    <a:lnTo>
                      <a:pt x="257" y="9137"/>
                    </a:lnTo>
                    <a:lnTo>
                      <a:pt x="15789" y="18120"/>
                    </a:lnTo>
                    <a:lnTo>
                      <a:pt x="31320" y="9137"/>
                    </a:lnTo>
                    <a:lnTo>
                      <a:pt x="15960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8" name="Freeform: Shape 647">
                <a:extLst>
                  <a:ext uri="{FF2B5EF4-FFF2-40B4-BE49-F238E27FC236}">
                    <a16:creationId xmlns:a16="http://schemas.microsoft.com/office/drawing/2014/main" id="{00C8D1DE-34B4-4C3C-9176-C25F9FEF2F4D}"/>
                  </a:ext>
                </a:extLst>
              </p:cNvPr>
              <p:cNvSpPr/>
              <p:nvPr/>
            </p:nvSpPr>
            <p:spPr>
              <a:xfrm>
                <a:off x="6689691" y="1272806"/>
                <a:ext cx="18000" cy="12857"/>
              </a:xfrm>
              <a:custGeom>
                <a:avLst/>
                <a:gdLst>
                  <a:gd name="connsiteX0" fmla="*/ 18840 w 18000"/>
                  <a:gd name="connsiteY0" fmla="*/ 13149 h 12857"/>
                  <a:gd name="connsiteX1" fmla="*/ 10063 w 18000"/>
                  <a:gd name="connsiteY1" fmla="*/ 257 h 12857"/>
                  <a:gd name="connsiteX2" fmla="*/ 257 w 18000"/>
                  <a:gd name="connsiteY2" fmla="*/ 5949 h 12857"/>
                  <a:gd name="connsiteX3" fmla="*/ 15789 w 18000"/>
                  <a:gd name="connsiteY3" fmla="*/ 14897 h 12857"/>
                  <a:gd name="connsiteX4" fmla="*/ 18840 w 18000"/>
                  <a:gd name="connsiteY4" fmla="*/ 13149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00" h="12857">
                    <a:moveTo>
                      <a:pt x="18840" y="13149"/>
                    </a:moveTo>
                    <a:cubicBezTo>
                      <a:pt x="16680" y="8554"/>
                      <a:pt x="13800" y="4200"/>
                      <a:pt x="10063" y="257"/>
                    </a:cubicBezTo>
                    <a:lnTo>
                      <a:pt x="257" y="5949"/>
                    </a:lnTo>
                    <a:lnTo>
                      <a:pt x="15789" y="14897"/>
                    </a:lnTo>
                    <a:lnTo>
                      <a:pt x="18840" y="1314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49" name="Freeform: Shape 648">
                <a:extLst>
                  <a:ext uri="{FF2B5EF4-FFF2-40B4-BE49-F238E27FC236}">
                    <a16:creationId xmlns:a16="http://schemas.microsoft.com/office/drawing/2014/main" id="{63A0B027-1D97-4CC9-BDBF-2B3427CFCDCF}"/>
                  </a:ext>
                </a:extLst>
              </p:cNvPr>
              <p:cNvSpPr/>
              <p:nvPr/>
            </p:nvSpPr>
            <p:spPr>
              <a:xfrm>
                <a:off x="6689691" y="1323172"/>
                <a:ext cx="18000" cy="15429"/>
              </a:xfrm>
              <a:custGeom>
                <a:avLst/>
                <a:gdLst>
                  <a:gd name="connsiteX0" fmla="*/ 257 w 18000"/>
                  <a:gd name="connsiteY0" fmla="*/ 9240 h 15428"/>
                  <a:gd name="connsiteX1" fmla="*/ 11469 w 18000"/>
                  <a:gd name="connsiteY1" fmla="*/ 15720 h 15428"/>
                  <a:gd name="connsiteX2" fmla="*/ 19560 w 18000"/>
                  <a:gd name="connsiteY2" fmla="*/ 2452 h 15428"/>
                  <a:gd name="connsiteX3" fmla="*/ 15789 w 18000"/>
                  <a:gd name="connsiteY3" fmla="*/ 257 h 15428"/>
                  <a:gd name="connsiteX4" fmla="*/ 257 w 18000"/>
                  <a:gd name="connsiteY4" fmla="*/ 9240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00" h="15428">
                    <a:moveTo>
                      <a:pt x="257" y="9240"/>
                    </a:moveTo>
                    <a:lnTo>
                      <a:pt x="11469" y="15720"/>
                    </a:lnTo>
                    <a:cubicBezTo>
                      <a:pt x="14897" y="11606"/>
                      <a:pt x="17606" y="7148"/>
                      <a:pt x="19560" y="2452"/>
                    </a:cubicBez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0" name="Freeform: Shape 649">
                <a:extLst>
                  <a:ext uri="{FF2B5EF4-FFF2-40B4-BE49-F238E27FC236}">
                    <a16:creationId xmlns:a16="http://schemas.microsoft.com/office/drawing/2014/main" id="{BB6F147C-70E5-4085-AE0F-5BD7B0497DF7}"/>
                  </a:ext>
                </a:extLst>
              </p:cNvPr>
              <p:cNvSpPr/>
              <p:nvPr/>
            </p:nvSpPr>
            <p:spPr>
              <a:xfrm>
                <a:off x="6712286" y="1305000"/>
                <a:ext cx="2571" cy="2571"/>
              </a:xfrm>
              <a:custGeom>
                <a:avLst/>
                <a:gdLst>
                  <a:gd name="connsiteX0" fmla="*/ 806 w 0"/>
                  <a:gd name="connsiteY0" fmla="*/ 257 h 0"/>
                  <a:gd name="connsiteX1" fmla="*/ 257 w 0"/>
                  <a:gd name="connsiteY1" fmla="*/ 566 h 0"/>
                  <a:gd name="connsiteX2" fmla="*/ 840 w 0"/>
                  <a:gd name="connsiteY2" fmla="*/ 909 h 0"/>
                  <a:gd name="connsiteX3" fmla="*/ 806 w 0"/>
                  <a:gd name="connsiteY3" fmla="*/ 257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806" y="257"/>
                    </a:moveTo>
                    <a:lnTo>
                      <a:pt x="257" y="566"/>
                    </a:lnTo>
                    <a:lnTo>
                      <a:pt x="840" y="909"/>
                    </a:lnTo>
                    <a:cubicBezTo>
                      <a:pt x="840" y="703"/>
                      <a:pt x="806" y="463"/>
                      <a:pt x="806" y="257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1" name="Freeform: Shape 650">
                <a:extLst>
                  <a:ext uri="{FF2B5EF4-FFF2-40B4-BE49-F238E27FC236}">
                    <a16:creationId xmlns:a16="http://schemas.microsoft.com/office/drawing/2014/main" id="{23AA3B9E-7523-41FF-8185-1F096AAE4B28}"/>
                  </a:ext>
                </a:extLst>
              </p:cNvPr>
              <p:cNvSpPr/>
              <p:nvPr/>
            </p:nvSpPr>
            <p:spPr>
              <a:xfrm>
                <a:off x="6689691" y="1596360"/>
                <a:ext cx="18000" cy="12857"/>
              </a:xfrm>
              <a:custGeom>
                <a:avLst/>
                <a:gdLst>
                  <a:gd name="connsiteX0" fmla="*/ 18909 w 18000"/>
                  <a:gd name="connsiteY0" fmla="*/ 11537 h 12857"/>
                  <a:gd name="connsiteX1" fmla="*/ 17709 w 18000"/>
                  <a:gd name="connsiteY1" fmla="*/ 9960 h 12857"/>
                  <a:gd name="connsiteX2" fmla="*/ 7423 w 18000"/>
                  <a:gd name="connsiteY2" fmla="*/ 257 h 12857"/>
                  <a:gd name="connsiteX3" fmla="*/ 257 w 18000"/>
                  <a:gd name="connsiteY3" fmla="*/ 4371 h 12857"/>
                  <a:gd name="connsiteX4" fmla="*/ 15789 w 18000"/>
                  <a:gd name="connsiteY4" fmla="*/ 13354 h 12857"/>
                  <a:gd name="connsiteX5" fmla="*/ 18909 w 18000"/>
                  <a:gd name="connsiteY5" fmla="*/ 11537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000" h="12857">
                    <a:moveTo>
                      <a:pt x="18909" y="11537"/>
                    </a:moveTo>
                    <a:cubicBezTo>
                      <a:pt x="18497" y="11023"/>
                      <a:pt x="18154" y="10474"/>
                      <a:pt x="17709" y="9960"/>
                    </a:cubicBezTo>
                    <a:cubicBezTo>
                      <a:pt x="14589" y="6223"/>
                      <a:pt x="11092" y="3034"/>
                      <a:pt x="7423" y="257"/>
                    </a:cubicBezTo>
                    <a:lnTo>
                      <a:pt x="257" y="4371"/>
                    </a:lnTo>
                    <a:lnTo>
                      <a:pt x="15789" y="13354"/>
                    </a:lnTo>
                    <a:lnTo>
                      <a:pt x="18909" y="115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2" name="Freeform: Shape 651">
                <a:extLst>
                  <a:ext uri="{FF2B5EF4-FFF2-40B4-BE49-F238E27FC236}">
                    <a16:creationId xmlns:a16="http://schemas.microsoft.com/office/drawing/2014/main" id="{0476E71E-17FA-4D85-ABD8-ABB0B51E0D1C}"/>
                  </a:ext>
                </a:extLst>
              </p:cNvPr>
              <p:cNvSpPr/>
              <p:nvPr/>
            </p:nvSpPr>
            <p:spPr>
              <a:xfrm>
                <a:off x="6689691" y="1645183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3" name="Freeform: Shape 652">
                <a:extLst>
                  <a:ext uri="{FF2B5EF4-FFF2-40B4-BE49-F238E27FC236}">
                    <a16:creationId xmlns:a16="http://schemas.microsoft.com/office/drawing/2014/main" id="{6701CEDF-B427-474D-9CBA-9CACF64259AB}"/>
                  </a:ext>
                </a:extLst>
              </p:cNvPr>
              <p:cNvSpPr/>
              <p:nvPr/>
            </p:nvSpPr>
            <p:spPr>
              <a:xfrm>
                <a:off x="6712286" y="1624234"/>
                <a:ext cx="7714" cy="7714"/>
              </a:xfrm>
              <a:custGeom>
                <a:avLst/>
                <a:gdLst>
                  <a:gd name="connsiteX0" fmla="*/ 7869 w 7714"/>
                  <a:gd name="connsiteY0" fmla="*/ 7732 h 7714"/>
                  <a:gd name="connsiteX1" fmla="*/ 5606 w 7714"/>
                  <a:gd name="connsiteY1" fmla="*/ 257 h 7714"/>
                  <a:gd name="connsiteX2" fmla="*/ 257 w 7714"/>
                  <a:gd name="connsiteY2" fmla="*/ 3343 h 7714"/>
                  <a:gd name="connsiteX3" fmla="*/ 257 w 7714"/>
                  <a:gd name="connsiteY3" fmla="*/ 3343 h 7714"/>
                  <a:gd name="connsiteX4" fmla="*/ 257 w 7714"/>
                  <a:gd name="connsiteY4" fmla="*/ 3343 h 7714"/>
                  <a:gd name="connsiteX5" fmla="*/ 7869 w 7714"/>
                  <a:gd name="connsiteY5" fmla="*/ 7732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714" h="7714">
                    <a:moveTo>
                      <a:pt x="7869" y="7732"/>
                    </a:moveTo>
                    <a:cubicBezTo>
                      <a:pt x="7286" y="5194"/>
                      <a:pt x="6531" y="2726"/>
                      <a:pt x="5606" y="257"/>
                    </a:cubicBezTo>
                    <a:lnTo>
                      <a:pt x="257" y="3343"/>
                    </a:lnTo>
                    <a:lnTo>
                      <a:pt x="257" y="3343"/>
                    </a:lnTo>
                    <a:lnTo>
                      <a:pt x="257" y="3343"/>
                    </a:lnTo>
                    <a:lnTo>
                      <a:pt x="7869" y="7732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4" name="Freeform: Shape 653">
                <a:extLst>
                  <a:ext uri="{FF2B5EF4-FFF2-40B4-BE49-F238E27FC236}">
                    <a16:creationId xmlns:a16="http://schemas.microsoft.com/office/drawing/2014/main" id="{4A0F8268-6353-4ADC-9AFE-B4174408EAFE}"/>
                  </a:ext>
                </a:extLst>
              </p:cNvPr>
              <p:cNvSpPr/>
              <p:nvPr/>
            </p:nvSpPr>
            <p:spPr>
              <a:xfrm>
                <a:off x="6644503" y="1269515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31320 w 30857"/>
                  <a:gd name="connsiteY1" fmla="*/ 9240 h 18000"/>
                  <a:gd name="connsiteX2" fmla="*/ 15789 w 30857"/>
                  <a:gd name="connsiteY2" fmla="*/ 257 h 18000"/>
                  <a:gd name="connsiteX3" fmla="*/ 257 w 30857"/>
                  <a:gd name="connsiteY3" fmla="*/ 9240 h 18000"/>
                  <a:gd name="connsiteX4" fmla="*/ 15789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5" name="Freeform: Shape 654">
                <a:extLst>
                  <a:ext uri="{FF2B5EF4-FFF2-40B4-BE49-F238E27FC236}">
                    <a16:creationId xmlns:a16="http://schemas.microsoft.com/office/drawing/2014/main" id="{905411EB-87F9-410C-847F-E67A0FADFBEA}"/>
                  </a:ext>
                </a:extLst>
              </p:cNvPr>
              <p:cNvSpPr/>
              <p:nvPr/>
            </p:nvSpPr>
            <p:spPr>
              <a:xfrm>
                <a:off x="6667101" y="1251492"/>
                <a:ext cx="15429" cy="7714"/>
              </a:xfrm>
              <a:custGeom>
                <a:avLst/>
                <a:gdLst>
                  <a:gd name="connsiteX0" fmla="*/ 15905 w 15428"/>
                  <a:gd name="connsiteY0" fmla="*/ 9337 h 7714"/>
                  <a:gd name="connsiteX1" fmla="*/ 533 w 15428"/>
                  <a:gd name="connsiteY1" fmla="*/ 258 h 7714"/>
                  <a:gd name="connsiteX2" fmla="*/ 258 w 15428"/>
                  <a:gd name="connsiteY2" fmla="*/ 430 h 7714"/>
                  <a:gd name="connsiteX3" fmla="*/ 15802 w 15428"/>
                  <a:gd name="connsiteY3" fmla="*/ 9371 h 7714"/>
                  <a:gd name="connsiteX4" fmla="*/ 15905 w 15428"/>
                  <a:gd name="connsiteY4" fmla="*/ 933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28" h="7714">
                    <a:moveTo>
                      <a:pt x="15905" y="9337"/>
                    </a:moveTo>
                    <a:cubicBezTo>
                      <a:pt x="10815" y="6242"/>
                      <a:pt x="5691" y="3147"/>
                      <a:pt x="533" y="258"/>
                    </a:cubicBezTo>
                    <a:lnTo>
                      <a:pt x="258" y="430"/>
                    </a:lnTo>
                    <a:lnTo>
                      <a:pt x="15802" y="9371"/>
                    </a:lnTo>
                    <a:lnTo>
                      <a:pt x="15905" y="9337"/>
                    </a:lnTo>
                  </a:path>
                </a:pathLst>
              </a:custGeom>
              <a:solidFill>
                <a:srgbClr val="969A9E"/>
              </a:solidFill>
              <a:ln w="12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6" name="Freeform: Shape 655">
                <a:extLst>
                  <a:ext uri="{FF2B5EF4-FFF2-40B4-BE49-F238E27FC236}">
                    <a16:creationId xmlns:a16="http://schemas.microsoft.com/office/drawing/2014/main" id="{4F11B56C-5F78-4CA5-B2DB-F8BD6CD35069}"/>
                  </a:ext>
                </a:extLst>
              </p:cNvPr>
              <p:cNvSpPr/>
              <p:nvPr/>
            </p:nvSpPr>
            <p:spPr>
              <a:xfrm>
                <a:off x="6644503" y="132317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7" name="Freeform: Shape 656">
                <a:extLst>
                  <a:ext uri="{FF2B5EF4-FFF2-40B4-BE49-F238E27FC236}">
                    <a16:creationId xmlns:a16="http://schemas.microsoft.com/office/drawing/2014/main" id="{F1945FA8-ED51-47BD-860D-DE43001A40C3}"/>
                  </a:ext>
                </a:extLst>
              </p:cNvPr>
              <p:cNvSpPr/>
              <p:nvPr/>
            </p:nvSpPr>
            <p:spPr>
              <a:xfrm>
                <a:off x="6667097" y="1296360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06 h 18000"/>
                  <a:gd name="connsiteX2" fmla="*/ 15789 w 30857"/>
                  <a:gd name="connsiteY2" fmla="*/ 18189 h 18000"/>
                  <a:gd name="connsiteX3" fmla="*/ 31320 w 30857"/>
                  <a:gd name="connsiteY3" fmla="*/ 9206 h 18000"/>
                  <a:gd name="connsiteX4" fmla="*/ 15789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8" name="Freeform: Shape 657">
                <a:extLst>
                  <a:ext uri="{FF2B5EF4-FFF2-40B4-BE49-F238E27FC236}">
                    <a16:creationId xmlns:a16="http://schemas.microsoft.com/office/drawing/2014/main" id="{3B103385-C167-4187-BAF7-EB9D292049D5}"/>
                  </a:ext>
                </a:extLst>
              </p:cNvPr>
              <p:cNvSpPr/>
              <p:nvPr/>
            </p:nvSpPr>
            <p:spPr>
              <a:xfrm>
                <a:off x="6667097" y="1350017"/>
                <a:ext cx="18000" cy="10286"/>
              </a:xfrm>
              <a:custGeom>
                <a:avLst/>
                <a:gdLst>
                  <a:gd name="connsiteX0" fmla="*/ 15789 w 18000"/>
                  <a:gd name="connsiteY0" fmla="*/ 257 h 10285"/>
                  <a:gd name="connsiteX1" fmla="*/ 257 w 18000"/>
                  <a:gd name="connsiteY1" fmla="*/ 9206 h 10285"/>
                  <a:gd name="connsiteX2" fmla="*/ 257 w 18000"/>
                  <a:gd name="connsiteY2" fmla="*/ 9240 h 10285"/>
                  <a:gd name="connsiteX3" fmla="*/ 4269 w 18000"/>
                  <a:gd name="connsiteY3" fmla="*/ 11537 h 10285"/>
                  <a:gd name="connsiteX4" fmla="*/ 18737 w 18000"/>
                  <a:gd name="connsiteY4" fmla="*/ 1937 h 10285"/>
                  <a:gd name="connsiteX5" fmla="*/ 15789 w 18000"/>
                  <a:gd name="connsiteY5" fmla="*/ 257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000" h="10285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257" y="9240"/>
                    </a:lnTo>
                    <a:lnTo>
                      <a:pt x="4269" y="11537"/>
                    </a:lnTo>
                    <a:cubicBezTo>
                      <a:pt x="9069" y="8349"/>
                      <a:pt x="13903" y="5160"/>
                      <a:pt x="18737" y="1937"/>
                    </a:cubicBez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59" name="Freeform: Shape 658">
                <a:extLst>
                  <a:ext uri="{FF2B5EF4-FFF2-40B4-BE49-F238E27FC236}">
                    <a16:creationId xmlns:a16="http://schemas.microsoft.com/office/drawing/2014/main" id="{873A272A-C2FC-43F4-AB25-54516FD44195}"/>
                  </a:ext>
                </a:extLst>
              </p:cNvPr>
              <p:cNvSpPr/>
              <p:nvPr/>
            </p:nvSpPr>
            <p:spPr>
              <a:xfrm>
                <a:off x="6644503" y="1591526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0" name="Freeform: Shape 659">
                <a:extLst>
                  <a:ext uri="{FF2B5EF4-FFF2-40B4-BE49-F238E27FC236}">
                    <a16:creationId xmlns:a16="http://schemas.microsoft.com/office/drawing/2014/main" id="{E55EDFEF-39DA-44D5-BC72-1D4F1D324AD3}"/>
                  </a:ext>
                </a:extLst>
              </p:cNvPr>
              <p:cNvSpPr/>
              <p:nvPr/>
            </p:nvSpPr>
            <p:spPr>
              <a:xfrm>
                <a:off x="6644503" y="164518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1" name="Freeform: Shape 660">
                <a:extLst>
                  <a:ext uri="{FF2B5EF4-FFF2-40B4-BE49-F238E27FC236}">
                    <a16:creationId xmlns:a16="http://schemas.microsoft.com/office/drawing/2014/main" id="{31861FB0-F944-4BE7-9D5F-3081E370C89E}"/>
                  </a:ext>
                </a:extLst>
              </p:cNvPr>
              <p:cNvSpPr/>
              <p:nvPr/>
            </p:nvSpPr>
            <p:spPr>
              <a:xfrm>
                <a:off x="6667097" y="1618337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8040 w 30857"/>
                  <a:gd name="connsiteY1" fmla="*/ 4748 h 18000"/>
                  <a:gd name="connsiteX2" fmla="*/ 257 w 30857"/>
                  <a:gd name="connsiteY2" fmla="*/ 9240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  <a:gd name="connsiteX5" fmla="*/ 31320 w 30857"/>
                  <a:gd name="connsiteY5" fmla="*/ 9240 h 18000"/>
                  <a:gd name="connsiteX6" fmla="*/ 15789 w 30857"/>
                  <a:gd name="connsiteY6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2" name="Freeform: Shape 661">
                <a:extLst>
                  <a:ext uri="{FF2B5EF4-FFF2-40B4-BE49-F238E27FC236}">
                    <a16:creationId xmlns:a16="http://schemas.microsoft.com/office/drawing/2014/main" id="{C1604B5F-BE0E-4E98-BAA3-40BECC20887D}"/>
                  </a:ext>
                </a:extLst>
              </p:cNvPr>
              <p:cNvSpPr/>
              <p:nvPr/>
            </p:nvSpPr>
            <p:spPr>
              <a:xfrm>
                <a:off x="6644503" y="1698840"/>
                <a:ext cx="30857" cy="15429"/>
              </a:xfrm>
              <a:custGeom>
                <a:avLst/>
                <a:gdLst>
                  <a:gd name="connsiteX0" fmla="*/ 24600 w 30857"/>
                  <a:gd name="connsiteY0" fmla="*/ 13114 h 15428"/>
                  <a:gd name="connsiteX1" fmla="*/ 31320 w 30857"/>
                  <a:gd name="connsiteY1" fmla="*/ 9240 h 15428"/>
                  <a:gd name="connsiteX2" fmla="*/ 15789 w 30857"/>
                  <a:gd name="connsiteY2" fmla="*/ 257 h 15428"/>
                  <a:gd name="connsiteX3" fmla="*/ 257 w 30857"/>
                  <a:gd name="connsiteY3" fmla="*/ 9240 h 15428"/>
                  <a:gd name="connsiteX4" fmla="*/ 12909 w 30857"/>
                  <a:gd name="connsiteY4" fmla="*/ 16543 h 15428"/>
                  <a:gd name="connsiteX5" fmla="*/ 24600 w 30857"/>
                  <a:gd name="connsiteY5" fmla="*/ 13114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5428">
                    <a:moveTo>
                      <a:pt x="24600" y="13114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2909" y="16543"/>
                    </a:lnTo>
                    <a:cubicBezTo>
                      <a:pt x="16886" y="15548"/>
                      <a:pt x="20794" y="14417"/>
                      <a:pt x="24600" y="13114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3" name="Freeform: Shape 662">
                <a:extLst>
                  <a:ext uri="{FF2B5EF4-FFF2-40B4-BE49-F238E27FC236}">
                    <a16:creationId xmlns:a16="http://schemas.microsoft.com/office/drawing/2014/main" id="{B1526B28-1634-44FE-8C0D-62E46F352BAE}"/>
                  </a:ext>
                </a:extLst>
              </p:cNvPr>
              <p:cNvSpPr/>
              <p:nvPr/>
            </p:nvSpPr>
            <p:spPr>
              <a:xfrm>
                <a:off x="6667097" y="1672029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15789 w 30857"/>
                  <a:gd name="connsiteY2" fmla="*/ 18189 h 18000"/>
                  <a:gd name="connsiteX3" fmla="*/ 31320 w 30857"/>
                  <a:gd name="connsiteY3" fmla="*/ 9206 h 18000"/>
                  <a:gd name="connsiteX4" fmla="*/ 15789 w 30857"/>
                  <a:gd name="connsiteY4" fmla="*/ 257 h 18000"/>
                  <a:gd name="connsiteX5" fmla="*/ 257 w 30857"/>
                  <a:gd name="connsiteY5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4" name="Freeform: Shape 663">
                <a:extLst>
                  <a:ext uri="{FF2B5EF4-FFF2-40B4-BE49-F238E27FC236}">
                    <a16:creationId xmlns:a16="http://schemas.microsoft.com/office/drawing/2014/main" id="{A12C8640-8D74-4256-82F8-B8B4FD064052}"/>
                  </a:ext>
                </a:extLst>
              </p:cNvPr>
              <p:cNvSpPr/>
              <p:nvPr/>
            </p:nvSpPr>
            <p:spPr>
              <a:xfrm>
                <a:off x="6599322" y="1221871"/>
                <a:ext cx="23143" cy="10286"/>
              </a:xfrm>
              <a:custGeom>
                <a:avLst/>
                <a:gdLst>
                  <a:gd name="connsiteX0" fmla="*/ 23456 w 23142"/>
                  <a:gd name="connsiteY0" fmla="*/ 7726 h 10285"/>
                  <a:gd name="connsiteX1" fmla="*/ 5341 w 23142"/>
                  <a:gd name="connsiteY1" fmla="*/ 259 h 10285"/>
                  <a:gd name="connsiteX2" fmla="*/ 259 w 23142"/>
                  <a:gd name="connsiteY2" fmla="*/ 3198 h 10285"/>
                  <a:gd name="connsiteX3" fmla="*/ 15782 w 23142"/>
                  <a:gd name="connsiteY3" fmla="*/ 12152 h 10285"/>
                  <a:gd name="connsiteX4" fmla="*/ 23456 w 23142"/>
                  <a:gd name="connsiteY4" fmla="*/ 7726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142" h="10285">
                    <a:moveTo>
                      <a:pt x="23456" y="7726"/>
                    </a:moveTo>
                    <a:cubicBezTo>
                      <a:pt x="17475" y="5134"/>
                      <a:pt x="11426" y="2610"/>
                      <a:pt x="5341" y="259"/>
                    </a:cubicBezTo>
                    <a:lnTo>
                      <a:pt x="259" y="3198"/>
                    </a:lnTo>
                    <a:lnTo>
                      <a:pt x="15782" y="12152"/>
                    </a:lnTo>
                    <a:lnTo>
                      <a:pt x="23456" y="7726"/>
                    </a:lnTo>
                  </a:path>
                </a:pathLst>
              </a:custGeom>
              <a:solidFill>
                <a:srgbClr val="969A9E"/>
              </a:solidFill>
              <a:ln w="128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5" name="Freeform: Shape 664">
                <a:extLst>
                  <a:ext uri="{FF2B5EF4-FFF2-40B4-BE49-F238E27FC236}">
                    <a16:creationId xmlns:a16="http://schemas.microsoft.com/office/drawing/2014/main" id="{739F607E-1B80-4BB5-95F9-869165916BEC}"/>
                  </a:ext>
                </a:extLst>
              </p:cNvPr>
              <p:cNvSpPr/>
              <p:nvPr/>
            </p:nvSpPr>
            <p:spPr>
              <a:xfrm>
                <a:off x="6599314" y="1269515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6" name="Freeform: Shape 665">
                <a:extLst>
                  <a:ext uri="{FF2B5EF4-FFF2-40B4-BE49-F238E27FC236}">
                    <a16:creationId xmlns:a16="http://schemas.microsoft.com/office/drawing/2014/main" id="{19ACBBA2-B0B6-410D-B44C-EC20C978B7BC}"/>
                  </a:ext>
                </a:extLst>
              </p:cNvPr>
              <p:cNvSpPr/>
              <p:nvPr/>
            </p:nvSpPr>
            <p:spPr>
              <a:xfrm>
                <a:off x="6621910" y="1242662"/>
                <a:ext cx="30857" cy="18000"/>
              </a:xfrm>
              <a:custGeom>
                <a:avLst/>
                <a:gdLst>
                  <a:gd name="connsiteX0" fmla="*/ 15792 w 30857"/>
                  <a:gd name="connsiteY0" fmla="*/ 18203 h 18000"/>
                  <a:gd name="connsiteX1" fmla="*/ 31326 w 30857"/>
                  <a:gd name="connsiteY1" fmla="*/ 9214 h 18000"/>
                  <a:gd name="connsiteX2" fmla="*/ 15792 w 30857"/>
                  <a:gd name="connsiteY2" fmla="*/ 258 h 18000"/>
                  <a:gd name="connsiteX3" fmla="*/ 258 w 30857"/>
                  <a:gd name="connsiteY3" fmla="*/ 9214 h 18000"/>
                  <a:gd name="connsiteX4" fmla="*/ 15792 w 30857"/>
                  <a:gd name="connsiteY4" fmla="*/ 1820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2" y="18203"/>
                    </a:moveTo>
                    <a:lnTo>
                      <a:pt x="31326" y="9214"/>
                    </a:lnTo>
                    <a:lnTo>
                      <a:pt x="15792" y="258"/>
                    </a:lnTo>
                    <a:lnTo>
                      <a:pt x="258" y="9214"/>
                    </a:lnTo>
                    <a:lnTo>
                      <a:pt x="15792" y="18203"/>
                    </a:lnTo>
                  </a:path>
                </a:pathLst>
              </a:custGeom>
              <a:solidFill>
                <a:srgbClr val="969A9E"/>
              </a:solidFill>
              <a:ln w="12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7" name="Freeform: Shape 666">
                <a:extLst>
                  <a:ext uri="{FF2B5EF4-FFF2-40B4-BE49-F238E27FC236}">
                    <a16:creationId xmlns:a16="http://schemas.microsoft.com/office/drawing/2014/main" id="{64403ADC-5FAA-4D50-835B-FBFA1F37D7E7}"/>
                  </a:ext>
                </a:extLst>
              </p:cNvPr>
              <p:cNvSpPr/>
              <p:nvPr/>
            </p:nvSpPr>
            <p:spPr>
              <a:xfrm>
                <a:off x="6621909" y="1350017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06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  <a:gd name="connsiteX5" fmla="*/ 31320 w 30857"/>
                  <a:gd name="connsiteY5" fmla="*/ 9206 h 18000"/>
                  <a:gd name="connsiteX6" fmla="*/ 31320 w 30857"/>
                  <a:gd name="connsiteY6" fmla="*/ 9206 h 18000"/>
                  <a:gd name="connsiteX7" fmla="*/ 15789 w 30857"/>
                  <a:gd name="connsiteY7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8" name="Freeform: Shape 667">
                <a:extLst>
                  <a:ext uri="{FF2B5EF4-FFF2-40B4-BE49-F238E27FC236}">
                    <a16:creationId xmlns:a16="http://schemas.microsoft.com/office/drawing/2014/main" id="{F8211D11-34B4-4AE4-9E7D-33F68226A18A}"/>
                  </a:ext>
                </a:extLst>
              </p:cNvPr>
              <p:cNvSpPr/>
              <p:nvPr/>
            </p:nvSpPr>
            <p:spPr>
              <a:xfrm>
                <a:off x="6599314" y="132317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69" name="Freeform: Shape 668">
                <a:extLst>
                  <a:ext uri="{FF2B5EF4-FFF2-40B4-BE49-F238E27FC236}">
                    <a16:creationId xmlns:a16="http://schemas.microsoft.com/office/drawing/2014/main" id="{200170F0-7B70-4D20-8DE2-C4B4FE7CFF19}"/>
                  </a:ext>
                </a:extLst>
              </p:cNvPr>
              <p:cNvSpPr/>
              <p:nvPr/>
            </p:nvSpPr>
            <p:spPr>
              <a:xfrm>
                <a:off x="6621909" y="129636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0" name="Freeform: Shape 669">
                <a:extLst>
                  <a:ext uri="{FF2B5EF4-FFF2-40B4-BE49-F238E27FC236}">
                    <a16:creationId xmlns:a16="http://schemas.microsoft.com/office/drawing/2014/main" id="{178FA682-768F-41F9-A5E5-16907331A317}"/>
                  </a:ext>
                </a:extLst>
              </p:cNvPr>
              <p:cNvSpPr/>
              <p:nvPr/>
            </p:nvSpPr>
            <p:spPr>
              <a:xfrm>
                <a:off x="6599314" y="1376863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1" name="Freeform: Shape 670">
                <a:extLst>
                  <a:ext uri="{FF2B5EF4-FFF2-40B4-BE49-F238E27FC236}">
                    <a16:creationId xmlns:a16="http://schemas.microsoft.com/office/drawing/2014/main" id="{5A689F46-E37D-4175-8052-3900D5F3F10E}"/>
                  </a:ext>
                </a:extLst>
              </p:cNvPr>
              <p:cNvSpPr/>
              <p:nvPr/>
            </p:nvSpPr>
            <p:spPr>
              <a:xfrm>
                <a:off x="6599314" y="1591526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2" name="Freeform: Shape 671">
                <a:extLst>
                  <a:ext uri="{FF2B5EF4-FFF2-40B4-BE49-F238E27FC236}">
                    <a16:creationId xmlns:a16="http://schemas.microsoft.com/office/drawing/2014/main" id="{9ABDCE98-FF5F-4F44-94E8-A437DD53F722}"/>
                  </a:ext>
                </a:extLst>
              </p:cNvPr>
              <p:cNvSpPr/>
              <p:nvPr/>
            </p:nvSpPr>
            <p:spPr>
              <a:xfrm>
                <a:off x="6630171" y="1578429"/>
                <a:ext cx="12857" cy="2571"/>
              </a:xfrm>
              <a:custGeom>
                <a:avLst/>
                <a:gdLst>
                  <a:gd name="connsiteX0" fmla="*/ 13252 w 12857"/>
                  <a:gd name="connsiteY0" fmla="*/ 1148 h 2571"/>
                  <a:gd name="connsiteX1" fmla="*/ 257 w 12857"/>
                  <a:gd name="connsiteY1" fmla="*/ 257 h 2571"/>
                  <a:gd name="connsiteX2" fmla="*/ 7526 w 12857"/>
                  <a:gd name="connsiteY2" fmla="*/ 4440 h 2571"/>
                  <a:gd name="connsiteX3" fmla="*/ 13252 w 12857"/>
                  <a:gd name="connsiteY3" fmla="*/ 1148 h 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7" h="2571">
                    <a:moveTo>
                      <a:pt x="13252" y="1148"/>
                    </a:moveTo>
                    <a:cubicBezTo>
                      <a:pt x="8897" y="771"/>
                      <a:pt x="4543" y="463"/>
                      <a:pt x="257" y="257"/>
                    </a:cubicBezTo>
                    <a:lnTo>
                      <a:pt x="7526" y="4440"/>
                    </a:lnTo>
                    <a:lnTo>
                      <a:pt x="13252" y="11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3" name="Freeform: Shape 672">
                <a:extLst>
                  <a:ext uri="{FF2B5EF4-FFF2-40B4-BE49-F238E27FC236}">
                    <a16:creationId xmlns:a16="http://schemas.microsoft.com/office/drawing/2014/main" id="{B17AC2FE-5371-4C8D-959C-D5824C931533}"/>
                  </a:ext>
                </a:extLst>
              </p:cNvPr>
              <p:cNvSpPr/>
              <p:nvPr/>
            </p:nvSpPr>
            <p:spPr>
              <a:xfrm>
                <a:off x="6599314" y="164518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4" name="Freeform: Shape 673">
                <a:extLst>
                  <a:ext uri="{FF2B5EF4-FFF2-40B4-BE49-F238E27FC236}">
                    <a16:creationId xmlns:a16="http://schemas.microsoft.com/office/drawing/2014/main" id="{838FBC58-4168-46EA-B093-E5A638571A98}"/>
                  </a:ext>
                </a:extLst>
              </p:cNvPr>
              <p:cNvSpPr/>
              <p:nvPr/>
            </p:nvSpPr>
            <p:spPr>
              <a:xfrm>
                <a:off x="6621909" y="1618337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8040 w 30857"/>
                  <a:gd name="connsiteY2" fmla="*/ 4748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223 h 18000"/>
                  <a:gd name="connsiteX6" fmla="*/ 31320 w 30857"/>
                  <a:gd name="connsiteY6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5" name="Freeform: Shape 674">
                <a:extLst>
                  <a:ext uri="{FF2B5EF4-FFF2-40B4-BE49-F238E27FC236}">
                    <a16:creationId xmlns:a16="http://schemas.microsoft.com/office/drawing/2014/main" id="{652A9B87-911E-4463-8CC8-E46420B4417E}"/>
                  </a:ext>
                </a:extLst>
              </p:cNvPr>
              <p:cNvSpPr/>
              <p:nvPr/>
            </p:nvSpPr>
            <p:spPr>
              <a:xfrm>
                <a:off x="6599314" y="1698840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40 h 18000"/>
                  <a:gd name="connsiteX2" fmla="*/ 15789 w 30857"/>
                  <a:gd name="connsiteY2" fmla="*/ 18223 h 18000"/>
                  <a:gd name="connsiteX3" fmla="*/ 31320 w 30857"/>
                  <a:gd name="connsiteY3" fmla="*/ 9240 h 18000"/>
                  <a:gd name="connsiteX4" fmla="*/ 15789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6" name="Freeform: Shape 675">
                <a:extLst>
                  <a:ext uri="{FF2B5EF4-FFF2-40B4-BE49-F238E27FC236}">
                    <a16:creationId xmlns:a16="http://schemas.microsoft.com/office/drawing/2014/main" id="{FB62FBEA-2A08-4CAE-A773-6B4059D0680C}"/>
                  </a:ext>
                </a:extLst>
              </p:cNvPr>
              <p:cNvSpPr/>
              <p:nvPr/>
            </p:nvSpPr>
            <p:spPr>
              <a:xfrm>
                <a:off x="6621909" y="1672029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257 w 30857"/>
                  <a:gd name="connsiteY3" fmla="*/ 9206 h 18000"/>
                  <a:gd name="connsiteX4" fmla="*/ 15789 w 30857"/>
                  <a:gd name="connsiteY4" fmla="*/ 18189 h 18000"/>
                  <a:gd name="connsiteX5" fmla="*/ 31320 w 30857"/>
                  <a:gd name="connsiteY5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7" name="Freeform: Shape 676">
                <a:extLst>
                  <a:ext uri="{FF2B5EF4-FFF2-40B4-BE49-F238E27FC236}">
                    <a16:creationId xmlns:a16="http://schemas.microsoft.com/office/drawing/2014/main" id="{000A3AF7-D63B-419D-96AC-E3E3EB6419B7}"/>
                  </a:ext>
                </a:extLst>
              </p:cNvPr>
              <p:cNvSpPr/>
              <p:nvPr/>
            </p:nvSpPr>
            <p:spPr>
              <a:xfrm>
                <a:off x="6554115" y="1215835"/>
                <a:ext cx="30857" cy="18000"/>
              </a:xfrm>
              <a:custGeom>
                <a:avLst/>
                <a:gdLst>
                  <a:gd name="connsiteX0" fmla="*/ 31337 w 30857"/>
                  <a:gd name="connsiteY0" fmla="*/ 9223 h 18000"/>
                  <a:gd name="connsiteX1" fmla="*/ 15798 w 30857"/>
                  <a:gd name="connsiteY1" fmla="*/ 260 h 18000"/>
                  <a:gd name="connsiteX2" fmla="*/ 260 w 30857"/>
                  <a:gd name="connsiteY2" fmla="*/ 9223 h 18000"/>
                  <a:gd name="connsiteX3" fmla="*/ 15798 w 30857"/>
                  <a:gd name="connsiteY3" fmla="*/ 18186 h 18000"/>
                  <a:gd name="connsiteX4" fmla="*/ 31337 w 30857"/>
                  <a:gd name="connsiteY4" fmla="*/ 9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37" y="9223"/>
                    </a:moveTo>
                    <a:lnTo>
                      <a:pt x="15798" y="260"/>
                    </a:lnTo>
                    <a:lnTo>
                      <a:pt x="260" y="9223"/>
                    </a:lnTo>
                    <a:lnTo>
                      <a:pt x="15798" y="18186"/>
                    </a:lnTo>
                    <a:lnTo>
                      <a:pt x="31337" y="9223"/>
                    </a:lnTo>
                  </a:path>
                </a:pathLst>
              </a:custGeom>
              <a:solidFill>
                <a:srgbClr val="969A9E"/>
              </a:solidFill>
              <a:ln w="12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8" name="Freeform: Shape 677">
                <a:extLst>
                  <a:ext uri="{FF2B5EF4-FFF2-40B4-BE49-F238E27FC236}">
                    <a16:creationId xmlns:a16="http://schemas.microsoft.com/office/drawing/2014/main" id="{2C74853B-FDC6-4AEE-A4B1-12B96F4B5C17}"/>
                  </a:ext>
                </a:extLst>
              </p:cNvPr>
              <p:cNvSpPr/>
              <p:nvPr/>
            </p:nvSpPr>
            <p:spPr>
              <a:xfrm>
                <a:off x="6554126" y="1269515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79" name="Freeform: Shape 678">
                <a:extLst>
                  <a:ext uri="{FF2B5EF4-FFF2-40B4-BE49-F238E27FC236}">
                    <a16:creationId xmlns:a16="http://schemas.microsoft.com/office/drawing/2014/main" id="{5D6B5342-6EC9-43DA-8BEC-0CDD83F1A58C}"/>
                  </a:ext>
                </a:extLst>
              </p:cNvPr>
              <p:cNvSpPr/>
              <p:nvPr/>
            </p:nvSpPr>
            <p:spPr>
              <a:xfrm>
                <a:off x="6576721" y="1242662"/>
                <a:ext cx="30857" cy="18000"/>
              </a:xfrm>
              <a:custGeom>
                <a:avLst/>
                <a:gdLst>
                  <a:gd name="connsiteX0" fmla="*/ 15792 w 30857"/>
                  <a:gd name="connsiteY0" fmla="*/ 18203 h 18000"/>
                  <a:gd name="connsiteX1" fmla="*/ 31326 w 30857"/>
                  <a:gd name="connsiteY1" fmla="*/ 9214 h 18000"/>
                  <a:gd name="connsiteX2" fmla="*/ 15792 w 30857"/>
                  <a:gd name="connsiteY2" fmla="*/ 258 h 18000"/>
                  <a:gd name="connsiteX3" fmla="*/ 258 w 30857"/>
                  <a:gd name="connsiteY3" fmla="*/ 9214 h 18000"/>
                  <a:gd name="connsiteX4" fmla="*/ 15792 w 30857"/>
                  <a:gd name="connsiteY4" fmla="*/ 1820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2" y="18203"/>
                    </a:moveTo>
                    <a:lnTo>
                      <a:pt x="31326" y="9214"/>
                    </a:lnTo>
                    <a:lnTo>
                      <a:pt x="15792" y="258"/>
                    </a:lnTo>
                    <a:lnTo>
                      <a:pt x="258" y="9214"/>
                    </a:lnTo>
                    <a:lnTo>
                      <a:pt x="15792" y="18203"/>
                    </a:lnTo>
                  </a:path>
                </a:pathLst>
              </a:custGeom>
              <a:solidFill>
                <a:srgbClr val="969A9E"/>
              </a:solidFill>
              <a:ln w="12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0" name="Freeform: Shape 679">
                <a:extLst>
                  <a:ext uri="{FF2B5EF4-FFF2-40B4-BE49-F238E27FC236}">
                    <a16:creationId xmlns:a16="http://schemas.microsoft.com/office/drawing/2014/main" id="{19AD63B4-48DB-4EA8-AC93-08324436362D}"/>
                  </a:ext>
                </a:extLst>
              </p:cNvPr>
              <p:cNvSpPr/>
              <p:nvPr/>
            </p:nvSpPr>
            <p:spPr>
              <a:xfrm>
                <a:off x="6576720" y="1350017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  <a:gd name="connsiteX5" fmla="*/ 31320 w 30857"/>
                  <a:gd name="connsiteY5" fmla="*/ 9206 h 18000"/>
                  <a:gd name="connsiteX6" fmla="*/ 31320 w 30857"/>
                  <a:gd name="connsiteY6" fmla="*/ 9206 h 18000"/>
                  <a:gd name="connsiteX7" fmla="*/ 15789 w 30857"/>
                  <a:gd name="connsiteY7" fmla="*/ 257 h 18000"/>
                  <a:gd name="connsiteX8" fmla="*/ 257 w 30857"/>
                  <a:gd name="connsiteY8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1" name="Freeform: Shape 680">
                <a:extLst>
                  <a:ext uri="{FF2B5EF4-FFF2-40B4-BE49-F238E27FC236}">
                    <a16:creationId xmlns:a16="http://schemas.microsoft.com/office/drawing/2014/main" id="{8535D984-5DFD-45F4-A32B-0C29725E5971}"/>
                  </a:ext>
                </a:extLst>
              </p:cNvPr>
              <p:cNvSpPr/>
              <p:nvPr/>
            </p:nvSpPr>
            <p:spPr>
              <a:xfrm>
                <a:off x="6554126" y="132317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2" name="Freeform: Shape 681">
                <a:extLst>
                  <a:ext uri="{FF2B5EF4-FFF2-40B4-BE49-F238E27FC236}">
                    <a16:creationId xmlns:a16="http://schemas.microsoft.com/office/drawing/2014/main" id="{9E970E4D-2A69-4733-A088-05B86E5EF7D2}"/>
                  </a:ext>
                </a:extLst>
              </p:cNvPr>
              <p:cNvSpPr/>
              <p:nvPr/>
            </p:nvSpPr>
            <p:spPr>
              <a:xfrm>
                <a:off x="6576720" y="129636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3" name="Freeform: Shape 682">
                <a:extLst>
                  <a:ext uri="{FF2B5EF4-FFF2-40B4-BE49-F238E27FC236}">
                    <a16:creationId xmlns:a16="http://schemas.microsoft.com/office/drawing/2014/main" id="{96C2EB45-624A-4241-A8A4-C3F981E71C11}"/>
                  </a:ext>
                </a:extLst>
              </p:cNvPr>
              <p:cNvSpPr/>
              <p:nvPr/>
            </p:nvSpPr>
            <p:spPr>
              <a:xfrm>
                <a:off x="6554126" y="1376863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4" name="Freeform: Shape 683">
                <a:extLst>
                  <a:ext uri="{FF2B5EF4-FFF2-40B4-BE49-F238E27FC236}">
                    <a16:creationId xmlns:a16="http://schemas.microsoft.com/office/drawing/2014/main" id="{FE0293A5-C5FD-47E5-BC46-FFE4E3CAE844}"/>
                  </a:ext>
                </a:extLst>
              </p:cNvPr>
              <p:cNvSpPr/>
              <p:nvPr/>
            </p:nvSpPr>
            <p:spPr>
              <a:xfrm>
                <a:off x="6576720" y="1403674"/>
                <a:ext cx="23143" cy="12857"/>
              </a:xfrm>
              <a:custGeom>
                <a:avLst/>
                <a:gdLst>
                  <a:gd name="connsiteX0" fmla="*/ 8006 w 23142"/>
                  <a:gd name="connsiteY0" fmla="*/ 4749 h 12857"/>
                  <a:gd name="connsiteX1" fmla="*/ 257 w 23142"/>
                  <a:gd name="connsiteY1" fmla="*/ 9240 h 12857"/>
                  <a:gd name="connsiteX2" fmla="*/ 257 w 23142"/>
                  <a:gd name="connsiteY2" fmla="*/ 9240 h 12857"/>
                  <a:gd name="connsiteX3" fmla="*/ 257 w 23142"/>
                  <a:gd name="connsiteY3" fmla="*/ 9240 h 12857"/>
                  <a:gd name="connsiteX4" fmla="*/ 8246 w 23142"/>
                  <a:gd name="connsiteY4" fmla="*/ 13834 h 12857"/>
                  <a:gd name="connsiteX5" fmla="*/ 23092 w 23142"/>
                  <a:gd name="connsiteY5" fmla="*/ 4474 h 12857"/>
                  <a:gd name="connsiteX6" fmla="*/ 15789 w 23142"/>
                  <a:gd name="connsiteY6" fmla="*/ 257 h 12857"/>
                  <a:gd name="connsiteX7" fmla="*/ 8006 w 23142"/>
                  <a:gd name="connsiteY7" fmla="*/ 4749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142" h="12857">
                    <a:moveTo>
                      <a:pt x="8006" y="4749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8246" y="13834"/>
                    </a:lnTo>
                    <a:cubicBezTo>
                      <a:pt x="13183" y="10714"/>
                      <a:pt x="18154" y="7629"/>
                      <a:pt x="23092" y="4474"/>
                    </a:cubicBezTo>
                    <a:lnTo>
                      <a:pt x="15789" y="257"/>
                    </a:lnTo>
                    <a:lnTo>
                      <a:pt x="8006" y="474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5" name="Freeform: Shape 684">
                <a:extLst>
                  <a:ext uri="{FF2B5EF4-FFF2-40B4-BE49-F238E27FC236}">
                    <a16:creationId xmlns:a16="http://schemas.microsoft.com/office/drawing/2014/main" id="{F7836B52-165E-4142-B3F1-443572178756}"/>
                  </a:ext>
                </a:extLst>
              </p:cNvPr>
              <p:cNvSpPr/>
              <p:nvPr/>
            </p:nvSpPr>
            <p:spPr>
              <a:xfrm>
                <a:off x="6554126" y="1591526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6" name="Freeform: Shape 685">
                <a:extLst>
                  <a:ext uri="{FF2B5EF4-FFF2-40B4-BE49-F238E27FC236}">
                    <a16:creationId xmlns:a16="http://schemas.microsoft.com/office/drawing/2014/main" id="{A45F7EB6-C4E2-4BCC-8435-77D49D6A3748}"/>
                  </a:ext>
                </a:extLst>
              </p:cNvPr>
              <p:cNvSpPr/>
              <p:nvPr/>
            </p:nvSpPr>
            <p:spPr>
              <a:xfrm>
                <a:off x="6581486" y="1576406"/>
                <a:ext cx="20571" cy="5143"/>
              </a:xfrm>
              <a:custGeom>
                <a:avLst/>
                <a:gdLst>
                  <a:gd name="connsiteX0" fmla="*/ 20486 w 20571"/>
                  <a:gd name="connsiteY0" fmla="*/ 1011 h 5142"/>
                  <a:gd name="connsiteX1" fmla="*/ 257 w 20571"/>
                  <a:gd name="connsiteY1" fmla="*/ 257 h 5142"/>
                  <a:gd name="connsiteX2" fmla="*/ 11023 w 20571"/>
                  <a:gd name="connsiteY2" fmla="*/ 6463 h 5142"/>
                  <a:gd name="connsiteX3" fmla="*/ 20486 w 20571"/>
                  <a:gd name="connsiteY3" fmla="*/ 1011 h 5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1" h="5142">
                    <a:moveTo>
                      <a:pt x="20486" y="1011"/>
                    </a:moveTo>
                    <a:cubicBezTo>
                      <a:pt x="13766" y="737"/>
                      <a:pt x="7011" y="394"/>
                      <a:pt x="257" y="257"/>
                    </a:cubicBezTo>
                    <a:lnTo>
                      <a:pt x="11023" y="6463"/>
                    </a:lnTo>
                    <a:lnTo>
                      <a:pt x="20486" y="1011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7" name="Freeform: Shape 686">
                <a:extLst>
                  <a:ext uri="{FF2B5EF4-FFF2-40B4-BE49-F238E27FC236}">
                    <a16:creationId xmlns:a16="http://schemas.microsoft.com/office/drawing/2014/main" id="{9922D13B-54C2-42DA-B3DD-D73FE0D6E6F6}"/>
                  </a:ext>
                </a:extLst>
              </p:cNvPr>
              <p:cNvSpPr/>
              <p:nvPr/>
            </p:nvSpPr>
            <p:spPr>
              <a:xfrm>
                <a:off x="6554126" y="164518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8" name="Freeform: Shape 687">
                <a:extLst>
                  <a:ext uri="{FF2B5EF4-FFF2-40B4-BE49-F238E27FC236}">
                    <a16:creationId xmlns:a16="http://schemas.microsoft.com/office/drawing/2014/main" id="{201C4339-DCCA-47D9-81D2-CE129867508B}"/>
                  </a:ext>
                </a:extLst>
              </p:cNvPr>
              <p:cNvSpPr/>
              <p:nvPr/>
            </p:nvSpPr>
            <p:spPr>
              <a:xfrm>
                <a:off x="6576720" y="1618337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8006 w 30857"/>
                  <a:gd name="connsiteY2" fmla="*/ 4748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257 w 30857"/>
                  <a:gd name="connsiteY5" fmla="*/ 9240 h 18000"/>
                  <a:gd name="connsiteX6" fmla="*/ 15789 w 30857"/>
                  <a:gd name="connsiteY6" fmla="*/ 18223 h 18000"/>
                  <a:gd name="connsiteX7" fmla="*/ 31320 w 30857"/>
                  <a:gd name="connsiteY7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89" name="Freeform: Shape 688">
                <a:extLst>
                  <a:ext uri="{FF2B5EF4-FFF2-40B4-BE49-F238E27FC236}">
                    <a16:creationId xmlns:a16="http://schemas.microsoft.com/office/drawing/2014/main" id="{B6C1A3BD-8E82-4A3D-A66C-C16E06FAD776}"/>
                  </a:ext>
                </a:extLst>
              </p:cNvPr>
              <p:cNvSpPr/>
              <p:nvPr/>
            </p:nvSpPr>
            <p:spPr>
              <a:xfrm>
                <a:off x="6591394" y="1725686"/>
                <a:ext cx="2571" cy="2571"/>
              </a:xfrm>
              <a:custGeom>
                <a:avLst/>
                <a:gdLst>
                  <a:gd name="connsiteX0" fmla="*/ 257 w 0"/>
                  <a:gd name="connsiteY0" fmla="*/ 737 h 0"/>
                  <a:gd name="connsiteX1" fmla="*/ 1594 w 0"/>
                  <a:gd name="connsiteY1" fmla="*/ 531 h 0"/>
                  <a:gd name="connsiteX2" fmla="*/ 1114 w 0"/>
                  <a:gd name="connsiteY2" fmla="*/ 257 h 0"/>
                  <a:gd name="connsiteX3" fmla="*/ 257 w 0"/>
                  <a:gd name="connsiteY3" fmla="*/ 737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>
                    <a:moveTo>
                      <a:pt x="257" y="737"/>
                    </a:moveTo>
                    <a:cubicBezTo>
                      <a:pt x="703" y="669"/>
                      <a:pt x="1148" y="600"/>
                      <a:pt x="1594" y="531"/>
                    </a:cubicBezTo>
                    <a:lnTo>
                      <a:pt x="1114" y="257"/>
                    </a:lnTo>
                    <a:lnTo>
                      <a:pt x="257" y="73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0" name="Freeform: Shape 689">
                <a:extLst>
                  <a:ext uri="{FF2B5EF4-FFF2-40B4-BE49-F238E27FC236}">
                    <a16:creationId xmlns:a16="http://schemas.microsoft.com/office/drawing/2014/main" id="{400DA5FC-6E66-4A59-A6E3-C8BDC31D8AC0}"/>
                  </a:ext>
                </a:extLst>
              </p:cNvPr>
              <p:cNvSpPr/>
              <p:nvPr/>
            </p:nvSpPr>
            <p:spPr>
              <a:xfrm>
                <a:off x="6554126" y="1698840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40 h 18000"/>
                  <a:gd name="connsiteX2" fmla="*/ 15789 w 30857"/>
                  <a:gd name="connsiteY2" fmla="*/ 18223 h 18000"/>
                  <a:gd name="connsiteX3" fmla="*/ 31320 w 30857"/>
                  <a:gd name="connsiteY3" fmla="*/ 9240 h 18000"/>
                  <a:gd name="connsiteX4" fmla="*/ 15789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1" name="Freeform: Shape 690">
                <a:extLst>
                  <a:ext uri="{FF2B5EF4-FFF2-40B4-BE49-F238E27FC236}">
                    <a16:creationId xmlns:a16="http://schemas.microsoft.com/office/drawing/2014/main" id="{E46075CF-A118-4FEE-B2B6-9D4F55EE3C06}"/>
                  </a:ext>
                </a:extLst>
              </p:cNvPr>
              <p:cNvSpPr/>
              <p:nvPr/>
            </p:nvSpPr>
            <p:spPr>
              <a:xfrm>
                <a:off x="6576720" y="1672029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257 w 30857"/>
                  <a:gd name="connsiteY3" fmla="*/ 9206 h 18000"/>
                  <a:gd name="connsiteX4" fmla="*/ 15789 w 30857"/>
                  <a:gd name="connsiteY4" fmla="*/ 18189 h 18000"/>
                  <a:gd name="connsiteX5" fmla="*/ 31320 w 30857"/>
                  <a:gd name="connsiteY5" fmla="*/ 9206 h 18000"/>
                  <a:gd name="connsiteX6" fmla="*/ 15789 w 30857"/>
                  <a:gd name="connsiteY6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2" name="Freeform: Shape 691">
                <a:extLst>
                  <a:ext uri="{FF2B5EF4-FFF2-40B4-BE49-F238E27FC236}">
                    <a16:creationId xmlns:a16="http://schemas.microsoft.com/office/drawing/2014/main" id="{AB9B76DE-55A9-4FE2-96FA-5F3A5CB355D4}"/>
                  </a:ext>
                </a:extLst>
              </p:cNvPr>
              <p:cNvSpPr/>
              <p:nvPr/>
            </p:nvSpPr>
            <p:spPr>
              <a:xfrm>
                <a:off x="6508952" y="1215835"/>
                <a:ext cx="30857" cy="18000"/>
              </a:xfrm>
              <a:custGeom>
                <a:avLst/>
                <a:gdLst>
                  <a:gd name="connsiteX0" fmla="*/ 15764 w 30857"/>
                  <a:gd name="connsiteY0" fmla="*/ 18186 h 18000"/>
                  <a:gd name="connsiteX1" fmla="*/ 31303 w 30857"/>
                  <a:gd name="connsiteY1" fmla="*/ 9223 h 18000"/>
                  <a:gd name="connsiteX2" fmla="*/ 15764 w 30857"/>
                  <a:gd name="connsiteY2" fmla="*/ 260 h 18000"/>
                  <a:gd name="connsiteX3" fmla="*/ 260 w 30857"/>
                  <a:gd name="connsiteY3" fmla="*/ 9223 h 18000"/>
                  <a:gd name="connsiteX4" fmla="*/ 15764 w 30857"/>
                  <a:gd name="connsiteY4" fmla="*/ 1818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64" y="18186"/>
                    </a:moveTo>
                    <a:lnTo>
                      <a:pt x="31303" y="9223"/>
                    </a:lnTo>
                    <a:lnTo>
                      <a:pt x="15764" y="260"/>
                    </a:lnTo>
                    <a:lnTo>
                      <a:pt x="260" y="9223"/>
                    </a:lnTo>
                    <a:lnTo>
                      <a:pt x="15764" y="18186"/>
                    </a:lnTo>
                  </a:path>
                </a:pathLst>
              </a:custGeom>
              <a:solidFill>
                <a:srgbClr val="969A9E"/>
              </a:solidFill>
              <a:ln w="12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3" name="Freeform: Shape 692">
                <a:extLst>
                  <a:ext uri="{FF2B5EF4-FFF2-40B4-BE49-F238E27FC236}">
                    <a16:creationId xmlns:a16="http://schemas.microsoft.com/office/drawing/2014/main" id="{41B0A74F-96C9-4BFE-8558-555EA0BBD7A9}"/>
                  </a:ext>
                </a:extLst>
              </p:cNvPr>
              <p:cNvSpPr/>
              <p:nvPr/>
            </p:nvSpPr>
            <p:spPr>
              <a:xfrm>
                <a:off x="6538107" y="1201807"/>
                <a:ext cx="12857" cy="5143"/>
              </a:xfrm>
              <a:custGeom>
                <a:avLst/>
                <a:gdLst>
                  <a:gd name="connsiteX0" fmla="*/ 12715 w 12857"/>
                  <a:gd name="connsiteY0" fmla="*/ 3383 h 5142"/>
                  <a:gd name="connsiteX1" fmla="*/ 260 w 12857"/>
                  <a:gd name="connsiteY1" fmla="*/ 260 h 5142"/>
                  <a:gd name="connsiteX2" fmla="*/ 9211 w 12857"/>
                  <a:gd name="connsiteY2" fmla="*/ 5430 h 5142"/>
                  <a:gd name="connsiteX3" fmla="*/ 12715 w 12857"/>
                  <a:gd name="connsiteY3" fmla="*/ 3383 h 5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7" h="5142">
                    <a:moveTo>
                      <a:pt x="12715" y="3383"/>
                    </a:moveTo>
                    <a:cubicBezTo>
                      <a:pt x="8587" y="2307"/>
                      <a:pt x="4423" y="1197"/>
                      <a:pt x="260" y="260"/>
                    </a:cubicBezTo>
                    <a:lnTo>
                      <a:pt x="9211" y="5430"/>
                    </a:lnTo>
                    <a:lnTo>
                      <a:pt x="12715" y="3383"/>
                    </a:lnTo>
                  </a:path>
                </a:pathLst>
              </a:custGeom>
              <a:solidFill>
                <a:srgbClr val="969A9E"/>
              </a:solidFill>
              <a:ln w="12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4" name="Freeform: Shape 693">
                <a:extLst>
                  <a:ext uri="{FF2B5EF4-FFF2-40B4-BE49-F238E27FC236}">
                    <a16:creationId xmlns:a16="http://schemas.microsoft.com/office/drawing/2014/main" id="{C1AF3B96-A2BD-44DC-A045-29A367D5917D}"/>
                  </a:ext>
                </a:extLst>
              </p:cNvPr>
              <p:cNvSpPr/>
              <p:nvPr/>
            </p:nvSpPr>
            <p:spPr>
              <a:xfrm>
                <a:off x="6508937" y="1269515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5" name="Freeform: Shape 694">
                <a:extLst>
                  <a:ext uri="{FF2B5EF4-FFF2-40B4-BE49-F238E27FC236}">
                    <a16:creationId xmlns:a16="http://schemas.microsoft.com/office/drawing/2014/main" id="{9F7849A7-C81E-4FBF-AEBC-A18133480D2F}"/>
                  </a:ext>
                </a:extLst>
              </p:cNvPr>
              <p:cNvSpPr/>
              <p:nvPr/>
            </p:nvSpPr>
            <p:spPr>
              <a:xfrm>
                <a:off x="6531531" y="1242662"/>
                <a:ext cx="30857" cy="18000"/>
              </a:xfrm>
              <a:custGeom>
                <a:avLst/>
                <a:gdLst>
                  <a:gd name="connsiteX0" fmla="*/ 258 w 30857"/>
                  <a:gd name="connsiteY0" fmla="*/ 9214 h 18000"/>
                  <a:gd name="connsiteX1" fmla="*/ 15792 w 30857"/>
                  <a:gd name="connsiteY1" fmla="*/ 18203 h 18000"/>
                  <a:gd name="connsiteX2" fmla="*/ 31326 w 30857"/>
                  <a:gd name="connsiteY2" fmla="*/ 9214 h 18000"/>
                  <a:gd name="connsiteX3" fmla="*/ 15792 w 30857"/>
                  <a:gd name="connsiteY3" fmla="*/ 258 h 18000"/>
                  <a:gd name="connsiteX4" fmla="*/ 258 w 30857"/>
                  <a:gd name="connsiteY4" fmla="*/ 9214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8" y="9214"/>
                    </a:moveTo>
                    <a:lnTo>
                      <a:pt x="15792" y="18203"/>
                    </a:lnTo>
                    <a:lnTo>
                      <a:pt x="31326" y="9214"/>
                    </a:lnTo>
                    <a:lnTo>
                      <a:pt x="15792" y="258"/>
                    </a:lnTo>
                    <a:lnTo>
                      <a:pt x="258" y="9214"/>
                    </a:lnTo>
                  </a:path>
                </a:pathLst>
              </a:custGeom>
              <a:solidFill>
                <a:srgbClr val="969A9E"/>
              </a:solidFill>
              <a:ln w="12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6" name="Freeform: Shape 695">
                <a:extLst>
                  <a:ext uri="{FF2B5EF4-FFF2-40B4-BE49-F238E27FC236}">
                    <a16:creationId xmlns:a16="http://schemas.microsoft.com/office/drawing/2014/main" id="{D49BB699-2C59-4168-9CA5-F849D82C2A49}"/>
                  </a:ext>
                </a:extLst>
              </p:cNvPr>
              <p:cNvSpPr/>
              <p:nvPr/>
            </p:nvSpPr>
            <p:spPr>
              <a:xfrm>
                <a:off x="6486308" y="1242662"/>
                <a:ext cx="30857" cy="18000"/>
              </a:xfrm>
              <a:custGeom>
                <a:avLst/>
                <a:gdLst>
                  <a:gd name="connsiteX0" fmla="*/ 258 w 30857"/>
                  <a:gd name="connsiteY0" fmla="*/ 9214 h 18000"/>
                  <a:gd name="connsiteX1" fmla="*/ 15827 w 30857"/>
                  <a:gd name="connsiteY1" fmla="*/ 18203 h 18000"/>
                  <a:gd name="connsiteX2" fmla="*/ 31360 w 30857"/>
                  <a:gd name="connsiteY2" fmla="*/ 9214 h 18000"/>
                  <a:gd name="connsiteX3" fmla="*/ 15827 w 30857"/>
                  <a:gd name="connsiteY3" fmla="*/ 258 h 18000"/>
                  <a:gd name="connsiteX4" fmla="*/ 258 w 30857"/>
                  <a:gd name="connsiteY4" fmla="*/ 9214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8" y="9214"/>
                    </a:moveTo>
                    <a:lnTo>
                      <a:pt x="15827" y="18203"/>
                    </a:lnTo>
                    <a:lnTo>
                      <a:pt x="31360" y="9214"/>
                    </a:lnTo>
                    <a:lnTo>
                      <a:pt x="15827" y="258"/>
                    </a:lnTo>
                    <a:lnTo>
                      <a:pt x="258" y="9214"/>
                    </a:lnTo>
                  </a:path>
                </a:pathLst>
              </a:custGeom>
              <a:solidFill>
                <a:srgbClr val="969A9E"/>
              </a:solidFill>
              <a:ln w="12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7" name="Freeform: Shape 696">
                <a:extLst>
                  <a:ext uri="{FF2B5EF4-FFF2-40B4-BE49-F238E27FC236}">
                    <a16:creationId xmlns:a16="http://schemas.microsoft.com/office/drawing/2014/main" id="{3CB78E57-61E7-468D-8903-2B9716662589}"/>
                  </a:ext>
                </a:extLst>
              </p:cNvPr>
              <p:cNvSpPr/>
              <p:nvPr/>
            </p:nvSpPr>
            <p:spPr>
              <a:xfrm>
                <a:off x="6508937" y="1323172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8" name="Freeform: Shape 697">
                <a:extLst>
                  <a:ext uri="{FF2B5EF4-FFF2-40B4-BE49-F238E27FC236}">
                    <a16:creationId xmlns:a16="http://schemas.microsoft.com/office/drawing/2014/main" id="{C5CCB233-3E4C-4A38-829C-0F76B4EB317E}"/>
                  </a:ext>
                </a:extLst>
              </p:cNvPr>
              <p:cNvSpPr/>
              <p:nvPr/>
            </p:nvSpPr>
            <p:spPr>
              <a:xfrm>
                <a:off x="6531531" y="129636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699" name="Freeform: Shape 698">
                <a:extLst>
                  <a:ext uri="{FF2B5EF4-FFF2-40B4-BE49-F238E27FC236}">
                    <a16:creationId xmlns:a16="http://schemas.microsoft.com/office/drawing/2014/main" id="{8C2D2E4F-6C77-4E87-847E-6BBBB081EEE2}"/>
                  </a:ext>
                </a:extLst>
              </p:cNvPr>
              <p:cNvSpPr/>
              <p:nvPr/>
            </p:nvSpPr>
            <p:spPr>
              <a:xfrm>
                <a:off x="6486309" y="129636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823 w 30857"/>
                  <a:gd name="connsiteY1" fmla="*/ 18189 h 18000"/>
                  <a:gd name="connsiteX2" fmla="*/ 31354 w 30857"/>
                  <a:gd name="connsiteY2" fmla="*/ 9206 h 18000"/>
                  <a:gd name="connsiteX3" fmla="*/ 15823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823" y="18189"/>
                    </a:ln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0" name="Freeform: Shape 699">
                <a:extLst>
                  <a:ext uri="{FF2B5EF4-FFF2-40B4-BE49-F238E27FC236}">
                    <a16:creationId xmlns:a16="http://schemas.microsoft.com/office/drawing/2014/main" id="{3E4BAFFA-4C6A-42B4-9299-96DF577A8D5A}"/>
                  </a:ext>
                </a:extLst>
              </p:cNvPr>
              <p:cNvSpPr/>
              <p:nvPr/>
            </p:nvSpPr>
            <p:spPr>
              <a:xfrm>
                <a:off x="6508937" y="1376863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1" name="Freeform: Shape 700">
                <a:extLst>
                  <a:ext uri="{FF2B5EF4-FFF2-40B4-BE49-F238E27FC236}">
                    <a16:creationId xmlns:a16="http://schemas.microsoft.com/office/drawing/2014/main" id="{A285AB91-44B8-4048-94DA-CF965BD29F45}"/>
                  </a:ext>
                </a:extLst>
              </p:cNvPr>
              <p:cNvSpPr/>
              <p:nvPr/>
            </p:nvSpPr>
            <p:spPr>
              <a:xfrm>
                <a:off x="6531531" y="1350017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31320 w 30857"/>
                  <a:gd name="connsiteY1" fmla="*/ 9240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  <a:gd name="connsiteX5" fmla="*/ 257 w 30857"/>
                  <a:gd name="connsiteY5" fmla="*/ 9206 h 18000"/>
                  <a:gd name="connsiteX6" fmla="*/ 257 w 30857"/>
                  <a:gd name="connsiteY6" fmla="*/ 9240 h 18000"/>
                  <a:gd name="connsiteX7" fmla="*/ 15789 w 30857"/>
                  <a:gd name="connsiteY7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31320" y="9240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40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2" name="Freeform: Shape 701">
                <a:extLst>
                  <a:ext uri="{FF2B5EF4-FFF2-40B4-BE49-F238E27FC236}">
                    <a16:creationId xmlns:a16="http://schemas.microsoft.com/office/drawing/2014/main" id="{DF740E37-A2D3-4BFF-BCE0-61CCA8FAABB9}"/>
                  </a:ext>
                </a:extLst>
              </p:cNvPr>
              <p:cNvSpPr/>
              <p:nvPr/>
            </p:nvSpPr>
            <p:spPr>
              <a:xfrm>
                <a:off x="6486309" y="1350017"/>
                <a:ext cx="30857" cy="18000"/>
              </a:xfrm>
              <a:custGeom>
                <a:avLst/>
                <a:gdLst>
                  <a:gd name="connsiteX0" fmla="*/ 15823 w 30857"/>
                  <a:gd name="connsiteY0" fmla="*/ 18189 h 18000"/>
                  <a:gd name="connsiteX1" fmla="*/ 31354 w 30857"/>
                  <a:gd name="connsiteY1" fmla="*/ 9240 h 18000"/>
                  <a:gd name="connsiteX2" fmla="*/ 31354 w 30857"/>
                  <a:gd name="connsiteY2" fmla="*/ 9206 h 18000"/>
                  <a:gd name="connsiteX3" fmla="*/ 15823 w 30857"/>
                  <a:gd name="connsiteY3" fmla="*/ 257 h 18000"/>
                  <a:gd name="connsiteX4" fmla="*/ 257 w 30857"/>
                  <a:gd name="connsiteY4" fmla="*/ 9206 h 18000"/>
                  <a:gd name="connsiteX5" fmla="*/ 257 w 30857"/>
                  <a:gd name="connsiteY5" fmla="*/ 9206 h 18000"/>
                  <a:gd name="connsiteX6" fmla="*/ 257 w 30857"/>
                  <a:gd name="connsiteY6" fmla="*/ 9240 h 18000"/>
                  <a:gd name="connsiteX7" fmla="*/ 15823 w 30857"/>
                  <a:gd name="connsiteY7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823" y="18189"/>
                    </a:moveTo>
                    <a:lnTo>
                      <a:pt x="31354" y="9240"/>
                    </a:ln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40"/>
                    </a:lnTo>
                    <a:lnTo>
                      <a:pt x="15823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3" name="Freeform: Shape 702">
                <a:extLst>
                  <a:ext uri="{FF2B5EF4-FFF2-40B4-BE49-F238E27FC236}">
                    <a16:creationId xmlns:a16="http://schemas.microsoft.com/office/drawing/2014/main" id="{DE50D819-907B-47FB-A1F0-3D6EDC7AC28E}"/>
                  </a:ext>
                </a:extLst>
              </p:cNvPr>
              <p:cNvSpPr/>
              <p:nvPr/>
            </p:nvSpPr>
            <p:spPr>
              <a:xfrm>
                <a:off x="6508937" y="143052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4" name="Freeform: Shape 703">
                <a:extLst>
                  <a:ext uri="{FF2B5EF4-FFF2-40B4-BE49-F238E27FC236}">
                    <a16:creationId xmlns:a16="http://schemas.microsoft.com/office/drawing/2014/main" id="{4A212AED-2FD7-494D-8466-155E76D77102}"/>
                  </a:ext>
                </a:extLst>
              </p:cNvPr>
              <p:cNvSpPr/>
              <p:nvPr/>
            </p:nvSpPr>
            <p:spPr>
              <a:xfrm>
                <a:off x="6531531" y="1403674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31320 w 30857"/>
                  <a:gd name="connsiteY1" fmla="*/ 9240 h 18000"/>
                  <a:gd name="connsiteX2" fmla="*/ 31320 w 30857"/>
                  <a:gd name="connsiteY2" fmla="*/ 9240 h 18000"/>
                  <a:gd name="connsiteX3" fmla="*/ 23537 w 30857"/>
                  <a:gd name="connsiteY3" fmla="*/ 4749 h 18000"/>
                  <a:gd name="connsiteX4" fmla="*/ 15789 w 30857"/>
                  <a:gd name="connsiteY4" fmla="*/ 257 h 18000"/>
                  <a:gd name="connsiteX5" fmla="*/ 8006 w 30857"/>
                  <a:gd name="connsiteY5" fmla="*/ 4749 h 18000"/>
                  <a:gd name="connsiteX6" fmla="*/ 257 w 30857"/>
                  <a:gd name="connsiteY6" fmla="*/ 9240 h 18000"/>
                  <a:gd name="connsiteX7" fmla="*/ 257 w 30857"/>
                  <a:gd name="connsiteY7" fmla="*/ 9240 h 18000"/>
                  <a:gd name="connsiteX8" fmla="*/ 257 w 30857"/>
                  <a:gd name="connsiteY8" fmla="*/ 9240 h 18000"/>
                  <a:gd name="connsiteX9" fmla="*/ 15789 w 30857"/>
                  <a:gd name="connsiteY9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37" y="4749"/>
                    </a:lnTo>
                    <a:lnTo>
                      <a:pt x="15789" y="257"/>
                    </a:lnTo>
                    <a:lnTo>
                      <a:pt x="8006" y="4749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5" name="Freeform: Shape 704">
                <a:extLst>
                  <a:ext uri="{FF2B5EF4-FFF2-40B4-BE49-F238E27FC236}">
                    <a16:creationId xmlns:a16="http://schemas.microsoft.com/office/drawing/2014/main" id="{EE274D3A-605B-423A-B7AB-0CCB5A88FC8A}"/>
                  </a:ext>
                </a:extLst>
              </p:cNvPr>
              <p:cNvSpPr/>
              <p:nvPr/>
            </p:nvSpPr>
            <p:spPr>
              <a:xfrm>
                <a:off x="6486309" y="1403674"/>
                <a:ext cx="30857" cy="18000"/>
              </a:xfrm>
              <a:custGeom>
                <a:avLst/>
                <a:gdLst>
                  <a:gd name="connsiteX0" fmla="*/ 15823 w 30857"/>
                  <a:gd name="connsiteY0" fmla="*/ 18189 h 18000"/>
                  <a:gd name="connsiteX1" fmla="*/ 31354 w 30857"/>
                  <a:gd name="connsiteY1" fmla="*/ 9240 h 18000"/>
                  <a:gd name="connsiteX2" fmla="*/ 31354 w 30857"/>
                  <a:gd name="connsiteY2" fmla="*/ 9240 h 18000"/>
                  <a:gd name="connsiteX3" fmla="*/ 23571 w 30857"/>
                  <a:gd name="connsiteY3" fmla="*/ 4749 h 18000"/>
                  <a:gd name="connsiteX4" fmla="*/ 15823 w 30857"/>
                  <a:gd name="connsiteY4" fmla="*/ 257 h 18000"/>
                  <a:gd name="connsiteX5" fmla="*/ 8040 w 30857"/>
                  <a:gd name="connsiteY5" fmla="*/ 4749 h 18000"/>
                  <a:gd name="connsiteX6" fmla="*/ 257 w 30857"/>
                  <a:gd name="connsiteY6" fmla="*/ 9240 h 18000"/>
                  <a:gd name="connsiteX7" fmla="*/ 257 w 30857"/>
                  <a:gd name="connsiteY7" fmla="*/ 9240 h 18000"/>
                  <a:gd name="connsiteX8" fmla="*/ 257 w 30857"/>
                  <a:gd name="connsiteY8" fmla="*/ 9240 h 18000"/>
                  <a:gd name="connsiteX9" fmla="*/ 15823 w 30857"/>
                  <a:gd name="connsiteY9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15823" y="18189"/>
                    </a:moveTo>
                    <a:lnTo>
                      <a:pt x="31354" y="9240"/>
                    </a:lnTo>
                    <a:lnTo>
                      <a:pt x="31354" y="9240"/>
                    </a:lnTo>
                    <a:lnTo>
                      <a:pt x="23571" y="4749"/>
                    </a:lnTo>
                    <a:lnTo>
                      <a:pt x="15823" y="257"/>
                    </a:lnTo>
                    <a:lnTo>
                      <a:pt x="8040" y="4749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823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6" name="Freeform: Shape 705">
                <a:extLst>
                  <a:ext uri="{FF2B5EF4-FFF2-40B4-BE49-F238E27FC236}">
                    <a16:creationId xmlns:a16="http://schemas.microsoft.com/office/drawing/2014/main" id="{8A959ABF-1EC0-4A96-ACC6-8E87E17C8B6A}"/>
                  </a:ext>
                </a:extLst>
              </p:cNvPr>
              <p:cNvSpPr/>
              <p:nvPr/>
            </p:nvSpPr>
            <p:spPr>
              <a:xfrm>
                <a:off x="6486309" y="1457366"/>
                <a:ext cx="23143" cy="12857"/>
              </a:xfrm>
              <a:custGeom>
                <a:avLst/>
                <a:gdLst>
                  <a:gd name="connsiteX0" fmla="*/ 9754 w 23142"/>
                  <a:gd name="connsiteY0" fmla="*/ 14691 h 12857"/>
                  <a:gd name="connsiteX1" fmla="*/ 25046 w 23142"/>
                  <a:gd name="connsiteY1" fmla="*/ 5571 h 12857"/>
                  <a:gd name="connsiteX2" fmla="*/ 23571 w 23142"/>
                  <a:gd name="connsiteY2" fmla="*/ 4714 h 12857"/>
                  <a:gd name="connsiteX3" fmla="*/ 15823 w 23142"/>
                  <a:gd name="connsiteY3" fmla="*/ 257 h 12857"/>
                  <a:gd name="connsiteX4" fmla="*/ 8040 w 23142"/>
                  <a:gd name="connsiteY4" fmla="*/ 4714 h 12857"/>
                  <a:gd name="connsiteX5" fmla="*/ 257 w 23142"/>
                  <a:gd name="connsiteY5" fmla="*/ 9206 h 12857"/>
                  <a:gd name="connsiteX6" fmla="*/ 257 w 23142"/>
                  <a:gd name="connsiteY6" fmla="*/ 9206 h 12857"/>
                  <a:gd name="connsiteX7" fmla="*/ 257 w 23142"/>
                  <a:gd name="connsiteY7" fmla="*/ 9206 h 12857"/>
                  <a:gd name="connsiteX8" fmla="*/ 9754 w 23142"/>
                  <a:gd name="connsiteY8" fmla="*/ 14691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142" h="12857">
                    <a:moveTo>
                      <a:pt x="9754" y="14691"/>
                    </a:moveTo>
                    <a:cubicBezTo>
                      <a:pt x="14863" y="11640"/>
                      <a:pt x="19971" y="8657"/>
                      <a:pt x="25046" y="5571"/>
                    </a:cubicBezTo>
                    <a:lnTo>
                      <a:pt x="23571" y="4714"/>
                    </a:lnTo>
                    <a:lnTo>
                      <a:pt x="15823" y="257"/>
                    </a:lnTo>
                    <a:lnTo>
                      <a:pt x="8040" y="4714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9754" y="14691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7" name="Freeform: Shape 706">
                <a:extLst>
                  <a:ext uri="{FF2B5EF4-FFF2-40B4-BE49-F238E27FC236}">
                    <a16:creationId xmlns:a16="http://schemas.microsoft.com/office/drawing/2014/main" id="{6C910866-63D7-4AC6-B2CA-32C0A2AE21F0}"/>
                  </a:ext>
                </a:extLst>
              </p:cNvPr>
              <p:cNvSpPr/>
              <p:nvPr/>
            </p:nvSpPr>
            <p:spPr>
              <a:xfrm>
                <a:off x="6508937" y="1591526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8" name="Freeform: Shape 707">
                <a:extLst>
                  <a:ext uri="{FF2B5EF4-FFF2-40B4-BE49-F238E27FC236}">
                    <a16:creationId xmlns:a16="http://schemas.microsoft.com/office/drawing/2014/main" id="{E164DB77-85F4-4BE3-B6D7-77694E5BB17E}"/>
                  </a:ext>
                </a:extLst>
              </p:cNvPr>
              <p:cNvSpPr/>
              <p:nvPr/>
            </p:nvSpPr>
            <p:spPr>
              <a:xfrm>
                <a:off x="6536914" y="1576337"/>
                <a:ext cx="20571" cy="5143"/>
              </a:xfrm>
              <a:custGeom>
                <a:avLst/>
                <a:gdLst>
                  <a:gd name="connsiteX0" fmla="*/ 21309 w 20571"/>
                  <a:gd name="connsiteY0" fmla="*/ 257 h 5142"/>
                  <a:gd name="connsiteX1" fmla="*/ 257 w 20571"/>
                  <a:gd name="connsiteY1" fmla="*/ 703 h 5142"/>
                  <a:gd name="connsiteX2" fmla="*/ 10406 w 20571"/>
                  <a:gd name="connsiteY2" fmla="*/ 6531 h 5142"/>
                  <a:gd name="connsiteX3" fmla="*/ 21309 w 20571"/>
                  <a:gd name="connsiteY3" fmla="*/ 257 h 5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571" h="5142">
                    <a:moveTo>
                      <a:pt x="21309" y="257"/>
                    </a:moveTo>
                    <a:cubicBezTo>
                      <a:pt x="14280" y="291"/>
                      <a:pt x="7286" y="463"/>
                      <a:pt x="257" y="703"/>
                    </a:cubicBezTo>
                    <a:lnTo>
                      <a:pt x="10406" y="6531"/>
                    </a:lnTo>
                    <a:lnTo>
                      <a:pt x="2130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09" name="Freeform: Shape 708">
                <a:extLst>
                  <a:ext uri="{FF2B5EF4-FFF2-40B4-BE49-F238E27FC236}">
                    <a16:creationId xmlns:a16="http://schemas.microsoft.com/office/drawing/2014/main" id="{BB233BDB-8F16-404C-86F2-62BF6B0F8D04}"/>
                  </a:ext>
                </a:extLst>
              </p:cNvPr>
              <p:cNvSpPr/>
              <p:nvPr/>
            </p:nvSpPr>
            <p:spPr>
              <a:xfrm>
                <a:off x="6508937" y="164518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0" name="Freeform: Shape 709">
                <a:extLst>
                  <a:ext uri="{FF2B5EF4-FFF2-40B4-BE49-F238E27FC236}">
                    <a16:creationId xmlns:a16="http://schemas.microsoft.com/office/drawing/2014/main" id="{1D2705FC-25A3-410F-ADB7-2B7C617ED3A4}"/>
                  </a:ext>
                </a:extLst>
              </p:cNvPr>
              <p:cNvSpPr/>
              <p:nvPr/>
            </p:nvSpPr>
            <p:spPr>
              <a:xfrm>
                <a:off x="6531531" y="1618337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8006 w 30857"/>
                  <a:gd name="connsiteY2" fmla="*/ 4748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257 w 30857"/>
                  <a:gd name="connsiteY5" fmla="*/ 9240 h 18000"/>
                  <a:gd name="connsiteX6" fmla="*/ 15789 w 30857"/>
                  <a:gd name="connsiteY6" fmla="*/ 18223 h 18000"/>
                  <a:gd name="connsiteX7" fmla="*/ 31320 w 30857"/>
                  <a:gd name="connsiteY7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1" name="Freeform: Shape 710">
                <a:extLst>
                  <a:ext uri="{FF2B5EF4-FFF2-40B4-BE49-F238E27FC236}">
                    <a16:creationId xmlns:a16="http://schemas.microsoft.com/office/drawing/2014/main" id="{8D3F5A79-6EB5-4BBC-977F-AA14B0C9DBB0}"/>
                  </a:ext>
                </a:extLst>
              </p:cNvPr>
              <p:cNvSpPr/>
              <p:nvPr/>
            </p:nvSpPr>
            <p:spPr>
              <a:xfrm>
                <a:off x="6486309" y="1618337"/>
                <a:ext cx="30857" cy="18000"/>
              </a:xfrm>
              <a:custGeom>
                <a:avLst/>
                <a:gdLst>
                  <a:gd name="connsiteX0" fmla="*/ 15823 w 30857"/>
                  <a:gd name="connsiteY0" fmla="*/ 18223 h 18000"/>
                  <a:gd name="connsiteX1" fmla="*/ 31354 w 30857"/>
                  <a:gd name="connsiteY1" fmla="*/ 9240 h 18000"/>
                  <a:gd name="connsiteX2" fmla="*/ 15823 w 30857"/>
                  <a:gd name="connsiteY2" fmla="*/ 257 h 18000"/>
                  <a:gd name="connsiteX3" fmla="*/ 8040 w 30857"/>
                  <a:gd name="connsiteY3" fmla="*/ 4748 h 18000"/>
                  <a:gd name="connsiteX4" fmla="*/ 257 w 30857"/>
                  <a:gd name="connsiteY4" fmla="*/ 9240 h 18000"/>
                  <a:gd name="connsiteX5" fmla="*/ 257 w 30857"/>
                  <a:gd name="connsiteY5" fmla="*/ 9240 h 18000"/>
                  <a:gd name="connsiteX6" fmla="*/ 257 w 30857"/>
                  <a:gd name="connsiteY6" fmla="*/ 9240 h 18000"/>
                  <a:gd name="connsiteX7" fmla="*/ 15823 w 30857"/>
                  <a:gd name="connsiteY7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823" y="18223"/>
                    </a:moveTo>
                    <a:lnTo>
                      <a:pt x="31354" y="9240"/>
                    </a:lnTo>
                    <a:lnTo>
                      <a:pt x="15823" y="257"/>
                    </a:ln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823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2" name="Freeform: Shape 711">
                <a:extLst>
                  <a:ext uri="{FF2B5EF4-FFF2-40B4-BE49-F238E27FC236}">
                    <a16:creationId xmlns:a16="http://schemas.microsoft.com/office/drawing/2014/main" id="{4188090A-9E75-42B8-9B00-3B3C10CE4723}"/>
                  </a:ext>
                </a:extLst>
              </p:cNvPr>
              <p:cNvSpPr/>
              <p:nvPr/>
            </p:nvSpPr>
            <p:spPr>
              <a:xfrm>
                <a:off x="6531531" y="1725686"/>
                <a:ext cx="25714" cy="7714"/>
              </a:xfrm>
              <a:custGeom>
                <a:avLst/>
                <a:gdLst>
                  <a:gd name="connsiteX0" fmla="*/ 26040 w 25714"/>
                  <a:gd name="connsiteY0" fmla="*/ 6189 h 7714"/>
                  <a:gd name="connsiteX1" fmla="*/ 15789 w 25714"/>
                  <a:gd name="connsiteY1" fmla="*/ 257 h 7714"/>
                  <a:gd name="connsiteX2" fmla="*/ 257 w 25714"/>
                  <a:gd name="connsiteY2" fmla="*/ 9240 h 7714"/>
                  <a:gd name="connsiteX3" fmla="*/ 1149 w 25714"/>
                  <a:gd name="connsiteY3" fmla="*/ 9754 h 7714"/>
                  <a:gd name="connsiteX4" fmla="*/ 26040 w 25714"/>
                  <a:gd name="connsiteY4" fmla="*/ 6189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714" h="7714">
                    <a:moveTo>
                      <a:pt x="26040" y="6189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149" y="9754"/>
                    </a:lnTo>
                    <a:cubicBezTo>
                      <a:pt x="9446" y="8623"/>
                      <a:pt x="17743" y="7457"/>
                      <a:pt x="26040" y="6189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3" name="Freeform: Shape 712">
                <a:extLst>
                  <a:ext uri="{FF2B5EF4-FFF2-40B4-BE49-F238E27FC236}">
                    <a16:creationId xmlns:a16="http://schemas.microsoft.com/office/drawing/2014/main" id="{C8BAC3CE-FD94-4AED-99F8-AA34C21F87ED}"/>
                  </a:ext>
                </a:extLst>
              </p:cNvPr>
              <p:cNvSpPr/>
              <p:nvPr/>
            </p:nvSpPr>
            <p:spPr>
              <a:xfrm>
                <a:off x="6508937" y="1698840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4" name="Freeform: Shape 713">
                <a:extLst>
                  <a:ext uri="{FF2B5EF4-FFF2-40B4-BE49-F238E27FC236}">
                    <a16:creationId xmlns:a16="http://schemas.microsoft.com/office/drawing/2014/main" id="{4A4118B8-3590-41D7-A7F0-03D80673FF0A}"/>
                  </a:ext>
                </a:extLst>
              </p:cNvPr>
              <p:cNvSpPr/>
              <p:nvPr/>
            </p:nvSpPr>
            <p:spPr>
              <a:xfrm>
                <a:off x="6531531" y="1672029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257 w 30857"/>
                  <a:gd name="connsiteY3" fmla="*/ 9206 h 18000"/>
                  <a:gd name="connsiteX4" fmla="*/ 15789 w 30857"/>
                  <a:gd name="connsiteY4" fmla="*/ 18189 h 18000"/>
                  <a:gd name="connsiteX5" fmla="*/ 31320 w 30857"/>
                  <a:gd name="connsiteY5" fmla="*/ 9206 h 18000"/>
                  <a:gd name="connsiteX6" fmla="*/ 15789 w 30857"/>
                  <a:gd name="connsiteY6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5" name="Freeform: Shape 714">
                <a:extLst>
                  <a:ext uri="{FF2B5EF4-FFF2-40B4-BE49-F238E27FC236}">
                    <a16:creationId xmlns:a16="http://schemas.microsoft.com/office/drawing/2014/main" id="{7105E6B4-694E-4057-8A78-2AF80DB301E6}"/>
                  </a:ext>
                </a:extLst>
              </p:cNvPr>
              <p:cNvSpPr/>
              <p:nvPr/>
            </p:nvSpPr>
            <p:spPr>
              <a:xfrm>
                <a:off x="6486309" y="1672029"/>
                <a:ext cx="30857" cy="18000"/>
              </a:xfrm>
              <a:custGeom>
                <a:avLst/>
                <a:gdLst>
                  <a:gd name="connsiteX0" fmla="*/ 15823 w 30857"/>
                  <a:gd name="connsiteY0" fmla="*/ 18189 h 18000"/>
                  <a:gd name="connsiteX1" fmla="*/ 31354 w 30857"/>
                  <a:gd name="connsiteY1" fmla="*/ 9206 h 18000"/>
                  <a:gd name="connsiteX2" fmla="*/ 15823 w 30857"/>
                  <a:gd name="connsiteY2" fmla="*/ 257 h 18000"/>
                  <a:gd name="connsiteX3" fmla="*/ 257 w 30857"/>
                  <a:gd name="connsiteY3" fmla="*/ 9206 h 18000"/>
                  <a:gd name="connsiteX4" fmla="*/ 257 w 30857"/>
                  <a:gd name="connsiteY4" fmla="*/ 9206 h 18000"/>
                  <a:gd name="connsiteX5" fmla="*/ 257 w 30857"/>
                  <a:gd name="connsiteY5" fmla="*/ 9206 h 18000"/>
                  <a:gd name="connsiteX6" fmla="*/ 15823 w 30857"/>
                  <a:gd name="connsiteY6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15823" y="18189"/>
                    </a:move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823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6" name="Freeform: Shape 715">
                <a:extLst>
                  <a:ext uri="{FF2B5EF4-FFF2-40B4-BE49-F238E27FC236}">
                    <a16:creationId xmlns:a16="http://schemas.microsoft.com/office/drawing/2014/main" id="{05102DE8-19A6-4EE6-B7C6-34A76BD4D121}"/>
                  </a:ext>
                </a:extLst>
              </p:cNvPr>
              <p:cNvSpPr/>
              <p:nvPr/>
            </p:nvSpPr>
            <p:spPr>
              <a:xfrm>
                <a:off x="6463719" y="1215835"/>
                <a:ext cx="30857" cy="18000"/>
              </a:xfrm>
              <a:custGeom>
                <a:avLst/>
                <a:gdLst>
                  <a:gd name="connsiteX0" fmla="*/ 31372 w 30857"/>
                  <a:gd name="connsiteY0" fmla="*/ 9223 h 18000"/>
                  <a:gd name="connsiteX1" fmla="*/ 15833 w 30857"/>
                  <a:gd name="connsiteY1" fmla="*/ 260 h 18000"/>
                  <a:gd name="connsiteX2" fmla="*/ 260 w 30857"/>
                  <a:gd name="connsiteY2" fmla="*/ 9223 h 18000"/>
                  <a:gd name="connsiteX3" fmla="*/ 15833 w 30857"/>
                  <a:gd name="connsiteY3" fmla="*/ 18186 h 18000"/>
                  <a:gd name="connsiteX4" fmla="*/ 31372 w 30857"/>
                  <a:gd name="connsiteY4" fmla="*/ 9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72" y="9223"/>
                    </a:moveTo>
                    <a:lnTo>
                      <a:pt x="15833" y="260"/>
                    </a:lnTo>
                    <a:lnTo>
                      <a:pt x="260" y="9223"/>
                    </a:lnTo>
                    <a:lnTo>
                      <a:pt x="15833" y="18186"/>
                    </a:lnTo>
                    <a:lnTo>
                      <a:pt x="31372" y="9223"/>
                    </a:lnTo>
                  </a:path>
                </a:pathLst>
              </a:custGeom>
              <a:solidFill>
                <a:srgbClr val="969A9E"/>
              </a:solidFill>
              <a:ln w="128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7" name="Freeform: Shape 716">
                <a:extLst>
                  <a:ext uri="{FF2B5EF4-FFF2-40B4-BE49-F238E27FC236}">
                    <a16:creationId xmlns:a16="http://schemas.microsoft.com/office/drawing/2014/main" id="{1077EFF1-BA4F-4628-8698-9D2C0BDA6442}"/>
                  </a:ext>
                </a:extLst>
              </p:cNvPr>
              <p:cNvSpPr/>
              <p:nvPr/>
            </p:nvSpPr>
            <p:spPr>
              <a:xfrm>
                <a:off x="6489141" y="1196534"/>
                <a:ext cx="28286" cy="10286"/>
              </a:xfrm>
              <a:custGeom>
                <a:avLst/>
                <a:gdLst>
                  <a:gd name="connsiteX0" fmla="*/ 28532 w 28285"/>
                  <a:gd name="connsiteY0" fmla="*/ 1678 h 10285"/>
                  <a:gd name="connsiteX1" fmla="*/ 27560 w 28285"/>
                  <a:gd name="connsiteY1" fmla="*/ 1157 h 10285"/>
                  <a:gd name="connsiteX2" fmla="*/ 27247 w 28285"/>
                  <a:gd name="connsiteY2" fmla="*/ 1088 h 10285"/>
                  <a:gd name="connsiteX3" fmla="*/ 260 w 28285"/>
                  <a:gd name="connsiteY3" fmla="*/ 3345 h 10285"/>
                  <a:gd name="connsiteX4" fmla="*/ 260 w 28285"/>
                  <a:gd name="connsiteY4" fmla="*/ 3345 h 10285"/>
                  <a:gd name="connsiteX5" fmla="*/ 13007 w 28285"/>
                  <a:gd name="connsiteY5" fmla="*/ 10674 h 10285"/>
                  <a:gd name="connsiteX6" fmla="*/ 28532 w 28285"/>
                  <a:gd name="connsiteY6" fmla="*/ 1678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285" h="10285">
                    <a:moveTo>
                      <a:pt x="28532" y="1678"/>
                    </a:moveTo>
                    <a:lnTo>
                      <a:pt x="27560" y="1157"/>
                    </a:lnTo>
                    <a:cubicBezTo>
                      <a:pt x="27455" y="1122"/>
                      <a:pt x="27351" y="1088"/>
                      <a:pt x="27247" y="1088"/>
                    </a:cubicBezTo>
                    <a:cubicBezTo>
                      <a:pt x="17557" y="-614"/>
                      <a:pt x="8422" y="393"/>
                      <a:pt x="260" y="3345"/>
                    </a:cubicBezTo>
                    <a:lnTo>
                      <a:pt x="260" y="3345"/>
                    </a:lnTo>
                    <a:lnTo>
                      <a:pt x="13007" y="10674"/>
                    </a:lnTo>
                    <a:lnTo>
                      <a:pt x="28532" y="1678"/>
                    </a:lnTo>
                  </a:path>
                </a:pathLst>
              </a:custGeom>
              <a:solidFill>
                <a:srgbClr val="969A9E"/>
              </a:solidFill>
              <a:ln w="128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8" name="Freeform: Shape 717">
                <a:extLst>
                  <a:ext uri="{FF2B5EF4-FFF2-40B4-BE49-F238E27FC236}">
                    <a16:creationId xmlns:a16="http://schemas.microsoft.com/office/drawing/2014/main" id="{FE73718E-5AF9-4006-9363-5DE90106342F}"/>
                  </a:ext>
                </a:extLst>
              </p:cNvPr>
              <p:cNvSpPr/>
              <p:nvPr/>
            </p:nvSpPr>
            <p:spPr>
              <a:xfrm>
                <a:off x="6465737" y="1269515"/>
                <a:ext cx="28286" cy="18000"/>
              </a:xfrm>
              <a:custGeom>
                <a:avLst/>
                <a:gdLst>
                  <a:gd name="connsiteX0" fmla="*/ 257 w 28285"/>
                  <a:gd name="connsiteY0" fmla="*/ 8074 h 18000"/>
                  <a:gd name="connsiteX1" fmla="*/ 9103 w 28285"/>
                  <a:gd name="connsiteY1" fmla="*/ 15480 h 18000"/>
                  <a:gd name="connsiteX2" fmla="*/ 13800 w 28285"/>
                  <a:gd name="connsiteY2" fmla="*/ 18189 h 18000"/>
                  <a:gd name="connsiteX3" fmla="*/ 29331 w 28285"/>
                  <a:gd name="connsiteY3" fmla="*/ 9240 h 18000"/>
                  <a:gd name="connsiteX4" fmla="*/ 13800 w 28285"/>
                  <a:gd name="connsiteY4" fmla="*/ 257 h 18000"/>
                  <a:gd name="connsiteX5" fmla="*/ 257 w 28285"/>
                  <a:gd name="connsiteY5" fmla="*/ 8074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85" h="18000">
                    <a:moveTo>
                      <a:pt x="257" y="8074"/>
                    </a:moveTo>
                    <a:cubicBezTo>
                      <a:pt x="2760" y="10714"/>
                      <a:pt x="5708" y="13183"/>
                      <a:pt x="9103" y="15480"/>
                    </a:cubicBezTo>
                    <a:lnTo>
                      <a:pt x="13800" y="18189"/>
                    </a:lnTo>
                    <a:lnTo>
                      <a:pt x="29331" y="9240"/>
                    </a:lnTo>
                    <a:lnTo>
                      <a:pt x="13800" y="257"/>
                    </a:lnTo>
                    <a:lnTo>
                      <a:pt x="257" y="8074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19" name="Freeform: Shape 718">
                <a:extLst>
                  <a:ext uri="{FF2B5EF4-FFF2-40B4-BE49-F238E27FC236}">
                    <a16:creationId xmlns:a16="http://schemas.microsoft.com/office/drawing/2014/main" id="{5433701C-89C8-405C-B79A-9858494F6237}"/>
                  </a:ext>
                </a:extLst>
              </p:cNvPr>
              <p:cNvSpPr/>
              <p:nvPr/>
            </p:nvSpPr>
            <p:spPr>
              <a:xfrm>
                <a:off x="6463714" y="1323172"/>
                <a:ext cx="30857" cy="18000"/>
              </a:xfrm>
              <a:custGeom>
                <a:avLst/>
                <a:gdLst>
                  <a:gd name="connsiteX0" fmla="*/ 15823 w 30857"/>
                  <a:gd name="connsiteY0" fmla="*/ 18189 h 18000"/>
                  <a:gd name="connsiteX1" fmla="*/ 31354 w 30857"/>
                  <a:gd name="connsiteY1" fmla="*/ 9240 h 18000"/>
                  <a:gd name="connsiteX2" fmla="*/ 15823 w 30857"/>
                  <a:gd name="connsiteY2" fmla="*/ 257 h 18000"/>
                  <a:gd name="connsiteX3" fmla="*/ 257 w 30857"/>
                  <a:gd name="connsiteY3" fmla="*/ 9240 h 18000"/>
                  <a:gd name="connsiteX4" fmla="*/ 15823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823" y="18189"/>
                    </a:moveTo>
                    <a:lnTo>
                      <a:pt x="31354" y="9240"/>
                    </a:lnTo>
                    <a:lnTo>
                      <a:pt x="15823" y="257"/>
                    </a:lnTo>
                    <a:lnTo>
                      <a:pt x="257" y="9240"/>
                    </a:lnTo>
                    <a:lnTo>
                      <a:pt x="15823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0" name="Freeform: Shape 719">
                <a:extLst>
                  <a:ext uri="{FF2B5EF4-FFF2-40B4-BE49-F238E27FC236}">
                    <a16:creationId xmlns:a16="http://schemas.microsoft.com/office/drawing/2014/main" id="{139B541B-E8F2-4AB5-803C-3F97215F2C93}"/>
                  </a:ext>
                </a:extLst>
              </p:cNvPr>
              <p:cNvSpPr/>
              <p:nvPr/>
            </p:nvSpPr>
            <p:spPr>
              <a:xfrm>
                <a:off x="6463714" y="1376863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823 w 30857"/>
                  <a:gd name="connsiteY1" fmla="*/ 18189 h 18000"/>
                  <a:gd name="connsiteX2" fmla="*/ 31354 w 30857"/>
                  <a:gd name="connsiteY2" fmla="*/ 9206 h 18000"/>
                  <a:gd name="connsiteX3" fmla="*/ 15823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823" y="18189"/>
                    </a:ln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1" name="Freeform: Shape 720">
                <a:extLst>
                  <a:ext uri="{FF2B5EF4-FFF2-40B4-BE49-F238E27FC236}">
                    <a16:creationId xmlns:a16="http://schemas.microsoft.com/office/drawing/2014/main" id="{9AC7E0EE-09AE-4918-A3BC-FABEFC358864}"/>
                  </a:ext>
                </a:extLst>
              </p:cNvPr>
              <p:cNvSpPr/>
              <p:nvPr/>
            </p:nvSpPr>
            <p:spPr>
              <a:xfrm>
                <a:off x="6463714" y="1430520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823 w 30857"/>
                  <a:gd name="connsiteY1" fmla="*/ 18189 h 18000"/>
                  <a:gd name="connsiteX2" fmla="*/ 31354 w 30857"/>
                  <a:gd name="connsiteY2" fmla="*/ 9206 h 18000"/>
                  <a:gd name="connsiteX3" fmla="*/ 15823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823" y="18189"/>
                    </a:ln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2" name="Freeform: Shape 721">
                <a:extLst>
                  <a:ext uri="{FF2B5EF4-FFF2-40B4-BE49-F238E27FC236}">
                    <a16:creationId xmlns:a16="http://schemas.microsoft.com/office/drawing/2014/main" id="{FC7AD14E-23D0-407A-B003-85DA7F8D9013}"/>
                  </a:ext>
                </a:extLst>
              </p:cNvPr>
              <p:cNvSpPr/>
              <p:nvPr/>
            </p:nvSpPr>
            <p:spPr>
              <a:xfrm>
                <a:off x="6441120" y="1403674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8040 w 30857"/>
                  <a:gd name="connsiteY1" fmla="*/ 4749 h 18000"/>
                  <a:gd name="connsiteX2" fmla="*/ 6292 w 30857"/>
                  <a:gd name="connsiteY2" fmla="*/ 5743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189 h 18000"/>
                  <a:gd name="connsiteX6" fmla="*/ 31354 w 30857"/>
                  <a:gd name="connsiteY6" fmla="*/ 9240 h 18000"/>
                  <a:gd name="connsiteX7" fmla="*/ 31354 w 30857"/>
                  <a:gd name="connsiteY7" fmla="*/ 9240 h 18000"/>
                  <a:gd name="connsiteX8" fmla="*/ 31354 w 30857"/>
                  <a:gd name="connsiteY8" fmla="*/ 9240 h 18000"/>
                  <a:gd name="connsiteX9" fmla="*/ 23571 w 30857"/>
                  <a:gd name="connsiteY9" fmla="*/ 4749 h 18000"/>
                  <a:gd name="connsiteX10" fmla="*/ 15789 w 30857"/>
                  <a:gd name="connsiteY10" fmla="*/ 257 h 18000"/>
                  <a:gd name="connsiteX11" fmla="*/ 15789 w 30857"/>
                  <a:gd name="connsiteY11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8040" y="4749"/>
                    </a:lnTo>
                    <a:lnTo>
                      <a:pt x="6292" y="5743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54" y="9240"/>
                    </a:lnTo>
                    <a:lnTo>
                      <a:pt x="31354" y="9240"/>
                    </a:lnTo>
                    <a:lnTo>
                      <a:pt x="31354" y="9240"/>
                    </a:lnTo>
                    <a:lnTo>
                      <a:pt x="23571" y="4749"/>
                    </a:lnTo>
                    <a:lnTo>
                      <a:pt x="15789" y="257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3" name="Freeform: Shape 722">
                <a:extLst>
                  <a:ext uri="{FF2B5EF4-FFF2-40B4-BE49-F238E27FC236}">
                    <a16:creationId xmlns:a16="http://schemas.microsoft.com/office/drawing/2014/main" id="{F4DC3F2A-D141-4274-AA9C-F7999FABFD41}"/>
                  </a:ext>
                </a:extLst>
              </p:cNvPr>
              <p:cNvSpPr/>
              <p:nvPr/>
            </p:nvSpPr>
            <p:spPr>
              <a:xfrm>
                <a:off x="6463714" y="1591526"/>
                <a:ext cx="30857" cy="18000"/>
              </a:xfrm>
              <a:custGeom>
                <a:avLst/>
                <a:gdLst>
                  <a:gd name="connsiteX0" fmla="*/ 15823 w 30857"/>
                  <a:gd name="connsiteY0" fmla="*/ 18189 h 18000"/>
                  <a:gd name="connsiteX1" fmla="*/ 31354 w 30857"/>
                  <a:gd name="connsiteY1" fmla="*/ 9206 h 18000"/>
                  <a:gd name="connsiteX2" fmla="*/ 15823 w 30857"/>
                  <a:gd name="connsiteY2" fmla="*/ 257 h 18000"/>
                  <a:gd name="connsiteX3" fmla="*/ 257 w 30857"/>
                  <a:gd name="connsiteY3" fmla="*/ 9206 h 18000"/>
                  <a:gd name="connsiteX4" fmla="*/ 15823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823" y="18189"/>
                    </a:moveTo>
                    <a:lnTo>
                      <a:pt x="31354" y="9206"/>
                    </a:lnTo>
                    <a:lnTo>
                      <a:pt x="15823" y="257"/>
                    </a:lnTo>
                    <a:lnTo>
                      <a:pt x="257" y="9206"/>
                    </a:lnTo>
                    <a:lnTo>
                      <a:pt x="15823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4" name="Freeform: Shape 723">
                <a:extLst>
                  <a:ext uri="{FF2B5EF4-FFF2-40B4-BE49-F238E27FC236}">
                    <a16:creationId xmlns:a16="http://schemas.microsoft.com/office/drawing/2014/main" id="{8F2F375C-D0B5-4E2A-9806-DA4CC33443BD}"/>
                  </a:ext>
                </a:extLst>
              </p:cNvPr>
              <p:cNvSpPr/>
              <p:nvPr/>
            </p:nvSpPr>
            <p:spPr>
              <a:xfrm>
                <a:off x="6495805" y="1578120"/>
                <a:ext cx="12857" cy="2571"/>
              </a:xfrm>
              <a:custGeom>
                <a:avLst/>
                <a:gdLst>
                  <a:gd name="connsiteX0" fmla="*/ 14143 w 12857"/>
                  <a:gd name="connsiteY0" fmla="*/ 257 h 2571"/>
                  <a:gd name="connsiteX1" fmla="*/ 257 w 12857"/>
                  <a:gd name="connsiteY1" fmla="*/ 1252 h 2571"/>
                  <a:gd name="connsiteX2" fmla="*/ 6326 w 12857"/>
                  <a:gd name="connsiteY2" fmla="*/ 4749 h 2571"/>
                  <a:gd name="connsiteX3" fmla="*/ 14143 w 12857"/>
                  <a:gd name="connsiteY3" fmla="*/ 257 h 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7" h="2571">
                    <a:moveTo>
                      <a:pt x="14143" y="257"/>
                    </a:moveTo>
                    <a:cubicBezTo>
                      <a:pt x="9514" y="566"/>
                      <a:pt x="4886" y="875"/>
                      <a:pt x="257" y="1252"/>
                    </a:cubicBezTo>
                    <a:lnTo>
                      <a:pt x="6326" y="4749"/>
                    </a:lnTo>
                    <a:lnTo>
                      <a:pt x="14143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5" name="Freeform: Shape 724">
                <a:extLst>
                  <a:ext uri="{FF2B5EF4-FFF2-40B4-BE49-F238E27FC236}">
                    <a16:creationId xmlns:a16="http://schemas.microsoft.com/office/drawing/2014/main" id="{2B447D48-522E-438A-ADF9-E3296C4B41FC}"/>
                  </a:ext>
                </a:extLst>
              </p:cNvPr>
              <p:cNvSpPr/>
              <p:nvPr/>
            </p:nvSpPr>
            <p:spPr>
              <a:xfrm>
                <a:off x="6463714" y="1645183"/>
                <a:ext cx="30857" cy="18000"/>
              </a:xfrm>
              <a:custGeom>
                <a:avLst/>
                <a:gdLst>
                  <a:gd name="connsiteX0" fmla="*/ 31354 w 30857"/>
                  <a:gd name="connsiteY0" fmla="*/ 9240 h 18000"/>
                  <a:gd name="connsiteX1" fmla="*/ 15823 w 30857"/>
                  <a:gd name="connsiteY1" fmla="*/ 257 h 18000"/>
                  <a:gd name="connsiteX2" fmla="*/ 257 w 30857"/>
                  <a:gd name="connsiteY2" fmla="*/ 9240 h 18000"/>
                  <a:gd name="connsiteX3" fmla="*/ 15823 w 30857"/>
                  <a:gd name="connsiteY3" fmla="*/ 18189 h 18000"/>
                  <a:gd name="connsiteX4" fmla="*/ 31354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54" y="9240"/>
                    </a:moveTo>
                    <a:lnTo>
                      <a:pt x="15823" y="257"/>
                    </a:lnTo>
                    <a:lnTo>
                      <a:pt x="257" y="9240"/>
                    </a:lnTo>
                    <a:lnTo>
                      <a:pt x="15823" y="18189"/>
                    </a:lnTo>
                    <a:lnTo>
                      <a:pt x="31354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6" name="Freeform: Shape 725">
                <a:extLst>
                  <a:ext uri="{FF2B5EF4-FFF2-40B4-BE49-F238E27FC236}">
                    <a16:creationId xmlns:a16="http://schemas.microsoft.com/office/drawing/2014/main" id="{B424715D-4197-400F-88C5-DFB89950DE9E}"/>
                  </a:ext>
                </a:extLst>
              </p:cNvPr>
              <p:cNvSpPr/>
              <p:nvPr/>
            </p:nvSpPr>
            <p:spPr>
              <a:xfrm>
                <a:off x="6441120" y="1618337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8040 w 30857"/>
                  <a:gd name="connsiteY1" fmla="*/ 4748 h 18000"/>
                  <a:gd name="connsiteX2" fmla="*/ 6292 w 30857"/>
                  <a:gd name="connsiteY2" fmla="*/ 5777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223 h 18000"/>
                  <a:gd name="connsiteX6" fmla="*/ 31354 w 30857"/>
                  <a:gd name="connsiteY6" fmla="*/ 9240 h 18000"/>
                  <a:gd name="connsiteX7" fmla="*/ 15789 w 30857"/>
                  <a:gd name="connsiteY7" fmla="*/ 257 h 18000"/>
                  <a:gd name="connsiteX8" fmla="*/ 15789 w 30857"/>
                  <a:gd name="connsiteY8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8040" y="4748"/>
                    </a:lnTo>
                    <a:lnTo>
                      <a:pt x="6292" y="5777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54" y="9240"/>
                    </a:lnTo>
                    <a:lnTo>
                      <a:pt x="15789" y="257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7" name="Freeform: Shape 726">
                <a:extLst>
                  <a:ext uri="{FF2B5EF4-FFF2-40B4-BE49-F238E27FC236}">
                    <a16:creationId xmlns:a16="http://schemas.microsoft.com/office/drawing/2014/main" id="{F89E67BC-98DF-4D1B-8AFB-E6637D050BB0}"/>
                  </a:ext>
                </a:extLst>
              </p:cNvPr>
              <p:cNvSpPr/>
              <p:nvPr/>
            </p:nvSpPr>
            <p:spPr>
              <a:xfrm>
                <a:off x="6486309" y="1725686"/>
                <a:ext cx="30857" cy="12857"/>
              </a:xfrm>
              <a:custGeom>
                <a:avLst/>
                <a:gdLst>
                  <a:gd name="connsiteX0" fmla="*/ 25903 w 30857"/>
                  <a:gd name="connsiteY0" fmla="*/ 12394 h 12857"/>
                  <a:gd name="connsiteX1" fmla="*/ 31354 w 30857"/>
                  <a:gd name="connsiteY1" fmla="*/ 9240 h 12857"/>
                  <a:gd name="connsiteX2" fmla="*/ 15823 w 30857"/>
                  <a:gd name="connsiteY2" fmla="*/ 257 h 12857"/>
                  <a:gd name="connsiteX3" fmla="*/ 257 w 30857"/>
                  <a:gd name="connsiteY3" fmla="*/ 9240 h 12857"/>
                  <a:gd name="connsiteX4" fmla="*/ 8623 w 30857"/>
                  <a:gd name="connsiteY4" fmla="*/ 14040 h 12857"/>
                  <a:gd name="connsiteX5" fmla="*/ 25903 w 30857"/>
                  <a:gd name="connsiteY5" fmla="*/ 12394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2857">
                    <a:moveTo>
                      <a:pt x="25903" y="12394"/>
                    </a:moveTo>
                    <a:lnTo>
                      <a:pt x="31354" y="9240"/>
                    </a:lnTo>
                    <a:lnTo>
                      <a:pt x="15823" y="257"/>
                    </a:lnTo>
                    <a:lnTo>
                      <a:pt x="257" y="9240"/>
                    </a:lnTo>
                    <a:lnTo>
                      <a:pt x="8623" y="14040"/>
                    </a:lnTo>
                    <a:cubicBezTo>
                      <a:pt x="14383" y="13526"/>
                      <a:pt x="20143" y="13046"/>
                      <a:pt x="25903" y="12394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8" name="Freeform: Shape 727">
                <a:extLst>
                  <a:ext uri="{FF2B5EF4-FFF2-40B4-BE49-F238E27FC236}">
                    <a16:creationId xmlns:a16="http://schemas.microsoft.com/office/drawing/2014/main" id="{F073826D-67D4-46FA-8E51-9A03D7655480}"/>
                  </a:ext>
                </a:extLst>
              </p:cNvPr>
              <p:cNvSpPr/>
              <p:nvPr/>
            </p:nvSpPr>
            <p:spPr>
              <a:xfrm>
                <a:off x="6463714" y="1698840"/>
                <a:ext cx="30857" cy="18000"/>
              </a:xfrm>
              <a:custGeom>
                <a:avLst/>
                <a:gdLst>
                  <a:gd name="connsiteX0" fmla="*/ 31354 w 30857"/>
                  <a:gd name="connsiteY0" fmla="*/ 9240 h 18000"/>
                  <a:gd name="connsiteX1" fmla="*/ 15823 w 30857"/>
                  <a:gd name="connsiteY1" fmla="*/ 257 h 18000"/>
                  <a:gd name="connsiteX2" fmla="*/ 257 w 30857"/>
                  <a:gd name="connsiteY2" fmla="*/ 9240 h 18000"/>
                  <a:gd name="connsiteX3" fmla="*/ 15823 w 30857"/>
                  <a:gd name="connsiteY3" fmla="*/ 18223 h 18000"/>
                  <a:gd name="connsiteX4" fmla="*/ 31354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54" y="9240"/>
                    </a:moveTo>
                    <a:lnTo>
                      <a:pt x="15823" y="257"/>
                    </a:lnTo>
                    <a:lnTo>
                      <a:pt x="257" y="9240"/>
                    </a:lnTo>
                    <a:lnTo>
                      <a:pt x="15823" y="18223"/>
                    </a:lnTo>
                    <a:lnTo>
                      <a:pt x="31354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29" name="Freeform: Shape 728">
                <a:extLst>
                  <a:ext uri="{FF2B5EF4-FFF2-40B4-BE49-F238E27FC236}">
                    <a16:creationId xmlns:a16="http://schemas.microsoft.com/office/drawing/2014/main" id="{0BC0050C-AA0E-48DD-94DE-92EC34A5A319}"/>
                  </a:ext>
                </a:extLst>
              </p:cNvPr>
              <p:cNvSpPr/>
              <p:nvPr/>
            </p:nvSpPr>
            <p:spPr>
              <a:xfrm>
                <a:off x="6453874" y="1242662"/>
                <a:ext cx="18000" cy="18000"/>
              </a:xfrm>
              <a:custGeom>
                <a:avLst/>
                <a:gdLst>
                  <a:gd name="connsiteX0" fmla="*/ 3037 w 18000"/>
                  <a:gd name="connsiteY0" fmla="*/ 18203 h 18000"/>
                  <a:gd name="connsiteX1" fmla="*/ 18605 w 18000"/>
                  <a:gd name="connsiteY1" fmla="*/ 9214 h 18000"/>
                  <a:gd name="connsiteX2" fmla="*/ 3037 w 18000"/>
                  <a:gd name="connsiteY2" fmla="*/ 258 h 18000"/>
                  <a:gd name="connsiteX3" fmla="*/ 3037 w 18000"/>
                  <a:gd name="connsiteY3" fmla="*/ 258 h 18000"/>
                  <a:gd name="connsiteX4" fmla="*/ 419 w 18000"/>
                  <a:gd name="connsiteY4" fmla="*/ 1808 h 18000"/>
                  <a:gd name="connsiteX5" fmla="*/ 1935 w 18000"/>
                  <a:gd name="connsiteY5" fmla="*/ 17549 h 18000"/>
                  <a:gd name="connsiteX6" fmla="*/ 3037 w 18000"/>
                  <a:gd name="connsiteY6" fmla="*/ 1820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00" h="18000">
                    <a:moveTo>
                      <a:pt x="3037" y="18203"/>
                    </a:moveTo>
                    <a:lnTo>
                      <a:pt x="18605" y="9214"/>
                    </a:lnTo>
                    <a:lnTo>
                      <a:pt x="3037" y="258"/>
                    </a:lnTo>
                    <a:lnTo>
                      <a:pt x="3037" y="258"/>
                    </a:lnTo>
                    <a:lnTo>
                      <a:pt x="419" y="1808"/>
                    </a:lnTo>
                    <a:cubicBezTo>
                      <a:pt x="-29" y="7078"/>
                      <a:pt x="454" y="12382"/>
                      <a:pt x="1935" y="17549"/>
                    </a:cubicBezTo>
                    <a:lnTo>
                      <a:pt x="3037" y="18203"/>
                    </a:lnTo>
                  </a:path>
                </a:pathLst>
              </a:custGeom>
              <a:solidFill>
                <a:srgbClr val="969A9E"/>
              </a:solidFill>
              <a:ln w="12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0" name="Freeform: Shape 729">
                <a:extLst>
                  <a:ext uri="{FF2B5EF4-FFF2-40B4-BE49-F238E27FC236}">
                    <a16:creationId xmlns:a16="http://schemas.microsoft.com/office/drawing/2014/main" id="{1820BBD9-64C1-4C5A-AD90-0AE3019CAAB4}"/>
                  </a:ext>
                </a:extLst>
              </p:cNvPr>
              <p:cNvSpPr/>
              <p:nvPr/>
            </p:nvSpPr>
            <p:spPr>
              <a:xfrm>
                <a:off x="6441120" y="1350017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257 w 30857"/>
                  <a:gd name="connsiteY1" fmla="*/ 9206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54 w 30857"/>
                  <a:gd name="connsiteY4" fmla="*/ 9240 h 18000"/>
                  <a:gd name="connsiteX5" fmla="*/ 31354 w 30857"/>
                  <a:gd name="connsiteY5" fmla="*/ 9206 h 18000"/>
                  <a:gd name="connsiteX6" fmla="*/ 31354 w 30857"/>
                  <a:gd name="connsiteY6" fmla="*/ 9206 h 18000"/>
                  <a:gd name="connsiteX7" fmla="*/ 15789 w 30857"/>
                  <a:gd name="connsiteY7" fmla="*/ 257 h 18000"/>
                  <a:gd name="connsiteX8" fmla="*/ 15789 w 30857"/>
                  <a:gd name="connsiteY8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257" y="9206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54" y="9240"/>
                    </a:lnTo>
                    <a:lnTo>
                      <a:pt x="31354" y="9206"/>
                    </a:lnTo>
                    <a:lnTo>
                      <a:pt x="31354" y="9206"/>
                    </a:lnTo>
                    <a:lnTo>
                      <a:pt x="15789" y="257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1" name="Freeform: Shape 730">
                <a:extLst>
                  <a:ext uri="{FF2B5EF4-FFF2-40B4-BE49-F238E27FC236}">
                    <a16:creationId xmlns:a16="http://schemas.microsoft.com/office/drawing/2014/main" id="{9EA87B93-C0B2-4318-B020-41D1B4682328}"/>
                  </a:ext>
                </a:extLst>
              </p:cNvPr>
              <p:cNvSpPr/>
              <p:nvPr/>
            </p:nvSpPr>
            <p:spPr>
              <a:xfrm>
                <a:off x="6424526" y="1323172"/>
                <a:ext cx="23143" cy="18000"/>
              </a:xfrm>
              <a:custGeom>
                <a:avLst/>
                <a:gdLst>
                  <a:gd name="connsiteX0" fmla="*/ 25320 w 23142"/>
                  <a:gd name="connsiteY0" fmla="*/ 9240 h 18000"/>
                  <a:gd name="connsiteX1" fmla="*/ 9789 w 23142"/>
                  <a:gd name="connsiteY1" fmla="*/ 257 h 18000"/>
                  <a:gd name="connsiteX2" fmla="*/ 5846 w 23142"/>
                  <a:gd name="connsiteY2" fmla="*/ 2554 h 18000"/>
                  <a:gd name="connsiteX3" fmla="*/ 257 w 23142"/>
                  <a:gd name="connsiteY3" fmla="*/ 12703 h 18000"/>
                  <a:gd name="connsiteX4" fmla="*/ 9789 w 23142"/>
                  <a:gd name="connsiteY4" fmla="*/ 18189 h 18000"/>
                  <a:gd name="connsiteX5" fmla="*/ 25320 w 23142"/>
                  <a:gd name="connsiteY5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142" h="18000">
                    <a:moveTo>
                      <a:pt x="25320" y="9240"/>
                    </a:moveTo>
                    <a:lnTo>
                      <a:pt x="9789" y="257"/>
                    </a:lnTo>
                    <a:lnTo>
                      <a:pt x="5846" y="2554"/>
                    </a:lnTo>
                    <a:cubicBezTo>
                      <a:pt x="3377" y="5743"/>
                      <a:pt x="1526" y="9137"/>
                      <a:pt x="257" y="12703"/>
                    </a:cubicBezTo>
                    <a:lnTo>
                      <a:pt x="9789" y="18189"/>
                    </a:lnTo>
                    <a:lnTo>
                      <a:pt x="25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2" name="Freeform: Shape 731">
                <a:extLst>
                  <a:ext uri="{FF2B5EF4-FFF2-40B4-BE49-F238E27FC236}">
                    <a16:creationId xmlns:a16="http://schemas.microsoft.com/office/drawing/2014/main" id="{6F3C733A-D3F4-4366-9965-21A97BC0368F}"/>
                  </a:ext>
                </a:extLst>
              </p:cNvPr>
              <p:cNvSpPr/>
              <p:nvPr/>
            </p:nvSpPr>
            <p:spPr>
              <a:xfrm>
                <a:off x="6450205" y="1302052"/>
                <a:ext cx="20571" cy="10286"/>
              </a:xfrm>
              <a:custGeom>
                <a:avLst/>
                <a:gdLst>
                  <a:gd name="connsiteX0" fmla="*/ 22269 w 20571"/>
                  <a:gd name="connsiteY0" fmla="*/ 3514 h 10285"/>
                  <a:gd name="connsiteX1" fmla="*/ 16611 w 20571"/>
                  <a:gd name="connsiteY1" fmla="*/ 257 h 10285"/>
                  <a:gd name="connsiteX2" fmla="*/ 257 w 20571"/>
                  <a:gd name="connsiteY2" fmla="*/ 8760 h 10285"/>
                  <a:gd name="connsiteX3" fmla="*/ 6703 w 20571"/>
                  <a:gd name="connsiteY3" fmla="*/ 12497 h 10285"/>
                  <a:gd name="connsiteX4" fmla="*/ 22269 w 20571"/>
                  <a:gd name="connsiteY4" fmla="*/ 3514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71" h="10285">
                    <a:moveTo>
                      <a:pt x="22269" y="3514"/>
                    </a:moveTo>
                    <a:lnTo>
                      <a:pt x="16611" y="257"/>
                    </a:lnTo>
                    <a:cubicBezTo>
                      <a:pt x="11297" y="3274"/>
                      <a:pt x="5846" y="6086"/>
                      <a:pt x="257" y="8760"/>
                    </a:cubicBezTo>
                    <a:lnTo>
                      <a:pt x="6703" y="12497"/>
                    </a:lnTo>
                    <a:lnTo>
                      <a:pt x="22269" y="3514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3" name="Freeform: Shape 732">
                <a:extLst>
                  <a:ext uri="{FF2B5EF4-FFF2-40B4-BE49-F238E27FC236}">
                    <a16:creationId xmlns:a16="http://schemas.microsoft.com/office/drawing/2014/main" id="{D25F16A2-3725-4501-BEB2-7D0760FF8128}"/>
                  </a:ext>
                </a:extLst>
              </p:cNvPr>
              <p:cNvSpPr/>
              <p:nvPr/>
            </p:nvSpPr>
            <p:spPr>
              <a:xfrm>
                <a:off x="6431828" y="1376863"/>
                <a:ext cx="18000" cy="18000"/>
              </a:xfrm>
              <a:custGeom>
                <a:avLst/>
                <a:gdLst>
                  <a:gd name="connsiteX0" fmla="*/ 257 w 18000"/>
                  <a:gd name="connsiteY0" fmla="*/ 1526 h 18000"/>
                  <a:gd name="connsiteX1" fmla="*/ 10920 w 18000"/>
                  <a:gd name="connsiteY1" fmla="*/ 13286 h 18000"/>
                  <a:gd name="connsiteX2" fmla="*/ 2931 w 18000"/>
                  <a:gd name="connsiteY2" fmla="*/ 16440 h 18000"/>
                  <a:gd name="connsiteX3" fmla="*/ 1148 w 18000"/>
                  <a:gd name="connsiteY3" fmla="*/ 17400 h 18000"/>
                  <a:gd name="connsiteX4" fmla="*/ 2486 w 18000"/>
                  <a:gd name="connsiteY4" fmla="*/ 18189 h 18000"/>
                  <a:gd name="connsiteX5" fmla="*/ 18017 w 18000"/>
                  <a:gd name="connsiteY5" fmla="*/ 9206 h 18000"/>
                  <a:gd name="connsiteX6" fmla="*/ 2486 w 18000"/>
                  <a:gd name="connsiteY6" fmla="*/ 257 h 18000"/>
                  <a:gd name="connsiteX7" fmla="*/ 257 w 18000"/>
                  <a:gd name="connsiteY7" fmla="*/ 152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00" h="18000">
                    <a:moveTo>
                      <a:pt x="257" y="1526"/>
                    </a:moveTo>
                    <a:cubicBezTo>
                      <a:pt x="3240" y="5880"/>
                      <a:pt x="6806" y="9857"/>
                      <a:pt x="10920" y="13286"/>
                    </a:cubicBezTo>
                    <a:cubicBezTo>
                      <a:pt x="8246" y="14075"/>
                      <a:pt x="5571" y="15103"/>
                      <a:pt x="2931" y="16440"/>
                    </a:cubicBezTo>
                    <a:cubicBezTo>
                      <a:pt x="2348" y="16749"/>
                      <a:pt x="1731" y="17092"/>
                      <a:pt x="1148" y="17400"/>
                    </a:cubicBezTo>
                    <a:lnTo>
                      <a:pt x="2486" y="18189"/>
                    </a:lnTo>
                    <a:lnTo>
                      <a:pt x="18017" y="9206"/>
                    </a:lnTo>
                    <a:lnTo>
                      <a:pt x="2486" y="257"/>
                    </a:lnTo>
                    <a:lnTo>
                      <a:pt x="257" y="152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4" name="Freeform: Shape 733">
                <a:extLst>
                  <a:ext uri="{FF2B5EF4-FFF2-40B4-BE49-F238E27FC236}">
                    <a16:creationId xmlns:a16="http://schemas.microsoft.com/office/drawing/2014/main" id="{54AEDF3E-D868-4ABB-BE9D-DAEA76DE8003}"/>
                  </a:ext>
                </a:extLst>
              </p:cNvPr>
              <p:cNvSpPr/>
              <p:nvPr/>
            </p:nvSpPr>
            <p:spPr>
              <a:xfrm>
                <a:off x="6441120" y="1457366"/>
                <a:ext cx="30857" cy="18000"/>
              </a:xfrm>
              <a:custGeom>
                <a:avLst/>
                <a:gdLst>
                  <a:gd name="connsiteX0" fmla="*/ 6292 w 30857"/>
                  <a:gd name="connsiteY0" fmla="*/ 5743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54 w 30857"/>
                  <a:gd name="connsiteY4" fmla="*/ 9206 h 18000"/>
                  <a:gd name="connsiteX5" fmla="*/ 31354 w 30857"/>
                  <a:gd name="connsiteY5" fmla="*/ 9206 h 18000"/>
                  <a:gd name="connsiteX6" fmla="*/ 31354 w 30857"/>
                  <a:gd name="connsiteY6" fmla="*/ 9206 h 18000"/>
                  <a:gd name="connsiteX7" fmla="*/ 23571 w 30857"/>
                  <a:gd name="connsiteY7" fmla="*/ 4714 h 18000"/>
                  <a:gd name="connsiteX8" fmla="*/ 15789 w 30857"/>
                  <a:gd name="connsiteY8" fmla="*/ 257 h 18000"/>
                  <a:gd name="connsiteX9" fmla="*/ 15789 w 30857"/>
                  <a:gd name="connsiteY9" fmla="*/ 257 h 18000"/>
                  <a:gd name="connsiteX10" fmla="*/ 8040 w 30857"/>
                  <a:gd name="connsiteY10" fmla="*/ 4714 h 18000"/>
                  <a:gd name="connsiteX11" fmla="*/ 6292 w 30857"/>
                  <a:gd name="connsiteY11" fmla="*/ 574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857" h="18000">
                    <a:moveTo>
                      <a:pt x="6292" y="5743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54" y="9206"/>
                    </a:lnTo>
                    <a:lnTo>
                      <a:pt x="31354" y="9206"/>
                    </a:lnTo>
                    <a:lnTo>
                      <a:pt x="31354" y="9206"/>
                    </a:lnTo>
                    <a:lnTo>
                      <a:pt x="23571" y="4714"/>
                    </a:lnTo>
                    <a:lnTo>
                      <a:pt x="15789" y="257"/>
                    </a:lnTo>
                    <a:lnTo>
                      <a:pt x="15789" y="257"/>
                    </a:lnTo>
                    <a:lnTo>
                      <a:pt x="8040" y="4714"/>
                    </a:lnTo>
                    <a:lnTo>
                      <a:pt x="6292" y="574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5" name="Freeform: Shape 734">
                <a:extLst>
                  <a:ext uri="{FF2B5EF4-FFF2-40B4-BE49-F238E27FC236}">
                    <a16:creationId xmlns:a16="http://schemas.microsoft.com/office/drawing/2014/main" id="{E2D05C5B-37E4-4C52-86AF-D4E2DE0C6604}"/>
                  </a:ext>
                </a:extLst>
              </p:cNvPr>
              <p:cNvSpPr/>
              <p:nvPr/>
            </p:nvSpPr>
            <p:spPr>
              <a:xfrm>
                <a:off x="6418526" y="1430520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31320 w 30857"/>
                  <a:gd name="connsiteY1" fmla="*/ 9206 h 18000"/>
                  <a:gd name="connsiteX2" fmla="*/ 15789 w 30857"/>
                  <a:gd name="connsiteY2" fmla="*/ 257 h 18000"/>
                  <a:gd name="connsiteX3" fmla="*/ 257 w 30857"/>
                  <a:gd name="connsiteY3" fmla="*/ 9206 h 18000"/>
                  <a:gd name="connsiteX4" fmla="*/ 15789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6" name="Freeform: Shape 735">
                <a:extLst>
                  <a:ext uri="{FF2B5EF4-FFF2-40B4-BE49-F238E27FC236}">
                    <a16:creationId xmlns:a16="http://schemas.microsoft.com/office/drawing/2014/main" id="{40D7155E-494C-438A-BD65-3207D0FA0FEA}"/>
                  </a:ext>
                </a:extLst>
              </p:cNvPr>
              <p:cNvSpPr/>
              <p:nvPr/>
            </p:nvSpPr>
            <p:spPr>
              <a:xfrm>
                <a:off x="6418526" y="1484177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7" name="Freeform: Shape 736">
                <a:extLst>
                  <a:ext uri="{FF2B5EF4-FFF2-40B4-BE49-F238E27FC236}">
                    <a16:creationId xmlns:a16="http://schemas.microsoft.com/office/drawing/2014/main" id="{F556A232-C184-4AB9-A5BC-C2296376714B}"/>
                  </a:ext>
                </a:extLst>
              </p:cNvPr>
              <p:cNvSpPr/>
              <p:nvPr/>
            </p:nvSpPr>
            <p:spPr>
              <a:xfrm>
                <a:off x="6418526" y="1591526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8" name="Freeform: Shape 737">
                <a:extLst>
                  <a:ext uri="{FF2B5EF4-FFF2-40B4-BE49-F238E27FC236}">
                    <a16:creationId xmlns:a16="http://schemas.microsoft.com/office/drawing/2014/main" id="{80CEF24F-BEE3-4AC6-8A43-AE33CD6BCC42}"/>
                  </a:ext>
                </a:extLst>
              </p:cNvPr>
              <p:cNvSpPr/>
              <p:nvPr/>
            </p:nvSpPr>
            <p:spPr>
              <a:xfrm>
                <a:off x="6418526" y="164518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39" name="Freeform: Shape 738">
                <a:extLst>
                  <a:ext uri="{FF2B5EF4-FFF2-40B4-BE49-F238E27FC236}">
                    <a16:creationId xmlns:a16="http://schemas.microsoft.com/office/drawing/2014/main" id="{A0EC44B4-D277-41C9-944E-3A424C9C8D8C}"/>
                  </a:ext>
                </a:extLst>
              </p:cNvPr>
              <p:cNvSpPr/>
              <p:nvPr/>
            </p:nvSpPr>
            <p:spPr>
              <a:xfrm>
                <a:off x="6441120" y="1725686"/>
                <a:ext cx="30857" cy="15429"/>
              </a:xfrm>
              <a:custGeom>
                <a:avLst/>
                <a:gdLst>
                  <a:gd name="connsiteX0" fmla="*/ 15789 w 30857"/>
                  <a:gd name="connsiteY0" fmla="*/ 257 h 15428"/>
                  <a:gd name="connsiteX1" fmla="*/ 15789 w 30857"/>
                  <a:gd name="connsiteY1" fmla="*/ 257 h 15428"/>
                  <a:gd name="connsiteX2" fmla="*/ 257 w 30857"/>
                  <a:gd name="connsiteY2" fmla="*/ 9240 h 15428"/>
                  <a:gd name="connsiteX3" fmla="*/ 13594 w 30857"/>
                  <a:gd name="connsiteY3" fmla="*/ 16920 h 15428"/>
                  <a:gd name="connsiteX4" fmla="*/ 18429 w 30857"/>
                  <a:gd name="connsiteY4" fmla="*/ 16680 h 15428"/>
                  <a:gd name="connsiteX5" fmla="*/ 31354 w 30857"/>
                  <a:gd name="connsiteY5" fmla="*/ 9240 h 15428"/>
                  <a:gd name="connsiteX6" fmla="*/ 15789 w 30857"/>
                  <a:gd name="connsiteY6" fmla="*/ 257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5428">
                    <a:moveTo>
                      <a:pt x="15789" y="257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3594" y="16920"/>
                    </a:lnTo>
                    <a:cubicBezTo>
                      <a:pt x="15206" y="16852"/>
                      <a:pt x="16817" y="16748"/>
                      <a:pt x="18429" y="16680"/>
                    </a:cubicBezTo>
                    <a:lnTo>
                      <a:pt x="31354" y="9240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0" name="Freeform: Shape 739">
                <a:extLst>
                  <a:ext uri="{FF2B5EF4-FFF2-40B4-BE49-F238E27FC236}">
                    <a16:creationId xmlns:a16="http://schemas.microsoft.com/office/drawing/2014/main" id="{691A512C-2061-4BCA-9F9A-9623EBFB5D80}"/>
                  </a:ext>
                </a:extLst>
              </p:cNvPr>
              <p:cNvSpPr/>
              <p:nvPr/>
            </p:nvSpPr>
            <p:spPr>
              <a:xfrm>
                <a:off x="6418526" y="1698840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1" name="Freeform: Shape 740">
                <a:extLst>
                  <a:ext uri="{FF2B5EF4-FFF2-40B4-BE49-F238E27FC236}">
                    <a16:creationId xmlns:a16="http://schemas.microsoft.com/office/drawing/2014/main" id="{4E025B7A-6AE0-4302-8573-A612C801C5D2}"/>
                  </a:ext>
                </a:extLst>
              </p:cNvPr>
              <p:cNvSpPr/>
              <p:nvPr/>
            </p:nvSpPr>
            <p:spPr>
              <a:xfrm>
                <a:off x="6441120" y="1672029"/>
                <a:ext cx="30857" cy="18000"/>
              </a:xfrm>
              <a:custGeom>
                <a:avLst/>
                <a:gdLst>
                  <a:gd name="connsiteX0" fmla="*/ 31354 w 30857"/>
                  <a:gd name="connsiteY0" fmla="*/ 9206 h 18000"/>
                  <a:gd name="connsiteX1" fmla="*/ 15789 w 30857"/>
                  <a:gd name="connsiteY1" fmla="*/ 257 h 18000"/>
                  <a:gd name="connsiteX2" fmla="*/ 15789 w 30857"/>
                  <a:gd name="connsiteY2" fmla="*/ 257 h 18000"/>
                  <a:gd name="connsiteX3" fmla="*/ 257 w 30857"/>
                  <a:gd name="connsiteY3" fmla="*/ 9206 h 18000"/>
                  <a:gd name="connsiteX4" fmla="*/ 257 w 30857"/>
                  <a:gd name="connsiteY4" fmla="*/ 9206 h 18000"/>
                  <a:gd name="connsiteX5" fmla="*/ 15789 w 30857"/>
                  <a:gd name="connsiteY5" fmla="*/ 18189 h 18000"/>
                  <a:gd name="connsiteX6" fmla="*/ 31354 w 30857"/>
                  <a:gd name="connsiteY6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31354" y="9206"/>
                    </a:moveTo>
                    <a:lnTo>
                      <a:pt x="15789" y="257"/>
                    </a:lnTo>
                    <a:lnTo>
                      <a:pt x="15789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54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2" name="Freeform: Shape 741">
                <a:extLst>
                  <a:ext uri="{FF2B5EF4-FFF2-40B4-BE49-F238E27FC236}">
                    <a16:creationId xmlns:a16="http://schemas.microsoft.com/office/drawing/2014/main" id="{9CEA6EFA-7F66-48C1-B88A-6F8CF2C08A68}"/>
                  </a:ext>
                </a:extLst>
              </p:cNvPr>
              <p:cNvSpPr/>
              <p:nvPr/>
            </p:nvSpPr>
            <p:spPr>
              <a:xfrm>
                <a:off x="6422846" y="1356566"/>
                <a:ext cx="2571" cy="2571"/>
              </a:xfrm>
              <a:custGeom>
                <a:avLst/>
                <a:gdLst>
                  <a:gd name="connsiteX0" fmla="*/ 4406 w 2571"/>
                  <a:gd name="connsiteY0" fmla="*/ 2691 h 2571"/>
                  <a:gd name="connsiteX1" fmla="*/ 4406 w 2571"/>
                  <a:gd name="connsiteY1" fmla="*/ 2657 h 2571"/>
                  <a:gd name="connsiteX2" fmla="*/ 257 w 2571"/>
                  <a:gd name="connsiteY2" fmla="*/ 257 h 2571"/>
                  <a:gd name="connsiteX3" fmla="*/ 257 w 2571"/>
                  <a:gd name="connsiteY3" fmla="*/ 257 h 2571"/>
                  <a:gd name="connsiteX4" fmla="*/ 1114 w 2571"/>
                  <a:gd name="connsiteY4" fmla="*/ 4577 h 2571"/>
                  <a:gd name="connsiteX5" fmla="*/ 4406 w 2571"/>
                  <a:gd name="connsiteY5" fmla="*/ 2691 h 2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571" h="2571">
                    <a:moveTo>
                      <a:pt x="4406" y="2691"/>
                    </a:moveTo>
                    <a:lnTo>
                      <a:pt x="4406" y="2657"/>
                    </a:lnTo>
                    <a:lnTo>
                      <a:pt x="257" y="257"/>
                    </a:lnTo>
                    <a:lnTo>
                      <a:pt x="257" y="257"/>
                    </a:lnTo>
                    <a:cubicBezTo>
                      <a:pt x="497" y="1697"/>
                      <a:pt x="737" y="3137"/>
                      <a:pt x="1114" y="4577"/>
                    </a:cubicBezTo>
                    <a:lnTo>
                      <a:pt x="4406" y="2691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3" name="Freeform: Shape 742">
                <a:extLst>
                  <a:ext uri="{FF2B5EF4-FFF2-40B4-BE49-F238E27FC236}">
                    <a16:creationId xmlns:a16="http://schemas.microsoft.com/office/drawing/2014/main" id="{053CFB9A-9A25-49D1-AB2A-A63765954F8B}"/>
                  </a:ext>
                </a:extLst>
              </p:cNvPr>
              <p:cNvSpPr/>
              <p:nvPr/>
            </p:nvSpPr>
            <p:spPr>
              <a:xfrm>
                <a:off x="6350743" y="1457366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  <a:gd name="connsiteX5" fmla="*/ 31320 w 30857"/>
                  <a:gd name="connsiteY5" fmla="*/ 9206 h 18000"/>
                  <a:gd name="connsiteX6" fmla="*/ 23571 w 30857"/>
                  <a:gd name="connsiteY6" fmla="*/ 4714 h 18000"/>
                  <a:gd name="connsiteX7" fmla="*/ 15789 w 30857"/>
                  <a:gd name="connsiteY7" fmla="*/ 257 h 18000"/>
                  <a:gd name="connsiteX8" fmla="*/ 8040 w 30857"/>
                  <a:gd name="connsiteY8" fmla="*/ 4714 h 18000"/>
                  <a:gd name="connsiteX9" fmla="*/ 257 w 30857"/>
                  <a:gd name="connsiteY9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23571" y="4714"/>
                    </a:lnTo>
                    <a:lnTo>
                      <a:pt x="15789" y="257"/>
                    </a:lnTo>
                    <a:lnTo>
                      <a:pt x="8040" y="4714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4" name="Freeform: Shape 743">
                <a:extLst>
                  <a:ext uri="{FF2B5EF4-FFF2-40B4-BE49-F238E27FC236}">
                    <a16:creationId xmlns:a16="http://schemas.microsoft.com/office/drawing/2014/main" id="{104A9F32-BDF0-4436-BF73-0E7BBC90459A}"/>
                  </a:ext>
                </a:extLst>
              </p:cNvPr>
              <p:cNvSpPr/>
              <p:nvPr/>
            </p:nvSpPr>
            <p:spPr>
              <a:xfrm>
                <a:off x="6373337" y="1430520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5" name="Freeform: Shape 744">
                <a:extLst>
                  <a:ext uri="{FF2B5EF4-FFF2-40B4-BE49-F238E27FC236}">
                    <a16:creationId xmlns:a16="http://schemas.microsoft.com/office/drawing/2014/main" id="{0A415F35-D50A-4225-9001-ABB79F2B0A4E}"/>
                  </a:ext>
                </a:extLst>
              </p:cNvPr>
              <p:cNvSpPr/>
              <p:nvPr/>
            </p:nvSpPr>
            <p:spPr>
              <a:xfrm>
                <a:off x="6397166" y="1404566"/>
                <a:ext cx="28286" cy="15429"/>
              </a:xfrm>
              <a:custGeom>
                <a:avLst/>
                <a:gdLst>
                  <a:gd name="connsiteX0" fmla="*/ 30086 w 28285"/>
                  <a:gd name="connsiteY0" fmla="*/ 8348 h 15428"/>
                  <a:gd name="connsiteX1" fmla="*/ 30086 w 28285"/>
                  <a:gd name="connsiteY1" fmla="*/ 8348 h 15428"/>
                  <a:gd name="connsiteX2" fmla="*/ 30086 w 28285"/>
                  <a:gd name="connsiteY2" fmla="*/ 8348 h 15428"/>
                  <a:gd name="connsiteX3" fmla="*/ 22337 w 28285"/>
                  <a:gd name="connsiteY3" fmla="*/ 3857 h 15428"/>
                  <a:gd name="connsiteX4" fmla="*/ 16063 w 28285"/>
                  <a:gd name="connsiteY4" fmla="*/ 257 h 15428"/>
                  <a:gd name="connsiteX5" fmla="*/ 257 w 28285"/>
                  <a:gd name="connsiteY5" fmla="*/ 9068 h 15428"/>
                  <a:gd name="connsiteX6" fmla="*/ 14554 w 28285"/>
                  <a:gd name="connsiteY6" fmla="*/ 17297 h 15428"/>
                  <a:gd name="connsiteX7" fmla="*/ 30086 w 28285"/>
                  <a:gd name="connsiteY7" fmla="*/ 8348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285" h="15428">
                    <a:moveTo>
                      <a:pt x="30086" y="8348"/>
                    </a:moveTo>
                    <a:lnTo>
                      <a:pt x="30086" y="8348"/>
                    </a:lnTo>
                    <a:lnTo>
                      <a:pt x="30086" y="8348"/>
                    </a:lnTo>
                    <a:lnTo>
                      <a:pt x="22337" y="3857"/>
                    </a:lnTo>
                    <a:lnTo>
                      <a:pt x="16063" y="257"/>
                    </a:lnTo>
                    <a:cubicBezTo>
                      <a:pt x="10783" y="3137"/>
                      <a:pt x="5503" y="6086"/>
                      <a:pt x="257" y="9068"/>
                    </a:cubicBezTo>
                    <a:lnTo>
                      <a:pt x="14554" y="17297"/>
                    </a:lnTo>
                    <a:lnTo>
                      <a:pt x="30086" y="83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6" name="Freeform: Shape 745">
                <a:extLst>
                  <a:ext uri="{FF2B5EF4-FFF2-40B4-BE49-F238E27FC236}">
                    <a16:creationId xmlns:a16="http://schemas.microsoft.com/office/drawing/2014/main" id="{63C2C3E2-45EE-4AD4-97BE-1ADBAA6D4C77}"/>
                  </a:ext>
                </a:extLst>
              </p:cNvPr>
              <p:cNvSpPr/>
              <p:nvPr/>
            </p:nvSpPr>
            <p:spPr>
              <a:xfrm>
                <a:off x="6373337" y="1484177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7" name="Freeform: Shape 746">
                <a:extLst>
                  <a:ext uri="{FF2B5EF4-FFF2-40B4-BE49-F238E27FC236}">
                    <a16:creationId xmlns:a16="http://schemas.microsoft.com/office/drawing/2014/main" id="{B9AF95EF-1B4D-468B-83D5-A3868ED10BAD}"/>
                  </a:ext>
                </a:extLst>
              </p:cNvPr>
              <p:cNvSpPr/>
              <p:nvPr/>
            </p:nvSpPr>
            <p:spPr>
              <a:xfrm>
                <a:off x="6395931" y="1457366"/>
                <a:ext cx="30857" cy="18000"/>
              </a:xfrm>
              <a:custGeom>
                <a:avLst/>
                <a:gdLst>
                  <a:gd name="connsiteX0" fmla="*/ 8040 w 30857"/>
                  <a:gd name="connsiteY0" fmla="*/ 4714 h 18000"/>
                  <a:gd name="connsiteX1" fmla="*/ 6292 w 30857"/>
                  <a:gd name="connsiteY1" fmla="*/ 5743 h 18000"/>
                  <a:gd name="connsiteX2" fmla="*/ 257 w 30857"/>
                  <a:gd name="connsiteY2" fmla="*/ 9206 h 18000"/>
                  <a:gd name="connsiteX3" fmla="*/ 257 w 30857"/>
                  <a:gd name="connsiteY3" fmla="*/ 9206 h 18000"/>
                  <a:gd name="connsiteX4" fmla="*/ 15789 w 30857"/>
                  <a:gd name="connsiteY4" fmla="*/ 18189 h 18000"/>
                  <a:gd name="connsiteX5" fmla="*/ 31320 w 30857"/>
                  <a:gd name="connsiteY5" fmla="*/ 9206 h 18000"/>
                  <a:gd name="connsiteX6" fmla="*/ 31320 w 30857"/>
                  <a:gd name="connsiteY6" fmla="*/ 9206 h 18000"/>
                  <a:gd name="connsiteX7" fmla="*/ 31320 w 30857"/>
                  <a:gd name="connsiteY7" fmla="*/ 9206 h 18000"/>
                  <a:gd name="connsiteX8" fmla="*/ 23571 w 30857"/>
                  <a:gd name="connsiteY8" fmla="*/ 4714 h 18000"/>
                  <a:gd name="connsiteX9" fmla="*/ 15789 w 30857"/>
                  <a:gd name="connsiteY9" fmla="*/ 257 h 18000"/>
                  <a:gd name="connsiteX10" fmla="*/ 8040 w 30857"/>
                  <a:gd name="connsiteY10" fmla="*/ 4714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857" h="18000">
                    <a:moveTo>
                      <a:pt x="8040" y="4714"/>
                    </a:moveTo>
                    <a:lnTo>
                      <a:pt x="6292" y="5743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23571" y="4714"/>
                    </a:lnTo>
                    <a:lnTo>
                      <a:pt x="15789" y="257"/>
                    </a:lnTo>
                    <a:lnTo>
                      <a:pt x="8040" y="4714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8" name="Freeform: Shape 747">
                <a:extLst>
                  <a:ext uri="{FF2B5EF4-FFF2-40B4-BE49-F238E27FC236}">
                    <a16:creationId xmlns:a16="http://schemas.microsoft.com/office/drawing/2014/main" id="{B179A849-5D57-47AA-ABD5-1A6741AADE3D}"/>
                  </a:ext>
                </a:extLst>
              </p:cNvPr>
              <p:cNvSpPr/>
              <p:nvPr/>
            </p:nvSpPr>
            <p:spPr>
              <a:xfrm>
                <a:off x="6395931" y="1511023"/>
                <a:ext cx="23143" cy="12857"/>
              </a:xfrm>
              <a:custGeom>
                <a:avLst/>
                <a:gdLst>
                  <a:gd name="connsiteX0" fmla="*/ 8040 w 23142"/>
                  <a:gd name="connsiteY0" fmla="*/ 4748 h 12857"/>
                  <a:gd name="connsiteX1" fmla="*/ 6292 w 23142"/>
                  <a:gd name="connsiteY1" fmla="*/ 5743 h 12857"/>
                  <a:gd name="connsiteX2" fmla="*/ 257 w 23142"/>
                  <a:gd name="connsiteY2" fmla="*/ 9240 h 12857"/>
                  <a:gd name="connsiteX3" fmla="*/ 257 w 23142"/>
                  <a:gd name="connsiteY3" fmla="*/ 9240 h 12857"/>
                  <a:gd name="connsiteX4" fmla="*/ 8623 w 23142"/>
                  <a:gd name="connsiteY4" fmla="*/ 14040 h 12857"/>
                  <a:gd name="connsiteX5" fmla="*/ 24394 w 23142"/>
                  <a:gd name="connsiteY5" fmla="*/ 5194 h 12857"/>
                  <a:gd name="connsiteX6" fmla="*/ 23571 w 23142"/>
                  <a:gd name="connsiteY6" fmla="*/ 4748 h 12857"/>
                  <a:gd name="connsiteX7" fmla="*/ 15789 w 23142"/>
                  <a:gd name="connsiteY7" fmla="*/ 257 h 12857"/>
                  <a:gd name="connsiteX8" fmla="*/ 8040 w 23142"/>
                  <a:gd name="connsiteY8" fmla="*/ 4748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3142" h="12857">
                    <a:moveTo>
                      <a:pt x="8040" y="4748"/>
                    </a:moveTo>
                    <a:lnTo>
                      <a:pt x="6292" y="5743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8623" y="14040"/>
                    </a:lnTo>
                    <a:cubicBezTo>
                      <a:pt x="13869" y="11091"/>
                      <a:pt x="19149" y="8177"/>
                      <a:pt x="24394" y="5194"/>
                    </a:cubicBezTo>
                    <a:lnTo>
                      <a:pt x="23571" y="4748"/>
                    </a:lnTo>
                    <a:lnTo>
                      <a:pt x="15789" y="257"/>
                    </a:lnTo>
                    <a:lnTo>
                      <a:pt x="8040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49" name="Freeform: Shape 748">
                <a:extLst>
                  <a:ext uri="{FF2B5EF4-FFF2-40B4-BE49-F238E27FC236}">
                    <a16:creationId xmlns:a16="http://schemas.microsoft.com/office/drawing/2014/main" id="{B6AA6430-32D0-462B-8E1E-0555767C4075}"/>
                  </a:ext>
                </a:extLst>
              </p:cNvPr>
              <p:cNvSpPr/>
              <p:nvPr/>
            </p:nvSpPr>
            <p:spPr>
              <a:xfrm>
                <a:off x="6373337" y="1594029"/>
                <a:ext cx="30857" cy="15429"/>
              </a:xfrm>
              <a:custGeom>
                <a:avLst/>
                <a:gdLst>
                  <a:gd name="connsiteX0" fmla="*/ 11434 w 30857"/>
                  <a:gd name="connsiteY0" fmla="*/ 257 h 15428"/>
                  <a:gd name="connsiteX1" fmla="*/ 257 w 30857"/>
                  <a:gd name="connsiteY1" fmla="*/ 6703 h 15428"/>
                  <a:gd name="connsiteX2" fmla="*/ 15789 w 30857"/>
                  <a:gd name="connsiteY2" fmla="*/ 15686 h 15428"/>
                  <a:gd name="connsiteX3" fmla="*/ 31320 w 30857"/>
                  <a:gd name="connsiteY3" fmla="*/ 6703 h 15428"/>
                  <a:gd name="connsiteX4" fmla="*/ 20691 w 30857"/>
                  <a:gd name="connsiteY4" fmla="*/ 566 h 15428"/>
                  <a:gd name="connsiteX5" fmla="*/ 11434 w 30857"/>
                  <a:gd name="connsiteY5" fmla="*/ 257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5428">
                    <a:moveTo>
                      <a:pt x="11434" y="257"/>
                    </a:moveTo>
                    <a:lnTo>
                      <a:pt x="257" y="6703"/>
                    </a:lnTo>
                    <a:lnTo>
                      <a:pt x="15789" y="15686"/>
                    </a:lnTo>
                    <a:lnTo>
                      <a:pt x="31320" y="6703"/>
                    </a:lnTo>
                    <a:lnTo>
                      <a:pt x="20691" y="566"/>
                    </a:lnTo>
                    <a:cubicBezTo>
                      <a:pt x="17400" y="840"/>
                      <a:pt x="14314" y="737"/>
                      <a:pt x="11434" y="257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50" name="Freeform: Shape 749">
                <a:extLst>
                  <a:ext uri="{FF2B5EF4-FFF2-40B4-BE49-F238E27FC236}">
                    <a16:creationId xmlns:a16="http://schemas.microsoft.com/office/drawing/2014/main" id="{DE608CAA-4530-4F0D-B4D1-29A65EFA9046}"/>
                  </a:ext>
                </a:extLst>
              </p:cNvPr>
              <p:cNvSpPr/>
              <p:nvPr/>
            </p:nvSpPr>
            <p:spPr>
              <a:xfrm>
                <a:off x="6395931" y="1672029"/>
                <a:ext cx="30857" cy="18000"/>
              </a:xfrm>
              <a:custGeom>
                <a:avLst/>
                <a:gdLst>
                  <a:gd name="connsiteX0" fmla="*/ 10097 w 30857"/>
                  <a:gd name="connsiteY0" fmla="*/ 3548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  <a:gd name="connsiteX5" fmla="*/ 15789 w 30857"/>
                  <a:gd name="connsiteY5" fmla="*/ 257 h 18000"/>
                  <a:gd name="connsiteX6" fmla="*/ 10097 w 30857"/>
                  <a:gd name="connsiteY6" fmla="*/ 35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10097" y="3548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10097" y="35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51" name="Freeform: Shape 750">
                <a:extLst>
                  <a:ext uri="{FF2B5EF4-FFF2-40B4-BE49-F238E27FC236}">
                    <a16:creationId xmlns:a16="http://schemas.microsoft.com/office/drawing/2014/main" id="{C5DB1192-E8E7-44A9-973A-1F3D8FB628DE}"/>
                  </a:ext>
                </a:extLst>
              </p:cNvPr>
              <p:cNvSpPr/>
              <p:nvPr/>
            </p:nvSpPr>
            <p:spPr>
              <a:xfrm>
                <a:off x="6350743" y="1672029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  <a:gd name="connsiteX5" fmla="*/ 15789 w 30857"/>
                  <a:gd name="connsiteY5" fmla="*/ 257 h 18000"/>
                  <a:gd name="connsiteX6" fmla="*/ 257 w 30857"/>
                  <a:gd name="connsiteY6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52" name="Freeform: Shape 751">
                <a:extLst>
                  <a:ext uri="{FF2B5EF4-FFF2-40B4-BE49-F238E27FC236}">
                    <a16:creationId xmlns:a16="http://schemas.microsoft.com/office/drawing/2014/main" id="{F26C2533-484A-4EAE-9E69-AEBB72F1739E}"/>
                  </a:ext>
                </a:extLst>
              </p:cNvPr>
              <p:cNvSpPr/>
              <p:nvPr/>
            </p:nvSpPr>
            <p:spPr>
              <a:xfrm>
                <a:off x="6373337" y="1645183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53" name="Freeform: Shape 752">
                <a:extLst>
                  <a:ext uri="{FF2B5EF4-FFF2-40B4-BE49-F238E27FC236}">
                    <a16:creationId xmlns:a16="http://schemas.microsoft.com/office/drawing/2014/main" id="{F9162A4E-DC6C-4AD9-A332-B40C09DBCC58}"/>
                  </a:ext>
                </a:extLst>
              </p:cNvPr>
              <p:cNvSpPr/>
              <p:nvPr/>
            </p:nvSpPr>
            <p:spPr>
              <a:xfrm>
                <a:off x="6395931" y="1618337"/>
                <a:ext cx="30857" cy="18000"/>
              </a:xfrm>
              <a:custGeom>
                <a:avLst/>
                <a:gdLst>
                  <a:gd name="connsiteX0" fmla="*/ 8040 w 30857"/>
                  <a:gd name="connsiteY0" fmla="*/ 4748 h 18000"/>
                  <a:gd name="connsiteX1" fmla="*/ 6292 w 30857"/>
                  <a:gd name="connsiteY1" fmla="*/ 5777 h 18000"/>
                  <a:gd name="connsiteX2" fmla="*/ 257 w 30857"/>
                  <a:gd name="connsiteY2" fmla="*/ 9240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  <a:gd name="connsiteX5" fmla="*/ 31320 w 30857"/>
                  <a:gd name="connsiteY5" fmla="*/ 9240 h 18000"/>
                  <a:gd name="connsiteX6" fmla="*/ 15789 w 30857"/>
                  <a:gd name="connsiteY6" fmla="*/ 257 h 18000"/>
                  <a:gd name="connsiteX7" fmla="*/ 8040 w 30857"/>
                  <a:gd name="connsiteY7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8040" y="4748"/>
                    </a:moveTo>
                    <a:lnTo>
                      <a:pt x="6292" y="5777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8040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54" name="Freeform: Shape 753">
                <a:extLst>
                  <a:ext uri="{FF2B5EF4-FFF2-40B4-BE49-F238E27FC236}">
                    <a16:creationId xmlns:a16="http://schemas.microsoft.com/office/drawing/2014/main" id="{A8734A1D-672F-4085-B694-F06C4635DF11}"/>
                  </a:ext>
                </a:extLst>
              </p:cNvPr>
              <p:cNvSpPr/>
              <p:nvPr/>
            </p:nvSpPr>
            <p:spPr>
              <a:xfrm>
                <a:off x="6395931" y="1725686"/>
                <a:ext cx="30857" cy="15429"/>
              </a:xfrm>
              <a:custGeom>
                <a:avLst/>
                <a:gdLst>
                  <a:gd name="connsiteX0" fmla="*/ 17606 w 30857"/>
                  <a:gd name="connsiteY0" fmla="*/ 17160 h 15428"/>
                  <a:gd name="connsiteX1" fmla="*/ 31320 w 30857"/>
                  <a:gd name="connsiteY1" fmla="*/ 9240 h 15428"/>
                  <a:gd name="connsiteX2" fmla="*/ 15789 w 30857"/>
                  <a:gd name="connsiteY2" fmla="*/ 257 h 15428"/>
                  <a:gd name="connsiteX3" fmla="*/ 257 w 30857"/>
                  <a:gd name="connsiteY3" fmla="*/ 9240 h 15428"/>
                  <a:gd name="connsiteX4" fmla="*/ 13800 w 30857"/>
                  <a:gd name="connsiteY4" fmla="*/ 17057 h 15428"/>
                  <a:gd name="connsiteX5" fmla="*/ 17606 w 30857"/>
                  <a:gd name="connsiteY5" fmla="*/ 17160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5428">
                    <a:moveTo>
                      <a:pt x="17606" y="17160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3800" y="17057"/>
                    </a:lnTo>
                    <a:cubicBezTo>
                      <a:pt x="15069" y="17091"/>
                      <a:pt x="16337" y="17126"/>
                      <a:pt x="17606" y="17160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55" name="Freeform: Shape 754">
                <a:extLst>
                  <a:ext uri="{FF2B5EF4-FFF2-40B4-BE49-F238E27FC236}">
                    <a16:creationId xmlns:a16="http://schemas.microsoft.com/office/drawing/2014/main" id="{D091706A-BC80-4723-B5A5-2D62CA268F25}"/>
                  </a:ext>
                </a:extLst>
              </p:cNvPr>
              <p:cNvSpPr/>
              <p:nvPr/>
            </p:nvSpPr>
            <p:spPr>
              <a:xfrm>
                <a:off x="6373337" y="1698840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56" name="Freeform: Shape 755">
                <a:extLst>
                  <a:ext uri="{FF2B5EF4-FFF2-40B4-BE49-F238E27FC236}">
                    <a16:creationId xmlns:a16="http://schemas.microsoft.com/office/drawing/2014/main" id="{F28BE3FB-80A5-4C6E-8DAE-1786DD88829C}"/>
                  </a:ext>
                </a:extLst>
              </p:cNvPr>
              <p:cNvSpPr/>
              <p:nvPr/>
            </p:nvSpPr>
            <p:spPr>
              <a:xfrm>
                <a:off x="6338914" y="1437069"/>
                <a:ext cx="20571" cy="10286"/>
              </a:xfrm>
              <a:custGeom>
                <a:avLst/>
                <a:gdLst>
                  <a:gd name="connsiteX0" fmla="*/ 20554 w 20571"/>
                  <a:gd name="connsiteY0" fmla="*/ 2657 h 10285"/>
                  <a:gd name="connsiteX1" fmla="*/ 16371 w 20571"/>
                  <a:gd name="connsiteY1" fmla="*/ 257 h 10285"/>
                  <a:gd name="connsiteX2" fmla="*/ 257 w 20571"/>
                  <a:gd name="connsiteY2" fmla="*/ 8897 h 10285"/>
                  <a:gd name="connsiteX3" fmla="*/ 5023 w 20571"/>
                  <a:gd name="connsiteY3" fmla="*/ 11640 h 10285"/>
                  <a:gd name="connsiteX4" fmla="*/ 20554 w 20571"/>
                  <a:gd name="connsiteY4" fmla="*/ 2657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571" h="10285">
                    <a:moveTo>
                      <a:pt x="20554" y="2657"/>
                    </a:moveTo>
                    <a:lnTo>
                      <a:pt x="16371" y="257"/>
                    </a:lnTo>
                    <a:cubicBezTo>
                      <a:pt x="11023" y="3171"/>
                      <a:pt x="5640" y="6051"/>
                      <a:pt x="257" y="8897"/>
                    </a:cubicBezTo>
                    <a:lnTo>
                      <a:pt x="5023" y="11640"/>
                    </a:lnTo>
                    <a:lnTo>
                      <a:pt x="20554" y="26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57" name="Freeform: Shape 756">
                <a:extLst>
                  <a:ext uri="{FF2B5EF4-FFF2-40B4-BE49-F238E27FC236}">
                    <a16:creationId xmlns:a16="http://schemas.microsoft.com/office/drawing/2014/main" id="{58FA2C55-BA76-413F-982E-50A876B7EC2D}"/>
                  </a:ext>
                </a:extLst>
              </p:cNvPr>
              <p:cNvSpPr/>
              <p:nvPr/>
            </p:nvSpPr>
            <p:spPr>
              <a:xfrm>
                <a:off x="6328148" y="1484177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58" name="Freeform: Shape 757">
                <a:extLst>
                  <a:ext uri="{FF2B5EF4-FFF2-40B4-BE49-F238E27FC236}">
                    <a16:creationId xmlns:a16="http://schemas.microsoft.com/office/drawing/2014/main" id="{F37AF58D-8610-474B-88A3-4B129216E6A8}"/>
                  </a:ext>
                </a:extLst>
              </p:cNvPr>
              <p:cNvSpPr/>
              <p:nvPr/>
            </p:nvSpPr>
            <p:spPr>
              <a:xfrm>
                <a:off x="6328148" y="1537834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223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59" name="Freeform: Shape 758">
                <a:extLst>
                  <a:ext uri="{FF2B5EF4-FFF2-40B4-BE49-F238E27FC236}">
                    <a16:creationId xmlns:a16="http://schemas.microsoft.com/office/drawing/2014/main" id="{B993DC9C-1A9A-42D2-9528-875844C692B1}"/>
                  </a:ext>
                </a:extLst>
              </p:cNvPr>
              <p:cNvSpPr/>
              <p:nvPr/>
            </p:nvSpPr>
            <p:spPr>
              <a:xfrm>
                <a:off x="6350743" y="1511023"/>
                <a:ext cx="30857" cy="18000"/>
              </a:xfrm>
              <a:custGeom>
                <a:avLst/>
                <a:gdLst>
                  <a:gd name="connsiteX0" fmla="*/ 8040 w 30857"/>
                  <a:gd name="connsiteY0" fmla="*/ 4748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257 w 30857"/>
                  <a:gd name="connsiteY3" fmla="*/ 9240 h 18000"/>
                  <a:gd name="connsiteX4" fmla="*/ 15789 w 30857"/>
                  <a:gd name="connsiteY4" fmla="*/ 18189 h 18000"/>
                  <a:gd name="connsiteX5" fmla="*/ 31320 w 30857"/>
                  <a:gd name="connsiteY5" fmla="*/ 9240 h 18000"/>
                  <a:gd name="connsiteX6" fmla="*/ 31320 w 30857"/>
                  <a:gd name="connsiteY6" fmla="*/ 9240 h 18000"/>
                  <a:gd name="connsiteX7" fmla="*/ 23571 w 30857"/>
                  <a:gd name="connsiteY7" fmla="*/ 4748 h 18000"/>
                  <a:gd name="connsiteX8" fmla="*/ 15789 w 30857"/>
                  <a:gd name="connsiteY8" fmla="*/ 257 h 18000"/>
                  <a:gd name="connsiteX9" fmla="*/ 8040 w 30857"/>
                  <a:gd name="connsiteY9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8040" y="4748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71" y="4748"/>
                    </a:lnTo>
                    <a:lnTo>
                      <a:pt x="15789" y="257"/>
                    </a:lnTo>
                    <a:lnTo>
                      <a:pt x="8040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0" name="Freeform: Shape 759">
                <a:extLst>
                  <a:ext uri="{FF2B5EF4-FFF2-40B4-BE49-F238E27FC236}">
                    <a16:creationId xmlns:a16="http://schemas.microsoft.com/office/drawing/2014/main" id="{DE54252C-51B6-4607-8F40-FD8B15019608}"/>
                  </a:ext>
                </a:extLst>
              </p:cNvPr>
              <p:cNvSpPr/>
              <p:nvPr/>
            </p:nvSpPr>
            <p:spPr>
              <a:xfrm>
                <a:off x="6335417" y="1594166"/>
                <a:ext cx="23143" cy="15429"/>
              </a:xfrm>
              <a:custGeom>
                <a:avLst/>
                <a:gdLst>
                  <a:gd name="connsiteX0" fmla="*/ 13114 w 23142"/>
                  <a:gd name="connsiteY0" fmla="*/ 257 h 15428"/>
                  <a:gd name="connsiteX1" fmla="*/ 257 w 23142"/>
                  <a:gd name="connsiteY1" fmla="*/ 10783 h 15428"/>
                  <a:gd name="connsiteX2" fmla="*/ 8520 w 23142"/>
                  <a:gd name="connsiteY2" fmla="*/ 15548 h 15428"/>
                  <a:gd name="connsiteX3" fmla="*/ 24052 w 23142"/>
                  <a:gd name="connsiteY3" fmla="*/ 6566 h 15428"/>
                  <a:gd name="connsiteX4" fmla="*/ 13114 w 23142"/>
                  <a:gd name="connsiteY4" fmla="*/ 257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142" h="15428">
                    <a:moveTo>
                      <a:pt x="13114" y="257"/>
                    </a:moveTo>
                    <a:cubicBezTo>
                      <a:pt x="8143" y="2794"/>
                      <a:pt x="3823" y="6394"/>
                      <a:pt x="257" y="10783"/>
                    </a:cubicBezTo>
                    <a:lnTo>
                      <a:pt x="8520" y="15548"/>
                    </a:lnTo>
                    <a:lnTo>
                      <a:pt x="24052" y="6566"/>
                    </a:lnTo>
                    <a:lnTo>
                      <a:pt x="13114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1" name="Freeform: Shape 760">
                <a:extLst>
                  <a:ext uri="{FF2B5EF4-FFF2-40B4-BE49-F238E27FC236}">
                    <a16:creationId xmlns:a16="http://schemas.microsoft.com/office/drawing/2014/main" id="{99DE0034-A9FA-4449-A2D6-6A24D30C10E1}"/>
                  </a:ext>
                </a:extLst>
              </p:cNvPr>
              <p:cNvSpPr/>
              <p:nvPr/>
            </p:nvSpPr>
            <p:spPr>
              <a:xfrm>
                <a:off x="6328148" y="1645183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31320 w 30857"/>
                  <a:gd name="connsiteY1" fmla="*/ 9240 h 18000"/>
                  <a:gd name="connsiteX2" fmla="*/ 15789 w 30857"/>
                  <a:gd name="connsiteY2" fmla="*/ 257 h 18000"/>
                  <a:gd name="connsiteX3" fmla="*/ 257 w 30857"/>
                  <a:gd name="connsiteY3" fmla="*/ 9240 h 18000"/>
                  <a:gd name="connsiteX4" fmla="*/ 15789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2" name="Freeform: Shape 761">
                <a:extLst>
                  <a:ext uri="{FF2B5EF4-FFF2-40B4-BE49-F238E27FC236}">
                    <a16:creationId xmlns:a16="http://schemas.microsoft.com/office/drawing/2014/main" id="{8188DEFD-1723-426D-B51F-BFDEB7C3E97B}"/>
                  </a:ext>
                </a:extLst>
              </p:cNvPr>
              <p:cNvSpPr/>
              <p:nvPr/>
            </p:nvSpPr>
            <p:spPr>
              <a:xfrm>
                <a:off x="6350743" y="1618337"/>
                <a:ext cx="30857" cy="18000"/>
              </a:xfrm>
              <a:custGeom>
                <a:avLst/>
                <a:gdLst>
                  <a:gd name="connsiteX0" fmla="*/ 8040 w 30857"/>
                  <a:gd name="connsiteY0" fmla="*/ 4748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  <a:gd name="connsiteX5" fmla="*/ 31320 w 30857"/>
                  <a:gd name="connsiteY5" fmla="*/ 9240 h 18000"/>
                  <a:gd name="connsiteX6" fmla="*/ 15789 w 30857"/>
                  <a:gd name="connsiteY6" fmla="*/ 257 h 18000"/>
                  <a:gd name="connsiteX7" fmla="*/ 8040 w 30857"/>
                  <a:gd name="connsiteY7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8040" y="4748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8040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3" name="Freeform: Shape 762">
                <a:extLst>
                  <a:ext uri="{FF2B5EF4-FFF2-40B4-BE49-F238E27FC236}">
                    <a16:creationId xmlns:a16="http://schemas.microsoft.com/office/drawing/2014/main" id="{E735AEB7-7039-456D-8463-3E64AD4D00D8}"/>
                  </a:ext>
                </a:extLst>
              </p:cNvPr>
              <p:cNvSpPr/>
              <p:nvPr/>
            </p:nvSpPr>
            <p:spPr>
              <a:xfrm>
                <a:off x="6350743" y="1725686"/>
                <a:ext cx="30857" cy="12857"/>
              </a:xfrm>
              <a:custGeom>
                <a:avLst/>
                <a:gdLst>
                  <a:gd name="connsiteX0" fmla="*/ 13046 w 30857"/>
                  <a:gd name="connsiteY0" fmla="*/ 13183 h 12857"/>
                  <a:gd name="connsiteX1" fmla="*/ 22543 w 30857"/>
                  <a:gd name="connsiteY1" fmla="*/ 14314 h 12857"/>
                  <a:gd name="connsiteX2" fmla="*/ 31320 w 30857"/>
                  <a:gd name="connsiteY2" fmla="*/ 9240 h 12857"/>
                  <a:gd name="connsiteX3" fmla="*/ 15789 w 30857"/>
                  <a:gd name="connsiteY3" fmla="*/ 257 h 12857"/>
                  <a:gd name="connsiteX4" fmla="*/ 257 w 30857"/>
                  <a:gd name="connsiteY4" fmla="*/ 9240 h 12857"/>
                  <a:gd name="connsiteX5" fmla="*/ 5263 w 30857"/>
                  <a:gd name="connsiteY5" fmla="*/ 12120 h 12857"/>
                  <a:gd name="connsiteX6" fmla="*/ 13046 w 30857"/>
                  <a:gd name="connsiteY6" fmla="*/ 13183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2857">
                    <a:moveTo>
                      <a:pt x="13046" y="13183"/>
                    </a:moveTo>
                    <a:cubicBezTo>
                      <a:pt x="16200" y="13629"/>
                      <a:pt x="19354" y="13937"/>
                      <a:pt x="22543" y="14314"/>
                    </a:cubicBez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5263" y="12120"/>
                    </a:lnTo>
                    <a:cubicBezTo>
                      <a:pt x="7869" y="12497"/>
                      <a:pt x="10440" y="12840"/>
                      <a:pt x="13046" y="13183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4" name="Freeform: Shape 763">
                <a:extLst>
                  <a:ext uri="{FF2B5EF4-FFF2-40B4-BE49-F238E27FC236}">
                    <a16:creationId xmlns:a16="http://schemas.microsoft.com/office/drawing/2014/main" id="{106A2D3C-9516-4DE9-82AC-E539BD034993}"/>
                  </a:ext>
                </a:extLst>
              </p:cNvPr>
              <p:cNvSpPr/>
              <p:nvPr/>
            </p:nvSpPr>
            <p:spPr>
              <a:xfrm>
                <a:off x="6328148" y="1698840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5" name="Freeform: Shape 764">
                <a:extLst>
                  <a:ext uri="{FF2B5EF4-FFF2-40B4-BE49-F238E27FC236}">
                    <a16:creationId xmlns:a16="http://schemas.microsoft.com/office/drawing/2014/main" id="{5362C126-F622-4E43-8494-8E619F837EE2}"/>
                  </a:ext>
                </a:extLst>
              </p:cNvPr>
              <p:cNvSpPr/>
              <p:nvPr/>
            </p:nvSpPr>
            <p:spPr>
              <a:xfrm>
                <a:off x="6282960" y="1484177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6" name="Freeform: Shape 765">
                <a:extLst>
                  <a:ext uri="{FF2B5EF4-FFF2-40B4-BE49-F238E27FC236}">
                    <a16:creationId xmlns:a16="http://schemas.microsoft.com/office/drawing/2014/main" id="{51BE5C21-3A09-45A9-B45A-D25B7B9F04D8}"/>
                  </a:ext>
                </a:extLst>
              </p:cNvPr>
              <p:cNvSpPr/>
              <p:nvPr/>
            </p:nvSpPr>
            <p:spPr>
              <a:xfrm>
                <a:off x="6305554" y="1457366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31320 w 30857"/>
                  <a:gd name="connsiteY3" fmla="*/ 9206 h 18000"/>
                  <a:gd name="connsiteX4" fmla="*/ 23571 w 30857"/>
                  <a:gd name="connsiteY4" fmla="*/ 4714 h 18000"/>
                  <a:gd name="connsiteX5" fmla="*/ 15789 w 30857"/>
                  <a:gd name="connsiteY5" fmla="*/ 257 h 18000"/>
                  <a:gd name="connsiteX6" fmla="*/ 8006 w 30857"/>
                  <a:gd name="connsiteY6" fmla="*/ 4714 h 18000"/>
                  <a:gd name="connsiteX7" fmla="*/ 257 w 30857"/>
                  <a:gd name="connsiteY7" fmla="*/ 9206 h 18000"/>
                  <a:gd name="connsiteX8" fmla="*/ 257 w 30857"/>
                  <a:gd name="connsiteY8" fmla="*/ 9206 h 18000"/>
                  <a:gd name="connsiteX9" fmla="*/ 257 w 30857"/>
                  <a:gd name="connsiteY9" fmla="*/ 9206 h 18000"/>
                  <a:gd name="connsiteX10" fmla="*/ 15789 w 30857"/>
                  <a:gd name="connsiteY10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31320" y="9206"/>
                    </a:lnTo>
                    <a:lnTo>
                      <a:pt x="23571" y="4714"/>
                    </a:lnTo>
                    <a:lnTo>
                      <a:pt x="15789" y="257"/>
                    </a:lnTo>
                    <a:lnTo>
                      <a:pt x="8006" y="4714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7" name="Freeform: Shape 766">
                <a:extLst>
                  <a:ext uri="{FF2B5EF4-FFF2-40B4-BE49-F238E27FC236}">
                    <a16:creationId xmlns:a16="http://schemas.microsoft.com/office/drawing/2014/main" id="{067B39C8-9A76-4E50-8DF0-6F3C694450EC}"/>
                  </a:ext>
                </a:extLst>
              </p:cNvPr>
              <p:cNvSpPr/>
              <p:nvPr/>
            </p:nvSpPr>
            <p:spPr>
              <a:xfrm>
                <a:off x="6282960" y="1537834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223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8" name="Freeform: Shape 767">
                <a:extLst>
                  <a:ext uri="{FF2B5EF4-FFF2-40B4-BE49-F238E27FC236}">
                    <a16:creationId xmlns:a16="http://schemas.microsoft.com/office/drawing/2014/main" id="{18561EC6-9E7F-4297-A5EA-B9FBABA5C704}"/>
                  </a:ext>
                </a:extLst>
              </p:cNvPr>
              <p:cNvSpPr/>
              <p:nvPr/>
            </p:nvSpPr>
            <p:spPr>
              <a:xfrm>
                <a:off x="6305554" y="1511023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31320 w 30857"/>
                  <a:gd name="connsiteY3" fmla="*/ 9240 h 18000"/>
                  <a:gd name="connsiteX4" fmla="*/ 23571 w 30857"/>
                  <a:gd name="connsiteY4" fmla="*/ 4748 h 18000"/>
                  <a:gd name="connsiteX5" fmla="*/ 15789 w 30857"/>
                  <a:gd name="connsiteY5" fmla="*/ 257 h 18000"/>
                  <a:gd name="connsiteX6" fmla="*/ 8006 w 30857"/>
                  <a:gd name="connsiteY6" fmla="*/ 4748 h 18000"/>
                  <a:gd name="connsiteX7" fmla="*/ 257 w 30857"/>
                  <a:gd name="connsiteY7" fmla="*/ 9240 h 18000"/>
                  <a:gd name="connsiteX8" fmla="*/ 257 w 30857"/>
                  <a:gd name="connsiteY8" fmla="*/ 9240 h 18000"/>
                  <a:gd name="connsiteX9" fmla="*/ 257 w 30857"/>
                  <a:gd name="connsiteY9" fmla="*/ 9240 h 18000"/>
                  <a:gd name="connsiteX10" fmla="*/ 15789 w 30857"/>
                  <a:gd name="connsiteY10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71" y="4748"/>
                    </a:ln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69" name="Freeform: Shape 768">
                <a:extLst>
                  <a:ext uri="{FF2B5EF4-FFF2-40B4-BE49-F238E27FC236}">
                    <a16:creationId xmlns:a16="http://schemas.microsoft.com/office/drawing/2014/main" id="{46C2050B-5580-41C1-AB24-F1DCD1719377}"/>
                  </a:ext>
                </a:extLst>
              </p:cNvPr>
              <p:cNvSpPr/>
              <p:nvPr/>
            </p:nvSpPr>
            <p:spPr>
              <a:xfrm>
                <a:off x="6305554" y="1564680"/>
                <a:ext cx="20571" cy="10286"/>
              </a:xfrm>
              <a:custGeom>
                <a:avLst/>
                <a:gdLst>
                  <a:gd name="connsiteX0" fmla="*/ 4680 w 20571"/>
                  <a:gd name="connsiteY0" fmla="*/ 11777 h 10285"/>
                  <a:gd name="connsiteX1" fmla="*/ 20966 w 20571"/>
                  <a:gd name="connsiteY1" fmla="*/ 3240 h 10285"/>
                  <a:gd name="connsiteX2" fmla="*/ 15789 w 20571"/>
                  <a:gd name="connsiteY2" fmla="*/ 257 h 10285"/>
                  <a:gd name="connsiteX3" fmla="*/ 8006 w 20571"/>
                  <a:gd name="connsiteY3" fmla="*/ 4748 h 10285"/>
                  <a:gd name="connsiteX4" fmla="*/ 257 w 20571"/>
                  <a:gd name="connsiteY4" fmla="*/ 9240 h 10285"/>
                  <a:gd name="connsiteX5" fmla="*/ 257 w 20571"/>
                  <a:gd name="connsiteY5" fmla="*/ 9240 h 10285"/>
                  <a:gd name="connsiteX6" fmla="*/ 257 w 20571"/>
                  <a:gd name="connsiteY6" fmla="*/ 9240 h 10285"/>
                  <a:gd name="connsiteX7" fmla="*/ 4680 w 20571"/>
                  <a:gd name="connsiteY7" fmla="*/ 11777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571" h="10285">
                    <a:moveTo>
                      <a:pt x="4680" y="11777"/>
                    </a:moveTo>
                    <a:cubicBezTo>
                      <a:pt x="10097" y="8931"/>
                      <a:pt x="15548" y="6120"/>
                      <a:pt x="20966" y="3240"/>
                    </a:cubicBez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4680" y="1177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0" name="Freeform: Shape 769">
                <a:extLst>
                  <a:ext uri="{FF2B5EF4-FFF2-40B4-BE49-F238E27FC236}">
                    <a16:creationId xmlns:a16="http://schemas.microsoft.com/office/drawing/2014/main" id="{8B474BC9-E525-4CDD-A70C-B14F8CA6AF7E}"/>
                  </a:ext>
                </a:extLst>
              </p:cNvPr>
              <p:cNvSpPr/>
              <p:nvPr/>
            </p:nvSpPr>
            <p:spPr>
              <a:xfrm>
                <a:off x="6323863" y="1621457"/>
                <a:ext cx="12857" cy="12857"/>
              </a:xfrm>
              <a:custGeom>
                <a:avLst/>
                <a:gdLst>
                  <a:gd name="connsiteX0" fmla="*/ 257 w 12857"/>
                  <a:gd name="connsiteY0" fmla="*/ 13491 h 12857"/>
                  <a:gd name="connsiteX1" fmla="*/ 13011 w 12857"/>
                  <a:gd name="connsiteY1" fmla="*/ 6120 h 12857"/>
                  <a:gd name="connsiteX2" fmla="*/ 2829 w 12857"/>
                  <a:gd name="connsiteY2" fmla="*/ 257 h 12857"/>
                  <a:gd name="connsiteX3" fmla="*/ 257 w 12857"/>
                  <a:gd name="connsiteY3" fmla="*/ 13491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7" h="12857">
                    <a:moveTo>
                      <a:pt x="257" y="13491"/>
                    </a:moveTo>
                    <a:lnTo>
                      <a:pt x="13011" y="6120"/>
                    </a:lnTo>
                    <a:lnTo>
                      <a:pt x="2829" y="257"/>
                    </a:lnTo>
                    <a:cubicBezTo>
                      <a:pt x="1457" y="4509"/>
                      <a:pt x="600" y="8966"/>
                      <a:pt x="257" y="13491"/>
                    </a:cubicBez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1" name="Freeform: Shape 770">
                <a:extLst>
                  <a:ext uri="{FF2B5EF4-FFF2-40B4-BE49-F238E27FC236}">
                    <a16:creationId xmlns:a16="http://schemas.microsoft.com/office/drawing/2014/main" id="{014338C9-A25D-4C12-AA4C-B589FD790867}"/>
                  </a:ext>
                </a:extLst>
              </p:cNvPr>
              <p:cNvSpPr/>
              <p:nvPr/>
            </p:nvSpPr>
            <p:spPr>
              <a:xfrm>
                <a:off x="6315771" y="1725686"/>
                <a:ext cx="18000" cy="7714"/>
              </a:xfrm>
              <a:custGeom>
                <a:avLst/>
                <a:gdLst>
                  <a:gd name="connsiteX0" fmla="*/ 257 w 18000"/>
                  <a:gd name="connsiteY0" fmla="*/ 3309 h 7714"/>
                  <a:gd name="connsiteX1" fmla="*/ 20280 w 18000"/>
                  <a:gd name="connsiteY1" fmla="*/ 8760 h 7714"/>
                  <a:gd name="connsiteX2" fmla="*/ 5571 w 18000"/>
                  <a:gd name="connsiteY2" fmla="*/ 257 h 7714"/>
                  <a:gd name="connsiteX3" fmla="*/ 257 w 18000"/>
                  <a:gd name="connsiteY3" fmla="*/ 3309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00" h="7714">
                    <a:moveTo>
                      <a:pt x="257" y="3309"/>
                    </a:moveTo>
                    <a:cubicBezTo>
                      <a:pt x="6703" y="5606"/>
                      <a:pt x="13423" y="7354"/>
                      <a:pt x="20280" y="8760"/>
                    </a:cubicBezTo>
                    <a:lnTo>
                      <a:pt x="5571" y="257"/>
                    </a:lnTo>
                    <a:lnTo>
                      <a:pt x="257" y="330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2" name="Freeform: Shape 771">
                <a:extLst>
                  <a:ext uri="{FF2B5EF4-FFF2-40B4-BE49-F238E27FC236}">
                    <a16:creationId xmlns:a16="http://schemas.microsoft.com/office/drawing/2014/main" id="{DD3C0E63-3615-456B-BD16-65E0DEA1F3BC}"/>
                  </a:ext>
                </a:extLst>
              </p:cNvPr>
              <p:cNvSpPr/>
              <p:nvPr/>
            </p:nvSpPr>
            <p:spPr>
              <a:xfrm>
                <a:off x="6283269" y="1698840"/>
                <a:ext cx="30857" cy="18000"/>
              </a:xfrm>
              <a:custGeom>
                <a:avLst/>
                <a:gdLst>
                  <a:gd name="connsiteX0" fmla="*/ 31011 w 30857"/>
                  <a:gd name="connsiteY0" fmla="*/ 9240 h 18000"/>
                  <a:gd name="connsiteX1" fmla="*/ 15480 w 30857"/>
                  <a:gd name="connsiteY1" fmla="*/ 257 h 18000"/>
                  <a:gd name="connsiteX2" fmla="*/ 257 w 30857"/>
                  <a:gd name="connsiteY2" fmla="*/ 9069 h 18000"/>
                  <a:gd name="connsiteX3" fmla="*/ 840 w 30857"/>
                  <a:gd name="connsiteY3" fmla="*/ 9754 h 18000"/>
                  <a:gd name="connsiteX4" fmla="*/ 15480 w 30857"/>
                  <a:gd name="connsiteY4" fmla="*/ 18223 h 18000"/>
                  <a:gd name="connsiteX5" fmla="*/ 31011 w 30857"/>
                  <a:gd name="connsiteY5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31011" y="9240"/>
                    </a:moveTo>
                    <a:lnTo>
                      <a:pt x="15480" y="257"/>
                    </a:lnTo>
                    <a:lnTo>
                      <a:pt x="257" y="9069"/>
                    </a:lnTo>
                    <a:cubicBezTo>
                      <a:pt x="429" y="9308"/>
                      <a:pt x="634" y="9514"/>
                      <a:pt x="840" y="9754"/>
                    </a:cubicBezTo>
                    <a:lnTo>
                      <a:pt x="15480" y="18223"/>
                    </a:lnTo>
                    <a:lnTo>
                      <a:pt x="31011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3" name="Freeform: Shape 772">
                <a:extLst>
                  <a:ext uri="{FF2B5EF4-FFF2-40B4-BE49-F238E27FC236}">
                    <a16:creationId xmlns:a16="http://schemas.microsoft.com/office/drawing/2014/main" id="{01DD1B6D-785D-42D1-BDFD-17ECB5CD8FD4}"/>
                  </a:ext>
                </a:extLst>
              </p:cNvPr>
              <p:cNvSpPr/>
              <p:nvPr/>
            </p:nvSpPr>
            <p:spPr>
              <a:xfrm>
                <a:off x="6305554" y="1672029"/>
                <a:ext cx="30857" cy="18000"/>
              </a:xfrm>
              <a:custGeom>
                <a:avLst/>
                <a:gdLst>
                  <a:gd name="connsiteX0" fmla="*/ 15789 w 30857"/>
                  <a:gd name="connsiteY0" fmla="*/ 18189 h 18000"/>
                  <a:gd name="connsiteX1" fmla="*/ 15789 w 30857"/>
                  <a:gd name="connsiteY1" fmla="*/ 18189 h 18000"/>
                  <a:gd name="connsiteX2" fmla="*/ 31320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  <a:gd name="connsiteX5" fmla="*/ 257 w 30857"/>
                  <a:gd name="connsiteY5" fmla="*/ 9206 h 18000"/>
                  <a:gd name="connsiteX6" fmla="*/ 257 w 30857"/>
                  <a:gd name="connsiteY6" fmla="*/ 9206 h 18000"/>
                  <a:gd name="connsiteX7" fmla="*/ 15789 w 30857"/>
                  <a:gd name="connsiteY7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789" y="18189"/>
                    </a:moveTo>
                    <a:lnTo>
                      <a:pt x="15789" y="18189"/>
                    </a:lnTo>
                    <a:lnTo>
                      <a:pt x="31320" y="9206"/>
                    </a:lnTo>
                    <a:lnTo>
                      <a:pt x="15789" y="257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257" y="9206"/>
                    </a:lnTo>
                    <a:lnTo>
                      <a:pt x="15789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4" name="Freeform: Shape 773">
                <a:extLst>
                  <a:ext uri="{FF2B5EF4-FFF2-40B4-BE49-F238E27FC236}">
                    <a16:creationId xmlns:a16="http://schemas.microsoft.com/office/drawing/2014/main" id="{CFFF70DF-9C2A-4725-9061-790B022CFCAE}"/>
                  </a:ext>
                </a:extLst>
              </p:cNvPr>
              <p:cNvSpPr/>
              <p:nvPr/>
            </p:nvSpPr>
            <p:spPr>
              <a:xfrm>
                <a:off x="6260366" y="1511023"/>
                <a:ext cx="30857" cy="18000"/>
              </a:xfrm>
              <a:custGeom>
                <a:avLst/>
                <a:gdLst>
                  <a:gd name="connsiteX0" fmla="*/ 23537 w 30857"/>
                  <a:gd name="connsiteY0" fmla="*/ 4748 h 18000"/>
                  <a:gd name="connsiteX1" fmla="*/ 15789 w 30857"/>
                  <a:gd name="connsiteY1" fmla="*/ 257 h 18000"/>
                  <a:gd name="connsiteX2" fmla="*/ 8006 w 30857"/>
                  <a:gd name="connsiteY2" fmla="*/ 4748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189 h 18000"/>
                  <a:gd name="connsiteX6" fmla="*/ 31320 w 30857"/>
                  <a:gd name="connsiteY6" fmla="*/ 9240 h 18000"/>
                  <a:gd name="connsiteX7" fmla="*/ 31320 w 30857"/>
                  <a:gd name="connsiteY7" fmla="*/ 9240 h 18000"/>
                  <a:gd name="connsiteX8" fmla="*/ 31320 w 30857"/>
                  <a:gd name="connsiteY8" fmla="*/ 9240 h 18000"/>
                  <a:gd name="connsiteX9" fmla="*/ 23537 w 30857"/>
                  <a:gd name="connsiteY9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23537" y="4748"/>
                    </a:move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37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5" name="Freeform: Shape 774">
                <a:extLst>
                  <a:ext uri="{FF2B5EF4-FFF2-40B4-BE49-F238E27FC236}">
                    <a16:creationId xmlns:a16="http://schemas.microsoft.com/office/drawing/2014/main" id="{2B4CEBB0-0631-421A-B02F-9C1E38BE575E}"/>
                  </a:ext>
                </a:extLst>
              </p:cNvPr>
              <p:cNvSpPr/>
              <p:nvPr/>
            </p:nvSpPr>
            <p:spPr>
              <a:xfrm>
                <a:off x="6237771" y="1484177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6" name="Freeform: Shape 775">
                <a:extLst>
                  <a:ext uri="{FF2B5EF4-FFF2-40B4-BE49-F238E27FC236}">
                    <a16:creationId xmlns:a16="http://schemas.microsoft.com/office/drawing/2014/main" id="{1ACD4CBE-9260-46BB-BD6C-D29A0BF9557E}"/>
                  </a:ext>
                </a:extLst>
              </p:cNvPr>
              <p:cNvSpPr/>
              <p:nvPr/>
            </p:nvSpPr>
            <p:spPr>
              <a:xfrm>
                <a:off x="6275348" y="1473412"/>
                <a:ext cx="2571" cy="2571"/>
              </a:xfrm>
              <a:custGeom>
                <a:avLst/>
                <a:gdLst>
                  <a:gd name="connsiteX0" fmla="*/ 4063 w 2571"/>
                  <a:gd name="connsiteY0" fmla="*/ 257 h 0"/>
                  <a:gd name="connsiteX1" fmla="*/ 257 w 2571"/>
                  <a:gd name="connsiteY1" fmla="*/ 1834 h 0"/>
                  <a:gd name="connsiteX2" fmla="*/ 806 w 2571"/>
                  <a:gd name="connsiteY2" fmla="*/ 2143 h 0"/>
                  <a:gd name="connsiteX3" fmla="*/ 4063 w 2571"/>
                  <a:gd name="connsiteY3" fmla="*/ 257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571">
                    <a:moveTo>
                      <a:pt x="4063" y="257"/>
                    </a:moveTo>
                    <a:cubicBezTo>
                      <a:pt x="2794" y="771"/>
                      <a:pt x="1526" y="1286"/>
                      <a:pt x="257" y="1834"/>
                    </a:cubicBezTo>
                    <a:lnTo>
                      <a:pt x="806" y="2143"/>
                    </a:lnTo>
                    <a:lnTo>
                      <a:pt x="4063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7" name="Freeform: Shape 776">
                <a:extLst>
                  <a:ext uri="{FF2B5EF4-FFF2-40B4-BE49-F238E27FC236}">
                    <a16:creationId xmlns:a16="http://schemas.microsoft.com/office/drawing/2014/main" id="{58343174-C9D5-40ED-B7A7-4596DFBF7729}"/>
                  </a:ext>
                </a:extLst>
              </p:cNvPr>
              <p:cNvSpPr/>
              <p:nvPr/>
            </p:nvSpPr>
            <p:spPr>
              <a:xfrm>
                <a:off x="6260366" y="1564680"/>
                <a:ext cx="30857" cy="18000"/>
              </a:xfrm>
              <a:custGeom>
                <a:avLst/>
                <a:gdLst>
                  <a:gd name="connsiteX0" fmla="*/ 23537 w 30857"/>
                  <a:gd name="connsiteY0" fmla="*/ 4748 h 18000"/>
                  <a:gd name="connsiteX1" fmla="*/ 15789 w 30857"/>
                  <a:gd name="connsiteY1" fmla="*/ 257 h 18000"/>
                  <a:gd name="connsiteX2" fmla="*/ 8006 w 30857"/>
                  <a:gd name="connsiteY2" fmla="*/ 4748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189 h 18000"/>
                  <a:gd name="connsiteX6" fmla="*/ 31320 w 30857"/>
                  <a:gd name="connsiteY6" fmla="*/ 9240 h 18000"/>
                  <a:gd name="connsiteX7" fmla="*/ 31320 w 30857"/>
                  <a:gd name="connsiteY7" fmla="*/ 9240 h 18000"/>
                  <a:gd name="connsiteX8" fmla="*/ 31320 w 30857"/>
                  <a:gd name="connsiteY8" fmla="*/ 9240 h 18000"/>
                  <a:gd name="connsiteX9" fmla="*/ 23537 w 30857"/>
                  <a:gd name="connsiteY9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23537" y="4748"/>
                    </a:move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37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8" name="Freeform: Shape 777">
                <a:extLst>
                  <a:ext uri="{FF2B5EF4-FFF2-40B4-BE49-F238E27FC236}">
                    <a16:creationId xmlns:a16="http://schemas.microsoft.com/office/drawing/2014/main" id="{D11D84CE-7C75-465F-9B9F-8AD892B6DB4C}"/>
                  </a:ext>
                </a:extLst>
              </p:cNvPr>
              <p:cNvSpPr/>
              <p:nvPr/>
            </p:nvSpPr>
            <p:spPr>
              <a:xfrm>
                <a:off x="6237771" y="1537834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223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223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79" name="Freeform: Shape 778">
                <a:extLst>
                  <a:ext uri="{FF2B5EF4-FFF2-40B4-BE49-F238E27FC236}">
                    <a16:creationId xmlns:a16="http://schemas.microsoft.com/office/drawing/2014/main" id="{40F60FB9-D8F6-4A7F-9263-9806DBEE2783}"/>
                  </a:ext>
                </a:extLst>
              </p:cNvPr>
              <p:cNvSpPr/>
              <p:nvPr/>
            </p:nvSpPr>
            <p:spPr>
              <a:xfrm>
                <a:off x="6237771" y="1591526"/>
                <a:ext cx="28286" cy="15429"/>
              </a:xfrm>
              <a:custGeom>
                <a:avLst/>
                <a:gdLst>
                  <a:gd name="connsiteX0" fmla="*/ 257 w 28285"/>
                  <a:gd name="connsiteY0" fmla="*/ 9206 h 15428"/>
                  <a:gd name="connsiteX1" fmla="*/ 11914 w 28285"/>
                  <a:gd name="connsiteY1" fmla="*/ 15960 h 15428"/>
                  <a:gd name="connsiteX2" fmla="*/ 28509 w 28285"/>
                  <a:gd name="connsiteY2" fmla="*/ 7594 h 15428"/>
                  <a:gd name="connsiteX3" fmla="*/ 15789 w 28285"/>
                  <a:gd name="connsiteY3" fmla="*/ 257 h 15428"/>
                  <a:gd name="connsiteX4" fmla="*/ 257 w 28285"/>
                  <a:gd name="connsiteY4" fmla="*/ 9206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285" h="15428">
                    <a:moveTo>
                      <a:pt x="257" y="9206"/>
                    </a:moveTo>
                    <a:lnTo>
                      <a:pt x="11914" y="15960"/>
                    </a:lnTo>
                    <a:cubicBezTo>
                      <a:pt x="17434" y="13183"/>
                      <a:pt x="22954" y="10371"/>
                      <a:pt x="28509" y="7594"/>
                    </a:cubicBez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80" name="Freeform: Shape 779">
                <a:extLst>
                  <a:ext uri="{FF2B5EF4-FFF2-40B4-BE49-F238E27FC236}">
                    <a16:creationId xmlns:a16="http://schemas.microsoft.com/office/drawing/2014/main" id="{B6021265-301B-4B3E-9CA2-69A4729179A8}"/>
                  </a:ext>
                </a:extLst>
              </p:cNvPr>
              <p:cNvSpPr/>
              <p:nvPr/>
            </p:nvSpPr>
            <p:spPr>
              <a:xfrm>
                <a:off x="6274011" y="1674395"/>
                <a:ext cx="15429" cy="15429"/>
              </a:xfrm>
              <a:custGeom>
                <a:avLst/>
                <a:gdLst>
                  <a:gd name="connsiteX0" fmla="*/ 2143 w 15428"/>
                  <a:gd name="connsiteY0" fmla="*/ 15823 h 15428"/>
                  <a:gd name="connsiteX1" fmla="*/ 17674 w 15428"/>
                  <a:gd name="connsiteY1" fmla="*/ 6840 h 15428"/>
                  <a:gd name="connsiteX2" fmla="*/ 6257 w 15428"/>
                  <a:gd name="connsiteY2" fmla="*/ 257 h 15428"/>
                  <a:gd name="connsiteX3" fmla="*/ 257 w 15428"/>
                  <a:gd name="connsiteY3" fmla="*/ 14725 h 15428"/>
                  <a:gd name="connsiteX4" fmla="*/ 2143 w 15428"/>
                  <a:gd name="connsiteY4" fmla="*/ 15823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28" h="15428">
                    <a:moveTo>
                      <a:pt x="2143" y="15823"/>
                    </a:moveTo>
                    <a:lnTo>
                      <a:pt x="17674" y="6840"/>
                    </a:lnTo>
                    <a:lnTo>
                      <a:pt x="6257" y="257"/>
                    </a:lnTo>
                    <a:cubicBezTo>
                      <a:pt x="2554" y="4268"/>
                      <a:pt x="326" y="9411"/>
                      <a:pt x="257" y="14725"/>
                    </a:cubicBezTo>
                    <a:lnTo>
                      <a:pt x="2143" y="158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81" name="Freeform: Shape 780">
                <a:extLst>
                  <a:ext uri="{FF2B5EF4-FFF2-40B4-BE49-F238E27FC236}">
                    <a16:creationId xmlns:a16="http://schemas.microsoft.com/office/drawing/2014/main" id="{97338D4B-221A-4FC0-89A3-AE5F267AC36F}"/>
                  </a:ext>
                </a:extLst>
              </p:cNvPr>
              <p:cNvSpPr/>
              <p:nvPr/>
            </p:nvSpPr>
            <p:spPr>
              <a:xfrm>
                <a:off x="6192583" y="1537834"/>
                <a:ext cx="30857" cy="18000"/>
              </a:xfrm>
              <a:custGeom>
                <a:avLst/>
                <a:gdLst>
                  <a:gd name="connsiteX0" fmla="*/ 15789 w 30857"/>
                  <a:gd name="connsiteY0" fmla="*/ 18223 h 18000"/>
                  <a:gd name="connsiteX1" fmla="*/ 31320 w 30857"/>
                  <a:gd name="connsiteY1" fmla="*/ 9240 h 18000"/>
                  <a:gd name="connsiteX2" fmla="*/ 15789 w 30857"/>
                  <a:gd name="connsiteY2" fmla="*/ 257 h 18000"/>
                  <a:gd name="connsiteX3" fmla="*/ 257 w 30857"/>
                  <a:gd name="connsiteY3" fmla="*/ 9240 h 18000"/>
                  <a:gd name="connsiteX4" fmla="*/ 15789 w 30857"/>
                  <a:gd name="connsiteY4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89" y="18223"/>
                    </a:move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82" name="Freeform: Shape 781">
                <a:extLst>
                  <a:ext uri="{FF2B5EF4-FFF2-40B4-BE49-F238E27FC236}">
                    <a16:creationId xmlns:a16="http://schemas.microsoft.com/office/drawing/2014/main" id="{6A5AC3B5-4EB4-47FB-B435-A9BED6967334}"/>
                  </a:ext>
                </a:extLst>
              </p:cNvPr>
              <p:cNvSpPr/>
              <p:nvPr/>
            </p:nvSpPr>
            <p:spPr>
              <a:xfrm>
                <a:off x="6215177" y="1511023"/>
                <a:ext cx="30857" cy="18000"/>
              </a:xfrm>
              <a:custGeom>
                <a:avLst/>
                <a:gdLst>
                  <a:gd name="connsiteX0" fmla="*/ 31320 w 30857"/>
                  <a:gd name="connsiteY0" fmla="*/ 9240 h 18000"/>
                  <a:gd name="connsiteX1" fmla="*/ 31320 w 30857"/>
                  <a:gd name="connsiteY1" fmla="*/ 9240 h 18000"/>
                  <a:gd name="connsiteX2" fmla="*/ 31320 w 30857"/>
                  <a:gd name="connsiteY2" fmla="*/ 9240 h 18000"/>
                  <a:gd name="connsiteX3" fmla="*/ 23537 w 30857"/>
                  <a:gd name="connsiteY3" fmla="*/ 4748 h 18000"/>
                  <a:gd name="connsiteX4" fmla="*/ 15789 w 30857"/>
                  <a:gd name="connsiteY4" fmla="*/ 257 h 18000"/>
                  <a:gd name="connsiteX5" fmla="*/ 8006 w 30857"/>
                  <a:gd name="connsiteY5" fmla="*/ 4748 h 18000"/>
                  <a:gd name="connsiteX6" fmla="*/ 257 w 30857"/>
                  <a:gd name="connsiteY6" fmla="*/ 9240 h 18000"/>
                  <a:gd name="connsiteX7" fmla="*/ 257 w 30857"/>
                  <a:gd name="connsiteY7" fmla="*/ 9240 h 18000"/>
                  <a:gd name="connsiteX8" fmla="*/ 15789 w 30857"/>
                  <a:gd name="connsiteY8" fmla="*/ 18189 h 18000"/>
                  <a:gd name="connsiteX9" fmla="*/ 31320 w 30857"/>
                  <a:gd name="connsiteY9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31320" y="9240"/>
                    </a:move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37" y="4748"/>
                    </a:lnTo>
                    <a:lnTo>
                      <a:pt x="15789" y="257"/>
                    </a:lnTo>
                    <a:lnTo>
                      <a:pt x="800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83" name="Freeform: Shape 782">
                <a:extLst>
                  <a:ext uri="{FF2B5EF4-FFF2-40B4-BE49-F238E27FC236}">
                    <a16:creationId xmlns:a16="http://schemas.microsoft.com/office/drawing/2014/main" id="{01A18CEF-FF51-4C9B-8614-24388EB6CC63}"/>
                  </a:ext>
                </a:extLst>
              </p:cNvPr>
              <p:cNvSpPr/>
              <p:nvPr/>
            </p:nvSpPr>
            <p:spPr>
              <a:xfrm>
                <a:off x="6192583" y="1591526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84" name="Freeform: Shape 783">
                <a:extLst>
                  <a:ext uri="{FF2B5EF4-FFF2-40B4-BE49-F238E27FC236}">
                    <a16:creationId xmlns:a16="http://schemas.microsoft.com/office/drawing/2014/main" id="{63435A05-B051-483B-99F3-694E7E0EB471}"/>
                  </a:ext>
                </a:extLst>
              </p:cNvPr>
              <p:cNvSpPr/>
              <p:nvPr/>
            </p:nvSpPr>
            <p:spPr>
              <a:xfrm>
                <a:off x="6215177" y="1564680"/>
                <a:ext cx="30857" cy="18000"/>
              </a:xfrm>
              <a:custGeom>
                <a:avLst/>
                <a:gdLst>
                  <a:gd name="connsiteX0" fmla="*/ 8006 w 30857"/>
                  <a:gd name="connsiteY0" fmla="*/ 4748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20 w 30857"/>
                  <a:gd name="connsiteY4" fmla="*/ 9240 h 18000"/>
                  <a:gd name="connsiteX5" fmla="*/ 31320 w 30857"/>
                  <a:gd name="connsiteY5" fmla="*/ 9240 h 18000"/>
                  <a:gd name="connsiteX6" fmla="*/ 31320 w 30857"/>
                  <a:gd name="connsiteY6" fmla="*/ 9240 h 18000"/>
                  <a:gd name="connsiteX7" fmla="*/ 23537 w 30857"/>
                  <a:gd name="connsiteY7" fmla="*/ 4748 h 18000"/>
                  <a:gd name="connsiteX8" fmla="*/ 15789 w 30857"/>
                  <a:gd name="connsiteY8" fmla="*/ 257 h 18000"/>
                  <a:gd name="connsiteX9" fmla="*/ 8006 w 30857"/>
                  <a:gd name="connsiteY9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8006" y="4748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31320" y="9240"/>
                    </a:lnTo>
                    <a:lnTo>
                      <a:pt x="23537" y="4748"/>
                    </a:lnTo>
                    <a:lnTo>
                      <a:pt x="15789" y="257"/>
                    </a:lnTo>
                    <a:lnTo>
                      <a:pt x="8006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85" name="Freeform: Shape 784">
                <a:extLst>
                  <a:ext uri="{FF2B5EF4-FFF2-40B4-BE49-F238E27FC236}">
                    <a16:creationId xmlns:a16="http://schemas.microsoft.com/office/drawing/2014/main" id="{1E16AC09-15EF-4115-A25E-5D18A83954DC}"/>
                  </a:ext>
                </a:extLst>
              </p:cNvPr>
              <p:cNvSpPr/>
              <p:nvPr/>
            </p:nvSpPr>
            <p:spPr>
              <a:xfrm>
                <a:off x="6147360" y="1537834"/>
                <a:ext cx="30857" cy="18000"/>
              </a:xfrm>
              <a:custGeom>
                <a:avLst/>
                <a:gdLst>
                  <a:gd name="connsiteX0" fmla="*/ 31354 w 30857"/>
                  <a:gd name="connsiteY0" fmla="*/ 9240 h 18000"/>
                  <a:gd name="connsiteX1" fmla="*/ 15789 w 30857"/>
                  <a:gd name="connsiteY1" fmla="*/ 257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54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54" y="9240"/>
                    </a:moveTo>
                    <a:lnTo>
                      <a:pt x="15789" y="257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54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86" name="Freeform: Shape 785">
                <a:extLst>
                  <a:ext uri="{FF2B5EF4-FFF2-40B4-BE49-F238E27FC236}">
                    <a16:creationId xmlns:a16="http://schemas.microsoft.com/office/drawing/2014/main" id="{74BB3F62-1E81-41BA-85D0-3F80E1698B54}"/>
                  </a:ext>
                </a:extLst>
              </p:cNvPr>
              <p:cNvSpPr/>
              <p:nvPr/>
            </p:nvSpPr>
            <p:spPr>
              <a:xfrm>
                <a:off x="6169954" y="1511572"/>
                <a:ext cx="30857" cy="15429"/>
              </a:xfrm>
              <a:custGeom>
                <a:avLst/>
                <a:gdLst>
                  <a:gd name="connsiteX0" fmla="*/ 15823 w 30857"/>
                  <a:gd name="connsiteY0" fmla="*/ 17640 h 15428"/>
                  <a:gd name="connsiteX1" fmla="*/ 31354 w 30857"/>
                  <a:gd name="connsiteY1" fmla="*/ 8691 h 15428"/>
                  <a:gd name="connsiteX2" fmla="*/ 31354 w 30857"/>
                  <a:gd name="connsiteY2" fmla="*/ 8691 h 15428"/>
                  <a:gd name="connsiteX3" fmla="*/ 31354 w 30857"/>
                  <a:gd name="connsiteY3" fmla="*/ 8691 h 15428"/>
                  <a:gd name="connsiteX4" fmla="*/ 23571 w 30857"/>
                  <a:gd name="connsiteY4" fmla="*/ 4200 h 15428"/>
                  <a:gd name="connsiteX5" fmla="*/ 16748 w 30857"/>
                  <a:gd name="connsiteY5" fmla="*/ 257 h 15428"/>
                  <a:gd name="connsiteX6" fmla="*/ 8657 w 30857"/>
                  <a:gd name="connsiteY6" fmla="*/ 3823 h 15428"/>
                  <a:gd name="connsiteX7" fmla="*/ 8040 w 30857"/>
                  <a:gd name="connsiteY7" fmla="*/ 4200 h 15428"/>
                  <a:gd name="connsiteX8" fmla="*/ 257 w 30857"/>
                  <a:gd name="connsiteY8" fmla="*/ 8691 h 15428"/>
                  <a:gd name="connsiteX9" fmla="*/ 257 w 30857"/>
                  <a:gd name="connsiteY9" fmla="*/ 8691 h 15428"/>
                  <a:gd name="connsiteX10" fmla="*/ 257 w 30857"/>
                  <a:gd name="connsiteY10" fmla="*/ 8691 h 15428"/>
                  <a:gd name="connsiteX11" fmla="*/ 15823 w 30857"/>
                  <a:gd name="connsiteY11" fmla="*/ 17640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30857" h="15428">
                    <a:moveTo>
                      <a:pt x="15823" y="17640"/>
                    </a:moveTo>
                    <a:lnTo>
                      <a:pt x="31354" y="8691"/>
                    </a:lnTo>
                    <a:lnTo>
                      <a:pt x="31354" y="8691"/>
                    </a:lnTo>
                    <a:lnTo>
                      <a:pt x="31354" y="8691"/>
                    </a:lnTo>
                    <a:lnTo>
                      <a:pt x="23571" y="4200"/>
                    </a:lnTo>
                    <a:lnTo>
                      <a:pt x="16748" y="257"/>
                    </a:lnTo>
                    <a:cubicBezTo>
                      <a:pt x="14040" y="1423"/>
                      <a:pt x="11366" y="2623"/>
                      <a:pt x="8657" y="3823"/>
                    </a:cubicBezTo>
                    <a:lnTo>
                      <a:pt x="8040" y="4200"/>
                    </a:lnTo>
                    <a:lnTo>
                      <a:pt x="257" y="8691"/>
                    </a:lnTo>
                    <a:lnTo>
                      <a:pt x="257" y="8691"/>
                    </a:lnTo>
                    <a:lnTo>
                      <a:pt x="257" y="8691"/>
                    </a:lnTo>
                    <a:lnTo>
                      <a:pt x="15823" y="176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87" name="Freeform: Shape 786">
                <a:extLst>
                  <a:ext uri="{FF2B5EF4-FFF2-40B4-BE49-F238E27FC236}">
                    <a16:creationId xmlns:a16="http://schemas.microsoft.com/office/drawing/2014/main" id="{FC3EF0A6-41FC-4C8F-A194-D3012F619BA3}"/>
                  </a:ext>
                </a:extLst>
              </p:cNvPr>
              <p:cNvSpPr/>
              <p:nvPr/>
            </p:nvSpPr>
            <p:spPr>
              <a:xfrm>
                <a:off x="6147360" y="1591526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15789 w 30857"/>
                  <a:gd name="connsiteY1" fmla="*/ 18189 h 18000"/>
                  <a:gd name="connsiteX2" fmla="*/ 31354 w 30857"/>
                  <a:gd name="connsiteY2" fmla="*/ 9206 h 18000"/>
                  <a:gd name="connsiteX3" fmla="*/ 15789 w 30857"/>
                  <a:gd name="connsiteY3" fmla="*/ 257 h 18000"/>
                  <a:gd name="connsiteX4" fmla="*/ 257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15789" y="18189"/>
                    </a:lnTo>
                    <a:lnTo>
                      <a:pt x="31354" y="9206"/>
                    </a:ln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88" name="Freeform: Shape 787">
                <a:extLst>
                  <a:ext uri="{FF2B5EF4-FFF2-40B4-BE49-F238E27FC236}">
                    <a16:creationId xmlns:a16="http://schemas.microsoft.com/office/drawing/2014/main" id="{8FB275A3-0978-4AE9-BA9C-23AE3C8E0B75}"/>
                  </a:ext>
                </a:extLst>
              </p:cNvPr>
              <p:cNvSpPr/>
              <p:nvPr/>
            </p:nvSpPr>
            <p:spPr>
              <a:xfrm>
                <a:off x="6169954" y="1564680"/>
                <a:ext cx="30857" cy="18000"/>
              </a:xfrm>
              <a:custGeom>
                <a:avLst/>
                <a:gdLst>
                  <a:gd name="connsiteX0" fmla="*/ 31354 w 30857"/>
                  <a:gd name="connsiteY0" fmla="*/ 9240 h 18000"/>
                  <a:gd name="connsiteX1" fmla="*/ 31354 w 30857"/>
                  <a:gd name="connsiteY1" fmla="*/ 9240 h 18000"/>
                  <a:gd name="connsiteX2" fmla="*/ 31354 w 30857"/>
                  <a:gd name="connsiteY2" fmla="*/ 9240 h 18000"/>
                  <a:gd name="connsiteX3" fmla="*/ 23571 w 30857"/>
                  <a:gd name="connsiteY3" fmla="*/ 4748 h 18000"/>
                  <a:gd name="connsiteX4" fmla="*/ 15823 w 30857"/>
                  <a:gd name="connsiteY4" fmla="*/ 257 h 18000"/>
                  <a:gd name="connsiteX5" fmla="*/ 8040 w 30857"/>
                  <a:gd name="connsiteY5" fmla="*/ 4748 h 18000"/>
                  <a:gd name="connsiteX6" fmla="*/ 257 w 30857"/>
                  <a:gd name="connsiteY6" fmla="*/ 9240 h 18000"/>
                  <a:gd name="connsiteX7" fmla="*/ 257 w 30857"/>
                  <a:gd name="connsiteY7" fmla="*/ 9240 h 18000"/>
                  <a:gd name="connsiteX8" fmla="*/ 257 w 30857"/>
                  <a:gd name="connsiteY8" fmla="*/ 9240 h 18000"/>
                  <a:gd name="connsiteX9" fmla="*/ 15823 w 30857"/>
                  <a:gd name="connsiteY9" fmla="*/ 18189 h 18000"/>
                  <a:gd name="connsiteX10" fmla="*/ 31354 w 30857"/>
                  <a:gd name="connsiteY10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857" h="18000">
                    <a:moveTo>
                      <a:pt x="31354" y="9240"/>
                    </a:moveTo>
                    <a:lnTo>
                      <a:pt x="31354" y="9240"/>
                    </a:lnTo>
                    <a:lnTo>
                      <a:pt x="31354" y="9240"/>
                    </a:lnTo>
                    <a:lnTo>
                      <a:pt x="23571" y="4748"/>
                    </a:lnTo>
                    <a:lnTo>
                      <a:pt x="15823" y="257"/>
                    </a:ln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823" y="18189"/>
                    </a:lnTo>
                    <a:lnTo>
                      <a:pt x="31354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89" name="Freeform: Shape 788">
                <a:extLst>
                  <a:ext uri="{FF2B5EF4-FFF2-40B4-BE49-F238E27FC236}">
                    <a16:creationId xmlns:a16="http://schemas.microsoft.com/office/drawing/2014/main" id="{EC46EBAA-887F-47E9-9FBA-E2FF2208D521}"/>
                  </a:ext>
                </a:extLst>
              </p:cNvPr>
              <p:cNvSpPr/>
              <p:nvPr/>
            </p:nvSpPr>
            <p:spPr>
              <a:xfrm>
                <a:off x="6147360" y="1645183"/>
                <a:ext cx="18000" cy="10286"/>
              </a:xfrm>
              <a:custGeom>
                <a:avLst/>
                <a:gdLst>
                  <a:gd name="connsiteX0" fmla="*/ 257 w 18000"/>
                  <a:gd name="connsiteY0" fmla="*/ 9240 h 10285"/>
                  <a:gd name="connsiteX1" fmla="*/ 2177 w 18000"/>
                  <a:gd name="connsiteY1" fmla="*/ 10337 h 10285"/>
                  <a:gd name="connsiteX2" fmla="*/ 19320 w 18000"/>
                  <a:gd name="connsiteY2" fmla="*/ 2280 h 10285"/>
                  <a:gd name="connsiteX3" fmla="*/ 15789 w 18000"/>
                  <a:gd name="connsiteY3" fmla="*/ 257 h 10285"/>
                  <a:gd name="connsiteX4" fmla="*/ 257 w 18000"/>
                  <a:gd name="connsiteY4" fmla="*/ 9240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00" h="10285">
                    <a:moveTo>
                      <a:pt x="257" y="9240"/>
                    </a:moveTo>
                    <a:lnTo>
                      <a:pt x="2177" y="10337"/>
                    </a:lnTo>
                    <a:cubicBezTo>
                      <a:pt x="7903" y="7697"/>
                      <a:pt x="13594" y="4954"/>
                      <a:pt x="19320" y="2280"/>
                    </a:cubicBez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90" name="Freeform: Shape 789">
                <a:extLst>
                  <a:ext uri="{FF2B5EF4-FFF2-40B4-BE49-F238E27FC236}">
                    <a16:creationId xmlns:a16="http://schemas.microsoft.com/office/drawing/2014/main" id="{55D871B3-C370-44FD-A1BB-90050BD120B9}"/>
                  </a:ext>
                </a:extLst>
              </p:cNvPr>
              <p:cNvSpPr/>
              <p:nvPr/>
            </p:nvSpPr>
            <p:spPr>
              <a:xfrm>
                <a:off x="6169954" y="1618337"/>
                <a:ext cx="30857" cy="18000"/>
              </a:xfrm>
              <a:custGeom>
                <a:avLst/>
                <a:gdLst>
                  <a:gd name="connsiteX0" fmla="*/ 15823 w 30857"/>
                  <a:gd name="connsiteY0" fmla="*/ 18223 h 18000"/>
                  <a:gd name="connsiteX1" fmla="*/ 31354 w 30857"/>
                  <a:gd name="connsiteY1" fmla="*/ 9240 h 18000"/>
                  <a:gd name="connsiteX2" fmla="*/ 15823 w 30857"/>
                  <a:gd name="connsiteY2" fmla="*/ 257 h 18000"/>
                  <a:gd name="connsiteX3" fmla="*/ 8040 w 30857"/>
                  <a:gd name="connsiteY3" fmla="*/ 4748 h 18000"/>
                  <a:gd name="connsiteX4" fmla="*/ 257 w 30857"/>
                  <a:gd name="connsiteY4" fmla="*/ 9240 h 18000"/>
                  <a:gd name="connsiteX5" fmla="*/ 257 w 30857"/>
                  <a:gd name="connsiteY5" fmla="*/ 9240 h 18000"/>
                  <a:gd name="connsiteX6" fmla="*/ 257 w 30857"/>
                  <a:gd name="connsiteY6" fmla="*/ 9240 h 18000"/>
                  <a:gd name="connsiteX7" fmla="*/ 15823 w 30857"/>
                  <a:gd name="connsiteY7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823" y="18223"/>
                    </a:moveTo>
                    <a:lnTo>
                      <a:pt x="31354" y="9240"/>
                    </a:lnTo>
                    <a:lnTo>
                      <a:pt x="15823" y="257"/>
                    </a:ln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823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91" name="Freeform: Shape 790">
                <a:extLst>
                  <a:ext uri="{FF2B5EF4-FFF2-40B4-BE49-F238E27FC236}">
                    <a16:creationId xmlns:a16="http://schemas.microsoft.com/office/drawing/2014/main" id="{FBD97647-99B1-487D-BDE8-8168F988806C}"/>
                  </a:ext>
                </a:extLst>
              </p:cNvPr>
              <p:cNvSpPr/>
              <p:nvPr/>
            </p:nvSpPr>
            <p:spPr>
              <a:xfrm>
                <a:off x="6124766" y="1564680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15789 w 30857"/>
                  <a:gd name="connsiteY3" fmla="*/ 18189 h 18000"/>
                  <a:gd name="connsiteX4" fmla="*/ 31354 w 30857"/>
                  <a:gd name="connsiteY4" fmla="*/ 9240 h 18000"/>
                  <a:gd name="connsiteX5" fmla="*/ 31354 w 30857"/>
                  <a:gd name="connsiteY5" fmla="*/ 9240 h 18000"/>
                  <a:gd name="connsiteX6" fmla="*/ 23571 w 30857"/>
                  <a:gd name="connsiteY6" fmla="*/ 4748 h 18000"/>
                  <a:gd name="connsiteX7" fmla="*/ 15789 w 30857"/>
                  <a:gd name="connsiteY7" fmla="*/ 257 h 18000"/>
                  <a:gd name="connsiteX8" fmla="*/ 8040 w 30857"/>
                  <a:gd name="connsiteY8" fmla="*/ 4748 h 18000"/>
                  <a:gd name="connsiteX9" fmla="*/ 257 w 30857"/>
                  <a:gd name="connsiteY9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54" y="9240"/>
                    </a:lnTo>
                    <a:lnTo>
                      <a:pt x="31354" y="9240"/>
                    </a:lnTo>
                    <a:lnTo>
                      <a:pt x="23571" y="4748"/>
                    </a:lnTo>
                    <a:lnTo>
                      <a:pt x="15789" y="257"/>
                    </a:lnTo>
                    <a:lnTo>
                      <a:pt x="8040" y="4748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92" name="Freeform: Shape 791">
                <a:extLst>
                  <a:ext uri="{FF2B5EF4-FFF2-40B4-BE49-F238E27FC236}">
                    <a16:creationId xmlns:a16="http://schemas.microsoft.com/office/drawing/2014/main" id="{3D4F0E4A-7DB8-4EC6-8BA7-2434D869D10A}"/>
                  </a:ext>
                </a:extLst>
              </p:cNvPr>
              <p:cNvSpPr/>
              <p:nvPr/>
            </p:nvSpPr>
            <p:spPr>
              <a:xfrm>
                <a:off x="6106663" y="1541057"/>
                <a:ext cx="25714" cy="12857"/>
              </a:xfrm>
              <a:custGeom>
                <a:avLst/>
                <a:gdLst>
                  <a:gd name="connsiteX0" fmla="*/ 26829 w 25714"/>
                  <a:gd name="connsiteY0" fmla="*/ 6017 h 12857"/>
                  <a:gd name="connsiteX1" fmla="*/ 16852 w 25714"/>
                  <a:gd name="connsiteY1" fmla="*/ 257 h 12857"/>
                  <a:gd name="connsiteX2" fmla="*/ 257 w 25714"/>
                  <a:gd name="connsiteY2" fmla="*/ 8589 h 12857"/>
                  <a:gd name="connsiteX3" fmla="*/ 11297 w 25714"/>
                  <a:gd name="connsiteY3" fmla="*/ 15000 h 12857"/>
                  <a:gd name="connsiteX4" fmla="*/ 26829 w 25714"/>
                  <a:gd name="connsiteY4" fmla="*/ 6017 h 1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5714" h="12857">
                    <a:moveTo>
                      <a:pt x="26829" y="6017"/>
                    </a:moveTo>
                    <a:lnTo>
                      <a:pt x="16852" y="257"/>
                    </a:lnTo>
                    <a:cubicBezTo>
                      <a:pt x="11297" y="3034"/>
                      <a:pt x="5777" y="5777"/>
                      <a:pt x="257" y="8589"/>
                    </a:cubicBezTo>
                    <a:lnTo>
                      <a:pt x="11297" y="15000"/>
                    </a:lnTo>
                    <a:lnTo>
                      <a:pt x="26829" y="601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93" name="Freeform: Shape 792">
                <a:extLst>
                  <a:ext uri="{FF2B5EF4-FFF2-40B4-BE49-F238E27FC236}">
                    <a16:creationId xmlns:a16="http://schemas.microsoft.com/office/drawing/2014/main" id="{1F4E92BE-0616-4786-A285-6CF2A3B98084}"/>
                  </a:ext>
                </a:extLst>
              </p:cNvPr>
              <p:cNvSpPr/>
              <p:nvPr/>
            </p:nvSpPr>
            <p:spPr>
              <a:xfrm>
                <a:off x="6102171" y="1591526"/>
                <a:ext cx="30857" cy="18000"/>
              </a:xfrm>
              <a:custGeom>
                <a:avLst/>
                <a:gdLst>
                  <a:gd name="connsiteX0" fmla="*/ 31320 w 30857"/>
                  <a:gd name="connsiteY0" fmla="*/ 9206 h 18000"/>
                  <a:gd name="connsiteX1" fmla="*/ 15789 w 30857"/>
                  <a:gd name="connsiteY1" fmla="*/ 257 h 18000"/>
                  <a:gd name="connsiteX2" fmla="*/ 257 w 30857"/>
                  <a:gd name="connsiteY2" fmla="*/ 9206 h 18000"/>
                  <a:gd name="connsiteX3" fmla="*/ 15789 w 30857"/>
                  <a:gd name="connsiteY3" fmla="*/ 18189 h 18000"/>
                  <a:gd name="connsiteX4" fmla="*/ 3132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20" y="9206"/>
                    </a:moveTo>
                    <a:lnTo>
                      <a:pt x="15789" y="257"/>
                    </a:lnTo>
                    <a:lnTo>
                      <a:pt x="257" y="9206"/>
                    </a:lnTo>
                    <a:lnTo>
                      <a:pt x="15789" y="18189"/>
                    </a:lnTo>
                    <a:lnTo>
                      <a:pt x="3132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94" name="Freeform: Shape 793">
                <a:extLst>
                  <a:ext uri="{FF2B5EF4-FFF2-40B4-BE49-F238E27FC236}">
                    <a16:creationId xmlns:a16="http://schemas.microsoft.com/office/drawing/2014/main" id="{83E402BD-8D82-420E-BCB4-FA59C63D722D}"/>
                  </a:ext>
                </a:extLst>
              </p:cNvPr>
              <p:cNvSpPr/>
              <p:nvPr/>
            </p:nvSpPr>
            <p:spPr>
              <a:xfrm>
                <a:off x="6102171" y="1645183"/>
                <a:ext cx="30857" cy="18000"/>
              </a:xfrm>
              <a:custGeom>
                <a:avLst/>
                <a:gdLst>
                  <a:gd name="connsiteX0" fmla="*/ 257 w 30857"/>
                  <a:gd name="connsiteY0" fmla="*/ 9240 h 18000"/>
                  <a:gd name="connsiteX1" fmla="*/ 15789 w 30857"/>
                  <a:gd name="connsiteY1" fmla="*/ 18189 h 18000"/>
                  <a:gd name="connsiteX2" fmla="*/ 31320 w 30857"/>
                  <a:gd name="connsiteY2" fmla="*/ 9240 h 18000"/>
                  <a:gd name="connsiteX3" fmla="*/ 15789 w 30857"/>
                  <a:gd name="connsiteY3" fmla="*/ 257 h 18000"/>
                  <a:gd name="connsiteX4" fmla="*/ 257 w 30857"/>
                  <a:gd name="connsiteY4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257" y="9240"/>
                    </a:moveTo>
                    <a:lnTo>
                      <a:pt x="15789" y="18189"/>
                    </a:lnTo>
                    <a:lnTo>
                      <a:pt x="31320" y="9240"/>
                    </a:lnTo>
                    <a:lnTo>
                      <a:pt x="15789" y="257"/>
                    </a:lnTo>
                    <a:lnTo>
                      <a:pt x="257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95" name="Freeform: Shape 794">
                <a:extLst>
                  <a:ext uri="{FF2B5EF4-FFF2-40B4-BE49-F238E27FC236}">
                    <a16:creationId xmlns:a16="http://schemas.microsoft.com/office/drawing/2014/main" id="{B8C46692-48E5-488F-93AD-24CB23A8941F}"/>
                  </a:ext>
                </a:extLst>
              </p:cNvPr>
              <p:cNvSpPr/>
              <p:nvPr/>
            </p:nvSpPr>
            <p:spPr>
              <a:xfrm>
                <a:off x="6124766" y="1618337"/>
                <a:ext cx="30857" cy="18000"/>
              </a:xfrm>
              <a:custGeom>
                <a:avLst/>
                <a:gdLst>
                  <a:gd name="connsiteX0" fmla="*/ 15789 w 30857"/>
                  <a:gd name="connsiteY0" fmla="*/ 257 h 18000"/>
                  <a:gd name="connsiteX1" fmla="*/ 8040 w 30857"/>
                  <a:gd name="connsiteY1" fmla="*/ 4748 h 18000"/>
                  <a:gd name="connsiteX2" fmla="*/ 257 w 30857"/>
                  <a:gd name="connsiteY2" fmla="*/ 9240 h 18000"/>
                  <a:gd name="connsiteX3" fmla="*/ 257 w 30857"/>
                  <a:gd name="connsiteY3" fmla="*/ 9240 h 18000"/>
                  <a:gd name="connsiteX4" fmla="*/ 257 w 30857"/>
                  <a:gd name="connsiteY4" fmla="*/ 9240 h 18000"/>
                  <a:gd name="connsiteX5" fmla="*/ 15789 w 30857"/>
                  <a:gd name="connsiteY5" fmla="*/ 18223 h 18000"/>
                  <a:gd name="connsiteX6" fmla="*/ 31354 w 30857"/>
                  <a:gd name="connsiteY6" fmla="*/ 9240 h 18000"/>
                  <a:gd name="connsiteX7" fmla="*/ 15789 w 30857"/>
                  <a:gd name="connsiteY7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789" y="257"/>
                    </a:moveTo>
                    <a:lnTo>
                      <a:pt x="8040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54" y="9240"/>
                    </a:lnTo>
                    <a:lnTo>
                      <a:pt x="15789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96" name="Freeform: Shape 795">
                <a:extLst>
                  <a:ext uri="{FF2B5EF4-FFF2-40B4-BE49-F238E27FC236}">
                    <a16:creationId xmlns:a16="http://schemas.microsoft.com/office/drawing/2014/main" id="{1E231980-7218-41F2-BFDE-B14477B2FC29}"/>
                  </a:ext>
                </a:extLst>
              </p:cNvPr>
              <p:cNvSpPr/>
              <p:nvPr/>
            </p:nvSpPr>
            <p:spPr>
              <a:xfrm>
                <a:off x="6056986" y="1591526"/>
                <a:ext cx="30857" cy="18000"/>
              </a:xfrm>
              <a:custGeom>
                <a:avLst/>
                <a:gdLst>
                  <a:gd name="connsiteX0" fmla="*/ 15792 w 30857"/>
                  <a:gd name="connsiteY0" fmla="*/ 18189 h 18000"/>
                  <a:gd name="connsiteX1" fmla="*/ 31327 w 30857"/>
                  <a:gd name="connsiteY1" fmla="*/ 9206 h 18000"/>
                  <a:gd name="connsiteX2" fmla="*/ 15792 w 30857"/>
                  <a:gd name="connsiteY2" fmla="*/ 257 h 18000"/>
                  <a:gd name="connsiteX3" fmla="*/ 257 w 30857"/>
                  <a:gd name="connsiteY3" fmla="*/ 9206 h 18000"/>
                  <a:gd name="connsiteX4" fmla="*/ 15792 w 30857"/>
                  <a:gd name="connsiteY4" fmla="*/ 18189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2" y="18189"/>
                    </a:moveTo>
                    <a:lnTo>
                      <a:pt x="31327" y="9206"/>
                    </a:lnTo>
                    <a:lnTo>
                      <a:pt x="15792" y="257"/>
                    </a:lnTo>
                    <a:lnTo>
                      <a:pt x="257" y="9206"/>
                    </a:lnTo>
                    <a:lnTo>
                      <a:pt x="15792" y="18189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97" name="Freeform: Shape 796">
                <a:extLst>
                  <a:ext uri="{FF2B5EF4-FFF2-40B4-BE49-F238E27FC236}">
                    <a16:creationId xmlns:a16="http://schemas.microsoft.com/office/drawing/2014/main" id="{989D599B-E6BA-4093-B0CF-855017B77D77}"/>
                  </a:ext>
                </a:extLst>
              </p:cNvPr>
              <p:cNvSpPr/>
              <p:nvPr/>
            </p:nvSpPr>
            <p:spPr>
              <a:xfrm>
                <a:off x="6079584" y="1564680"/>
                <a:ext cx="30857" cy="18000"/>
              </a:xfrm>
              <a:custGeom>
                <a:avLst/>
                <a:gdLst>
                  <a:gd name="connsiteX0" fmla="*/ 31313 w 30857"/>
                  <a:gd name="connsiteY0" fmla="*/ 9240 h 18000"/>
                  <a:gd name="connsiteX1" fmla="*/ 31313 w 30857"/>
                  <a:gd name="connsiteY1" fmla="*/ 9240 h 18000"/>
                  <a:gd name="connsiteX2" fmla="*/ 23564 w 30857"/>
                  <a:gd name="connsiteY2" fmla="*/ 4748 h 18000"/>
                  <a:gd name="connsiteX3" fmla="*/ 15789 w 30857"/>
                  <a:gd name="connsiteY3" fmla="*/ 257 h 18000"/>
                  <a:gd name="connsiteX4" fmla="*/ 8023 w 30857"/>
                  <a:gd name="connsiteY4" fmla="*/ 4748 h 18000"/>
                  <a:gd name="connsiteX5" fmla="*/ 257 w 30857"/>
                  <a:gd name="connsiteY5" fmla="*/ 9240 h 18000"/>
                  <a:gd name="connsiteX6" fmla="*/ 257 w 30857"/>
                  <a:gd name="connsiteY6" fmla="*/ 9240 h 18000"/>
                  <a:gd name="connsiteX7" fmla="*/ 15789 w 30857"/>
                  <a:gd name="connsiteY7" fmla="*/ 18189 h 18000"/>
                  <a:gd name="connsiteX8" fmla="*/ 31313 w 30857"/>
                  <a:gd name="connsiteY8" fmla="*/ 9240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0857" h="18000">
                    <a:moveTo>
                      <a:pt x="31313" y="9240"/>
                    </a:moveTo>
                    <a:lnTo>
                      <a:pt x="31313" y="9240"/>
                    </a:lnTo>
                    <a:lnTo>
                      <a:pt x="23564" y="4748"/>
                    </a:lnTo>
                    <a:lnTo>
                      <a:pt x="15789" y="257"/>
                    </a:lnTo>
                    <a:lnTo>
                      <a:pt x="8023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189"/>
                    </a:lnTo>
                    <a:lnTo>
                      <a:pt x="31313" y="9240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98" name="Freeform: Shape 797">
                <a:extLst>
                  <a:ext uri="{FF2B5EF4-FFF2-40B4-BE49-F238E27FC236}">
                    <a16:creationId xmlns:a16="http://schemas.microsoft.com/office/drawing/2014/main" id="{6AFDD9F9-26D7-4B08-8E67-2E35DA615C2D}"/>
                  </a:ext>
                </a:extLst>
              </p:cNvPr>
              <p:cNvSpPr/>
              <p:nvPr/>
            </p:nvSpPr>
            <p:spPr>
              <a:xfrm>
                <a:off x="6056986" y="1645183"/>
                <a:ext cx="30857" cy="18000"/>
              </a:xfrm>
              <a:custGeom>
                <a:avLst/>
                <a:gdLst>
                  <a:gd name="connsiteX0" fmla="*/ 15792 w 30857"/>
                  <a:gd name="connsiteY0" fmla="*/ 257 h 18000"/>
                  <a:gd name="connsiteX1" fmla="*/ 257 w 30857"/>
                  <a:gd name="connsiteY1" fmla="*/ 9240 h 18000"/>
                  <a:gd name="connsiteX2" fmla="*/ 15792 w 30857"/>
                  <a:gd name="connsiteY2" fmla="*/ 18189 h 18000"/>
                  <a:gd name="connsiteX3" fmla="*/ 31327 w 30857"/>
                  <a:gd name="connsiteY3" fmla="*/ 9240 h 18000"/>
                  <a:gd name="connsiteX4" fmla="*/ 15792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2" y="257"/>
                    </a:moveTo>
                    <a:lnTo>
                      <a:pt x="257" y="9240"/>
                    </a:lnTo>
                    <a:lnTo>
                      <a:pt x="15792" y="18189"/>
                    </a:lnTo>
                    <a:lnTo>
                      <a:pt x="31327" y="9240"/>
                    </a:lnTo>
                    <a:lnTo>
                      <a:pt x="15792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799" name="Freeform: Shape 798">
                <a:extLst>
                  <a:ext uri="{FF2B5EF4-FFF2-40B4-BE49-F238E27FC236}">
                    <a16:creationId xmlns:a16="http://schemas.microsoft.com/office/drawing/2014/main" id="{AEA34F53-8F8B-43FF-B55F-92EE7D57F4F7}"/>
                  </a:ext>
                </a:extLst>
              </p:cNvPr>
              <p:cNvSpPr/>
              <p:nvPr/>
            </p:nvSpPr>
            <p:spPr>
              <a:xfrm>
                <a:off x="6079584" y="1618337"/>
                <a:ext cx="30857" cy="18000"/>
              </a:xfrm>
              <a:custGeom>
                <a:avLst/>
                <a:gdLst>
                  <a:gd name="connsiteX0" fmla="*/ 8023 w 30857"/>
                  <a:gd name="connsiteY0" fmla="*/ 4748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15789 w 30857"/>
                  <a:gd name="connsiteY3" fmla="*/ 18223 h 18000"/>
                  <a:gd name="connsiteX4" fmla="*/ 31313 w 30857"/>
                  <a:gd name="connsiteY4" fmla="*/ 9240 h 18000"/>
                  <a:gd name="connsiteX5" fmla="*/ 15789 w 30857"/>
                  <a:gd name="connsiteY5" fmla="*/ 257 h 18000"/>
                  <a:gd name="connsiteX6" fmla="*/ 8023 w 30857"/>
                  <a:gd name="connsiteY6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8023" y="4748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15789" y="18223"/>
                    </a:lnTo>
                    <a:lnTo>
                      <a:pt x="31313" y="9240"/>
                    </a:lnTo>
                    <a:lnTo>
                      <a:pt x="15789" y="257"/>
                    </a:lnTo>
                    <a:lnTo>
                      <a:pt x="8023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00" name="Freeform: Shape 799">
                <a:extLst>
                  <a:ext uri="{FF2B5EF4-FFF2-40B4-BE49-F238E27FC236}">
                    <a16:creationId xmlns:a16="http://schemas.microsoft.com/office/drawing/2014/main" id="{F17FB4AD-1E77-4301-AEA2-CC9CDADB6C65}"/>
                  </a:ext>
                </a:extLst>
              </p:cNvPr>
              <p:cNvSpPr/>
              <p:nvPr/>
            </p:nvSpPr>
            <p:spPr>
              <a:xfrm>
                <a:off x="6079584" y="1672029"/>
                <a:ext cx="23143" cy="10286"/>
              </a:xfrm>
              <a:custGeom>
                <a:avLst/>
                <a:gdLst>
                  <a:gd name="connsiteX0" fmla="*/ 257 w 23142"/>
                  <a:gd name="connsiteY0" fmla="*/ 9206 h 10285"/>
                  <a:gd name="connsiteX1" fmla="*/ 257 w 23142"/>
                  <a:gd name="connsiteY1" fmla="*/ 9206 h 10285"/>
                  <a:gd name="connsiteX2" fmla="*/ 5239 w 23142"/>
                  <a:gd name="connsiteY2" fmla="*/ 12086 h 10285"/>
                  <a:gd name="connsiteX3" fmla="*/ 23702 w 23142"/>
                  <a:gd name="connsiteY3" fmla="*/ 4817 h 10285"/>
                  <a:gd name="connsiteX4" fmla="*/ 15789 w 23142"/>
                  <a:gd name="connsiteY4" fmla="*/ 257 h 10285"/>
                  <a:gd name="connsiteX5" fmla="*/ 257 w 23142"/>
                  <a:gd name="connsiteY5" fmla="*/ 9206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142" h="10285">
                    <a:moveTo>
                      <a:pt x="257" y="9206"/>
                    </a:moveTo>
                    <a:lnTo>
                      <a:pt x="257" y="9206"/>
                    </a:lnTo>
                    <a:lnTo>
                      <a:pt x="5239" y="12086"/>
                    </a:lnTo>
                    <a:cubicBezTo>
                      <a:pt x="11462" y="9857"/>
                      <a:pt x="17633" y="7423"/>
                      <a:pt x="23702" y="4817"/>
                    </a:cubicBezTo>
                    <a:lnTo>
                      <a:pt x="15789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01" name="Freeform: Shape 800">
                <a:extLst>
                  <a:ext uri="{FF2B5EF4-FFF2-40B4-BE49-F238E27FC236}">
                    <a16:creationId xmlns:a16="http://schemas.microsoft.com/office/drawing/2014/main" id="{C2E714F6-5254-4E73-812D-1B9548F3D0F4}"/>
                  </a:ext>
                </a:extLst>
              </p:cNvPr>
              <p:cNvSpPr/>
              <p:nvPr/>
            </p:nvSpPr>
            <p:spPr>
              <a:xfrm>
                <a:off x="6011791" y="1591526"/>
                <a:ext cx="30857" cy="18000"/>
              </a:xfrm>
              <a:custGeom>
                <a:avLst/>
                <a:gdLst>
                  <a:gd name="connsiteX0" fmla="*/ 31330 w 30857"/>
                  <a:gd name="connsiteY0" fmla="*/ 9206 h 18000"/>
                  <a:gd name="connsiteX1" fmla="*/ 15792 w 30857"/>
                  <a:gd name="connsiteY1" fmla="*/ 257 h 18000"/>
                  <a:gd name="connsiteX2" fmla="*/ 257 w 30857"/>
                  <a:gd name="connsiteY2" fmla="*/ 9206 h 18000"/>
                  <a:gd name="connsiteX3" fmla="*/ 15792 w 30857"/>
                  <a:gd name="connsiteY3" fmla="*/ 18189 h 18000"/>
                  <a:gd name="connsiteX4" fmla="*/ 31330 w 30857"/>
                  <a:gd name="connsiteY4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31330" y="9206"/>
                    </a:moveTo>
                    <a:lnTo>
                      <a:pt x="15792" y="257"/>
                    </a:lnTo>
                    <a:lnTo>
                      <a:pt x="257" y="9206"/>
                    </a:lnTo>
                    <a:lnTo>
                      <a:pt x="15792" y="18189"/>
                    </a:lnTo>
                    <a:lnTo>
                      <a:pt x="31330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02" name="Freeform: Shape 801">
                <a:extLst>
                  <a:ext uri="{FF2B5EF4-FFF2-40B4-BE49-F238E27FC236}">
                    <a16:creationId xmlns:a16="http://schemas.microsoft.com/office/drawing/2014/main" id="{C96FAE0B-76D1-4157-991A-2CF2A635E355}"/>
                  </a:ext>
                </a:extLst>
              </p:cNvPr>
              <p:cNvSpPr/>
              <p:nvPr/>
            </p:nvSpPr>
            <p:spPr>
              <a:xfrm>
                <a:off x="6046100" y="1572052"/>
                <a:ext cx="18000" cy="10286"/>
              </a:xfrm>
              <a:custGeom>
                <a:avLst/>
                <a:gdLst>
                  <a:gd name="connsiteX0" fmla="*/ 19615 w 18000"/>
                  <a:gd name="connsiteY0" fmla="*/ 1868 h 10285"/>
                  <a:gd name="connsiteX1" fmla="*/ 19615 w 18000"/>
                  <a:gd name="connsiteY1" fmla="*/ 1868 h 10285"/>
                  <a:gd name="connsiteX2" fmla="*/ 19615 w 18000"/>
                  <a:gd name="connsiteY2" fmla="*/ 1868 h 10285"/>
                  <a:gd name="connsiteX3" fmla="*/ 16824 w 18000"/>
                  <a:gd name="connsiteY3" fmla="*/ 257 h 10285"/>
                  <a:gd name="connsiteX4" fmla="*/ 257 w 18000"/>
                  <a:gd name="connsiteY4" fmla="*/ 8623 h 10285"/>
                  <a:gd name="connsiteX5" fmla="*/ 4080 w 18000"/>
                  <a:gd name="connsiteY5" fmla="*/ 10817 h 10285"/>
                  <a:gd name="connsiteX6" fmla="*/ 19615 w 18000"/>
                  <a:gd name="connsiteY6" fmla="*/ 1868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000" h="10285">
                    <a:moveTo>
                      <a:pt x="19615" y="1868"/>
                    </a:moveTo>
                    <a:lnTo>
                      <a:pt x="19615" y="1868"/>
                    </a:lnTo>
                    <a:lnTo>
                      <a:pt x="19615" y="1868"/>
                    </a:lnTo>
                    <a:lnTo>
                      <a:pt x="16824" y="257"/>
                    </a:lnTo>
                    <a:cubicBezTo>
                      <a:pt x="11452" y="3000"/>
                      <a:pt x="5911" y="5777"/>
                      <a:pt x="257" y="8623"/>
                    </a:cubicBezTo>
                    <a:lnTo>
                      <a:pt x="4080" y="10817"/>
                    </a:lnTo>
                    <a:lnTo>
                      <a:pt x="19615" y="186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03" name="Freeform: Shape 802">
                <a:extLst>
                  <a:ext uri="{FF2B5EF4-FFF2-40B4-BE49-F238E27FC236}">
                    <a16:creationId xmlns:a16="http://schemas.microsoft.com/office/drawing/2014/main" id="{860C0CA8-A935-4847-8E60-EA1F0ECED6F1}"/>
                  </a:ext>
                </a:extLst>
              </p:cNvPr>
              <p:cNvSpPr/>
              <p:nvPr/>
            </p:nvSpPr>
            <p:spPr>
              <a:xfrm>
                <a:off x="6011791" y="1645183"/>
                <a:ext cx="30857" cy="18000"/>
              </a:xfrm>
              <a:custGeom>
                <a:avLst/>
                <a:gdLst>
                  <a:gd name="connsiteX0" fmla="*/ 15792 w 30857"/>
                  <a:gd name="connsiteY0" fmla="*/ 257 h 18000"/>
                  <a:gd name="connsiteX1" fmla="*/ 257 w 30857"/>
                  <a:gd name="connsiteY1" fmla="*/ 9240 h 18000"/>
                  <a:gd name="connsiteX2" fmla="*/ 15792 w 30857"/>
                  <a:gd name="connsiteY2" fmla="*/ 18189 h 18000"/>
                  <a:gd name="connsiteX3" fmla="*/ 31330 w 30857"/>
                  <a:gd name="connsiteY3" fmla="*/ 9240 h 18000"/>
                  <a:gd name="connsiteX4" fmla="*/ 15792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2" y="257"/>
                    </a:moveTo>
                    <a:lnTo>
                      <a:pt x="257" y="9240"/>
                    </a:lnTo>
                    <a:lnTo>
                      <a:pt x="15792" y="18189"/>
                    </a:lnTo>
                    <a:lnTo>
                      <a:pt x="31330" y="9240"/>
                    </a:lnTo>
                    <a:lnTo>
                      <a:pt x="15792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04" name="Freeform: Shape 803">
                <a:extLst>
                  <a:ext uri="{FF2B5EF4-FFF2-40B4-BE49-F238E27FC236}">
                    <a16:creationId xmlns:a16="http://schemas.microsoft.com/office/drawing/2014/main" id="{ED2BCB1A-62EE-4C28-B24A-61994C58354C}"/>
                  </a:ext>
                </a:extLst>
              </p:cNvPr>
              <p:cNvSpPr/>
              <p:nvPr/>
            </p:nvSpPr>
            <p:spPr>
              <a:xfrm>
                <a:off x="6034388" y="1618337"/>
                <a:ext cx="30857" cy="18000"/>
              </a:xfrm>
              <a:custGeom>
                <a:avLst/>
                <a:gdLst>
                  <a:gd name="connsiteX0" fmla="*/ 8026 w 30857"/>
                  <a:gd name="connsiteY0" fmla="*/ 4748 h 18000"/>
                  <a:gd name="connsiteX1" fmla="*/ 257 w 30857"/>
                  <a:gd name="connsiteY1" fmla="*/ 9240 h 18000"/>
                  <a:gd name="connsiteX2" fmla="*/ 257 w 30857"/>
                  <a:gd name="connsiteY2" fmla="*/ 9240 h 18000"/>
                  <a:gd name="connsiteX3" fmla="*/ 15792 w 30857"/>
                  <a:gd name="connsiteY3" fmla="*/ 18223 h 18000"/>
                  <a:gd name="connsiteX4" fmla="*/ 31327 w 30857"/>
                  <a:gd name="connsiteY4" fmla="*/ 9240 h 18000"/>
                  <a:gd name="connsiteX5" fmla="*/ 15792 w 30857"/>
                  <a:gd name="connsiteY5" fmla="*/ 257 h 18000"/>
                  <a:gd name="connsiteX6" fmla="*/ 8026 w 30857"/>
                  <a:gd name="connsiteY6" fmla="*/ 4748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8026" y="4748"/>
                    </a:moveTo>
                    <a:lnTo>
                      <a:pt x="257" y="9240"/>
                    </a:lnTo>
                    <a:lnTo>
                      <a:pt x="257" y="9240"/>
                    </a:lnTo>
                    <a:lnTo>
                      <a:pt x="15792" y="18223"/>
                    </a:lnTo>
                    <a:lnTo>
                      <a:pt x="31327" y="9240"/>
                    </a:lnTo>
                    <a:lnTo>
                      <a:pt x="15792" y="257"/>
                    </a:lnTo>
                    <a:lnTo>
                      <a:pt x="8026" y="4748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05" name="Freeform: Shape 804">
                <a:extLst>
                  <a:ext uri="{FF2B5EF4-FFF2-40B4-BE49-F238E27FC236}">
                    <a16:creationId xmlns:a16="http://schemas.microsoft.com/office/drawing/2014/main" id="{55C3AE5F-FDCC-4425-9FC2-C0F89E7C4A52}"/>
                  </a:ext>
                </a:extLst>
              </p:cNvPr>
              <p:cNvSpPr/>
              <p:nvPr/>
            </p:nvSpPr>
            <p:spPr>
              <a:xfrm>
                <a:off x="6034388" y="1672029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15792 w 30857"/>
                  <a:gd name="connsiteY2" fmla="*/ 18189 h 18000"/>
                  <a:gd name="connsiteX3" fmla="*/ 31327 w 30857"/>
                  <a:gd name="connsiteY3" fmla="*/ 9206 h 18000"/>
                  <a:gd name="connsiteX4" fmla="*/ 15792 w 30857"/>
                  <a:gd name="connsiteY4" fmla="*/ 257 h 18000"/>
                  <a:gd name="connsiteX5" fmla="*/ 257 w 30857"/>
                  <a:gd name="connsiteY5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15792" y="18189"/>
                    </a:lnTo>
                    <a:lnTo>
                      <a:pt x="31327" y="9206"/>
                    </a:lnTo>
                    <a:lnTo>
                      <a:pt x="15792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06" name="Freeform: Shape 805">
                <a:extLst>
                  <a:ext uri="{FF2B5EF4-FFF2-40B4-BE49-F238E27FC236}">
                    <a16:creationId xmlns:a16="http://schemas.microsoft.com/office/drawing/2014/main" id="{AC00D169-D9DA-4915-B89F-B964598CEAA8}"/>
                  </a:ext>
                </a:extLst>
              </p:cNvPr>
              <p:cNvSpPr/>
              <p:nvPr/>
            </p:nvSpPr>
            <p:spPr>
              <a:xfrm>
                <a:off x="5989193" y="1672029"/>
                <a:ext cx="30857" cy="18000"/>
              </a:xfrm>
              <a:custGeom>
                <a:avLst/>
                <a:gdLst>
                  <a:gd name="connsiteX0" fmla="*/ 257 w 30857"/>
                  <a:gd name="connsiteY0" fmla="*/ 9206 h 18000"/>
                  <a:gd name="connsiteX1" fmla="*/ 257 w 30857"/>
                  <a:gd name="connsiteY1" fmla="*/ 9206 h 18000"/>
                  <a:gd name="connsiteX2" fmla="*/ 257 w 30857"/>
                  <a:gd name="connsiteY2" fmla="*/ 9206 h 18000"/>
                  <a:gd name="connsiteX3" fmla="*/ 15795 w 30857"/>
                  <a:gd name="connsiteY3" fmla="*/ 18189 h 18000"/>
                  <a:gd name="connsiteX4" fmla="*/ 31330 w 30857"/>
                  <a:gd name="connsiteY4" fmla="*/ 9206 h 18000"/>
                  <a:gd name="connsiteX5" fmla="*/ 15795 w 30857"/>
                  <a:gd name="connsiteY5" fmla="*/ 257 h 18000"/>
                  <a:gd name="connsiteX6" fmla="*/ 257 w 30857"/>
                  <a:gd name="connsiteY6" fmla="*/ 9206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0857" h="18000">
                    <a:moveTo>
                      <a:pt x="257" y="9206"/>
                    </a:moveTo>
                    <a:lnTo>
                      <a:pt x="257" y="9206"/>
                    </a:lnTo>
                    <a:lnTo>
                      <a:pt x="257" y="9206"/>
                    </a:lnTo>
                    <a:lnTo>
                      <a:pt x="15795" y="18189"/>
                    </a:lnTo>
                    <a:lnTo>
                      <a:pt x="31330" y="9206"/>
                    </a:lnTo>
                    <a:lnTo>
                      <a:pt x="15795" y="257"/>
                    </a:lnTo>
                    <a:lnTo>
                      <a:pt x="257" y="9206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07" name="Freeform: Shape 806">
                <a:extLst>
                  <a:ext uri="{FF2B5EF4-FFF2-40B4-BE49-F238E27FC236}">
                    <a16:creationId xmlns:a16="http://schemas.microsoft.com/office/drawing/2014/main" id="{29CDD540-0E60-4187-BCEF-E7A94CC793A8}"/>
                  </a:ext>
                </a:extLst>
              </p:cNvPr>
              <p:cNvSpPr/>
              <p:nvPr/>
            </p:nvSpPr>
            <p:spPr>
              <a:xfrm>
                <a:off x="5966595" y="1645183"/>
                <a:ext cx="30857" cy="18000"/>
              </a:xfrm>
              <a:custGeom>
                <a:avLst/>
                <a:gdLst>
                  <a:gd name="connsiteX0" fmla="*/ 15795 w 30857"/>
                  <a:gd name="connsiteY0" fmla="*/ 257 h 18000"/>
                  <a:gd name="connsiteX1" fmla="*/ 257 w 30857"/>
                  <a:gd name="connsiteY1" fmla="*/ 9240 h 18000"/>
                  <a:gd name="connsiteX2" fmla="*/ 15795 w 30857"/>
                  <a:gd name="connsiteY2" fmla="*/ 18189 h 18000"/>
                  <a:gd name="connsiteX3" fmla="*/ 31330 w 30857"/>
                  <a:gd name="connsiteY3" fmla="*/ 9240 h 18000"/>
                  <a:gd name="connsiteX4" fmla="*/ 15795 w 30857"/>
                  <a:gd name="connsiteY4" fmla="*/ 257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857" h="18000">
                    <a:moveTo>
                      <a:pt x="15795" y="257"/>
                    </a:moveTo>
                    <a:lnTo>
                      <a:pt x="257" y="9240"/>
                    </a:lnTo>
                    <a:lnTo>
                      <a:pt x="15795" y="18189"/>
                    </a:lnTo>
                    <a:lnTo>
                      <a:pt x="31330" y="9240"/>
                    </a:lnTo>
                    <a:lnTo>
                      <a:pt x="15795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08" name="Freeform: Shape 807">
                <a:extLst>
                  <a:ext uri="{FF2B5EF4-FFF2-40B4-BE49-F238E27FC236}">
                    <a16:creationId xmlns:a16="http://schemas.microsoft.com/office/drawing/2014/main" id="{F55F91E0-E895-4652-B38C-28E959830955}"/>
                  </a:ext>
                </a:extLst>
              </p:cNvPr>
              <p:cNvSpPr/>
              <p:nvPr/>
            </p:nvSpPr>
            <p:spPr>
              <a:xfrm>
                <a:off x="5989193" y="1618337"/>
                <a:ext cx="30857" cy="18000"/>
              </a:xfrm>
              <a:custGeom>
                <a:avLst/>
                <a:gdLst>
                  <a:gd name="connsiteX0" fmla="*/ 15795 w 30857"/>
                  <a:gd name="connsiteY0" fmla="*/ 18223 h 18000"/>
                  <a:gd name="connsiteX1" fmla="*/ 31330 w 30857"/>
                  <a:gd name="connsiteY1" fmla="*/ 9240 h 18000"/>
                  <a:gd name="connsiteX2" fmla="*/ 15795 w 30857"/>
                  <a:gd name="connsiteY2" fmla="*/ 257 h 18000"/>
                  <a:gd name="connsiteX3" fmla="*/ 8026 w 30857"/>
                  <a:gd name="connsiteY3" fmla="*/ 4748 h 18000"/>
                  <a:gd name="connsiteX4" fmla="*/ 257 w 30857"/>
                  <a:gd name="connsiteY4" fmla="*/ 9240 h 18000"/>
                  <a:gd name="connsiteX5" fmla="*/ 257 w 30857"/>
                  <a:gd name="connsiteY5" fmla="*/ 9240 h 18000"/>
                  <a:gd name="connsiteX6" fmla="*/ 257 w 30857"/>
                  <a:gd name="connsiteY6" fmla="*/ 9240 h 18000"/>
                  <a:gd name="connsiteX7" fmla="*/ 15795 w 30857"/>
                  <a:gd name="connsiteY7" fmla="*/ 18223 h 1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857" h="18000">
                    <a:moveTo>
                      <a:pt x="15795" y="18223"/>
                    </a:moveTo>
                    <a:lnTo>
                      <a:pt x="31330" y="9240"/>
                    </a:lnTo>
                    <a:lnTo>
                      <a:pt x="15795" y="257"/>
                    </a:lnTo>
                    <a:lnTo>
                      <a:pt x="8026" y="4748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257" y="9240"/>
                    </a:lnTo>
                    <a:lnTo>
                      <a:pt x="15795" y="18223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09" name="Freeform: Shape 808">
                <a:extLst>
                  <a:ext uri="{FF2B5EF4-FFF2-40B4-BE49-F238E27FC236}">
                    <a16:creationId xmlns:a16="http://schemas.microsoft.com/office/drawing/2014/main" id="{68DCEA11-2A62-4C1E-9F95-E83797074418}"/>
                  </a:ext>
                </a:extLst>
              </p:cNvPr>
              <p:cNvSpPr/>
              <p:nvPr/>
            </p:nvSpPr>
            <p:spPr>
              <a:xfrm>
                <a:off x="5947076" y="1672029"/>
                <a:ext cx="28286" cy="15429"/>
              </a:xfrm>
              <a:custGeom>
                <a:avLst/>
                <a:gdLst>
                  <a:gd name="connsiteX0" fmla="*/ 257 w 28285"/>
                  <a:gd name="connsiteY0" fmla="*/ 7457 h 15428"/>
                  <a:gd name="connsiteX1" fmla="*/ 257 w 28285"/>
                  <a:gd name="connsiteY1" fmla="*/ 7457 h 15428"/>
                  <a:gd name="connsiteX2" fmla="*/ 14205 w 28285"/>
                  <a:gd name="connsiteY2" fmla="*/ 17331 h 15428"/>
                  <a:gd name="connsiteX3" fmla="*/ 28252 w 28285"/>
                  <a:gd name="connsiteY3" fmla="*/ 9206 h 15428"/>
                  <a:gd name="connsiteX4" fmla="*/ 12717 w 28285"/>
                  <a:gd name="connsiteY4" fmla="*/ 257 h 15428"/>
                  <a:gd name="connsiteX5" fmla="*/ 257 w 28285"/>
                  <a:gd name="connsiteY5" fmla="*/ 7457 h 15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285" h="15428">
                    <a:moveTo>
                      <a:pt x="257" y="7457"/>
                    </a:moveTo>
                    <a:lnTo>
                      <a:pt x="257" y="7457"/>
                    </a:lnTo>
                    <a:cubicBezTo>
                      <a:pt x="3230" y="12154"/>
                      <a:pt x="7913" y="15754"/>
                      <a:pt x="14205" y="17331"/>
                    </a:cubicBezTo>
                    <a:lnTo>
                      <a:pt x="28252" y="9206"/>
                    </a:lnTo>
                    <a:lnTo>
                      <a:pt x="12717" y="257"/>
                    </a:lnTo>
                    <a:lnTo>
                      <a:pt x="257" y="74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10" name="Freeform: Shape 809">
                <a:extLst>
                  <a:ext uri="{FF2B5EF4-FFF2-40B4-BE49-F238E27FC236}">
                    <a16:creationId xmlns:a16="http://schemas.microsoft.com/office/drawing/2014/main" id="{7EDD3151-7EEA-485D-B0B6-6EAAD3F96CB8}"/>
                  </a:ext>
                </a:extLst>
              </p:cNvPr>
              <p:cNvSpPr/>
              <p:nvPr/>
            </p:nvSpPr>
            <p:spPr>
              <a:xfrm>
                <a:off x="5944059" y="1651080"/>
                <a:ext cx="7714" cy="7714"/>
              </a:xfrm>
              <a:custGeom>
                <a:avLst/>
                <a:gdLst>
                  <a:gd name="connsiteX0" fmla="*/ 3353 w 7714"/>
                  <a:gd name="connsiteY0" fmla="*/ 257 h 7714"/>
                  <a:gd name="connsiteX1" fmla="*/ 257 w 7714"/>
                  <a:gd name="connsiteY1" fmla="*/ 8211 h 7714"/>
                  <a:gd name="connsiteX2" fmla="*/ 8671 w 7714"/>
                  <a:gd name="connsiteY2" fmla="*/ 3343 h 7714"/>
                  <a:gd name="connsiteX3" fmla="*/ 3353 w 7714"/>
                  <a:gd name="connsiteY3" fmla="*/ 257 h 7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4" h="7714">
                    <a:moveTo>
                      <a:pt x="3353" y="257"/>
                    </a:moveTo>
                    <a:cubicBezTo>
                      <a:pt x="1906" y="2794"/>
                      <a:pt x="898" y="5468"/>
                      <a:pt x="257" y="8211"/>
                    </a:cubicBezTo>
                    <a:lnTo>
                      <a:pt x="8671" y="3343"/>
                    </a:lnTo>
                    <a:lnTo>
                      <a:pt x="3353" y="257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11" name="Freeform: Shape 810">
                <a:extLst>
                  <a:ext uri="{FF2B5EF4-FFF2-40B4-BE49-F238E27FC236}">
                    <a16:creationId xmlns:a16="http://schemas.microsoft.com/office/drawing/2014/main" id="{3B027C4A-014C-4E6D-9969-9DB8077D8284}"/>
                  </a:ext>
                </a:extLst>
              </p:cNvPr>
              <p:cNvSpPr/>
              <p:nvPr/>
            </p:nvSpPr>
            <p:spPr>
              <a:xfrm>
                <a:off x="5959454" y="1625263"/>
                <a:ext cx="15429" cy="10286"/>
              </a:xfrm>
              <a:custGeom>
                <a:avLst/>
                <a:gdLst>
                  <a:gd name="connsiteX0" fmla="*/ 15874 w 15428"/>
                  <a:gd name="connsiteY0" fmla="*/ 2314 h 10285"/>
                  <a:gd name="connsiteX1" fmla="*/ 12312 w 15428"/>
                  <a:gd name="connsiteY1" fmla="*/ 257 h 10285"/>
                  <a:gd name="connsiteX2" fmla="*/ 257 w 15428"/>
                  <a:gd name="connsiteY2" fmla="*/ 11229 h 10285"/>
                  <a:gd name="connsiteX3" fmla="*/ 340 w 15428"/>
                  <a:gd name="connsiteY3" fmla="*/ 11297 h 10285"/>
                  <a:gd name="connsiteX4" fmla="*/ 15874 w 15428"/>
                  <a:gd name="connsiteY4" fmla="*/ 2314 h 1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428" h="10285">
                    <a:moveTo>
                      <a:pt x="15874" y="2314"/>
                    </a:moveTo>
                    <a:lnTo>
                      <a:pt x="12312" y="257"/>
                    </a:lnTo>
                    <a:cubicBezTo>
                      <a:pt x="8064" y="3754"/>
                      <a:pt x="4029" y="7423"/>
                      <a:pt x="257" y="11229"/>
                    </a:cubicBezTo>
                    <a:lnTo>
                      <a:pt x="340" y="11297"/>
                    </a:lnTo>
                    <a:lnTo>
                      <a:pt x="15874" y="2314"/>
                    </a:lnTo>
                  </a:path>
                </a:pathLst>
              </a:custGeom>
              <a:solidFill>
                <a:srgbClr val="969A9E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12" name="Freeform: Shape 811">
                <a:extLst>
                  <a:ext uri="{FF2B5EF4-FFF2-40B4-BE49-F238E27FC236}">
                    <a16:creationId xmlns:a16="http://schemas.microsoft.com/office/drawing/2014/main" id="{4187F1BC-D938-469B-9855-E963E6D8765E}"/>
                  </a:ext>
                </a:extLst>
              </p:cNvPr>
              <p:cNvSpPr/>
              <p:nvPr/>
            </p:nvSpPr>
            <p:spPr>
              <a:xfrm>
                <a:off x="6614571" y="1745983"/>
                <a:ext cx="131143" cy="131143"/>
              </a:xfrm>
              <a:custGeom>
                <a:avLst/>
                <a:gdLst>
                  <a:gd name="connsiteX0" fmla="*/ 132394 w 131142"/>
                  <a:gd name="connsiteY0" fmla="*/ 66291 h 131142"/>
                  <a:gd name="connsiteX1" fmla="*/ 66326 w 131142"/>
                  <a:gd name="connsiteY1" fmla="*/ 257 h 131142"/>
                  <a:gd name="connsiteX2" fmla="*/ 257 w 131142"/>
                  <a:gd name="connsiteY2" fmla="*/ 66291 h 131142"/>
                  <a:gd name="connsiteX3" fmla="*/ 66326 w 131142"/>
                  <a:gd name="connsiteY3" fmla="*/ 132360 h 131142"/>
                  <a:gd name="connsiteX4" fmla="*/ 132394 w 131142"/>
                  <a:gd name="connsiteY4" fmla="*/ 66291 h 13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1142" h="131142">
                    <a:moveTo>
                      <a:pt x="132394" y="66291"/>
                    </a:moveTo>
                    <a:cubicBezTo>
                      <a:pt x="132394" y="29811"/>
                      <a:pt x="102806" y="257"/>
                      <a:pt x="66326" y="257"/>
                    </a:cubicBezTo>
                    <a:cubicBezTo>
                      <a:pt x="29846" y="257"/>
                      <a:pt x="257" y="29811"/>
                      <a:pt x="257" y="66291"/>
                    </a:cubicBezTo>
                    <a:cubicBezTo>
                      <a:pt x="257" y="102771"/>
                      <a:pt x="29846" y="132360"/>
                      <a:pt x="66326" y="132360"/>
                    </a:cubicBezTo>
                    <a:cubicBezTo>
                      <a:pt x="102806" y="132360"/>
                      <a:pt x="132394" y="102771"/>
                      <a:pt x="132394" y="66291"/>
                    </a:cubicBez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13" name="Freeform: Shape 812">
                <a:extLst>
                  <a:ext uri="{FF2B5EF4-FFF2-40B4-BE49-F238E27FC236}">
                    <a16:creationId xmlns:a16="http://schemas.microsoft.com/office/drawing/2014/main" id="{1ADB50FC-D7D9-4506-97AA-063D5EAFC8AB}"/>
                  </a:ext>
                </a:extLst>
              </p:cNvPr>
              <p:cNvSpPr/>
              <p:nvPr/>
            </p:nvSpPr>
            <p:spPr>
              <a:xfrm>
                <a:off x="6604286" y="1735697"/>
                <a:ext cx="151714" cy="151714"/>
              </a:xfrm>
              <a:custGeom>
                <a:avLst/>
                <a:gdLst>
                  <a:gd name="connsiteX0" fmla="*/ 76611 w 151714"/>
                  <a:gd name="connsiteY0" fmla="*/ 20829 h 151714"/>
                  <a:gd name="connsiteX1" fmla="*/ 20829 w 151714"/>
                  <a:gd name="connsiteY1" fmla="*/ 76577 h 151714"/>
                  <a:gd name="connsiteX2" fmla="*/ 76611 w 151714"/>
                  <a:gd name="connsiteY2" fmla="*/ 132360 h 151714"/>
                  <a:gd name="connsiteX3" fmla="*/ 132394 w 151714"/>
                  <a:gd name="connsiteY3" fmla="*/ 76577 h 151714"/>
                  <a:gd name="connsiteX4" fmla="*/ 76611 w 151714"/>
                  <a:gd name="connsiteY4" fmla="*/ 20829 h 151714"/>
                  <a:gd name="connsiteX5" fmla="*/ 76611 w 151714"/>
                  <a:gd name="connsiteY5" fmla="*/ 152931 h 151714"/>
                  <a:gd name="connsiteX6" fmla="*/ 257 w 151714"/>
                  <a:gd name="connsiteY6" fmla="*/ 76577 h 151714"/>
                  <a:gd name="connsiteX7" fmla="*/ 76611 w 151714"/>
                  <a:gd name="connsiteY7" fmla="*/ 257 h 151714"/>
                  <a:gd name="connsiteX8" fmla="*/ 152966 w 151714"/>
                  <a:gd name="connsiteY8" fmla="*/ 76577 h 151714"/>
                  <a:gd name="connsiteX9" fmla="*/ 76611 w 151714"/>
                  <a:gd name="connsiteY9" fmla="*/ 152931 h 151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51714" h="151714">
                    <a:moveTo>
                      <a:pt x="76611" y="20829"/>
                    </a:moveTo>
                    <a:cubicBezTo>
                      <a:pt x="45857" y="20829"/>
                      <a:pt x="20829" y="45823"/>
                      <a:pt x="20829" y="76577"/>
                    </a:cubicBezTo>
                    <a:cubicBezTo>
                      <a:pt x="20829" y="107366"/>
                      <a:pt x="45857" y="132360"/>
                      <a:pt x="76611" y="132360"/>
                    </a:cubicBezTo>
                    <a:cubicBezTo>
                      <a:pt x="107366" y="132360"/>
                      <a:pt x="132394" y="107366"/>
                      <a:pt x="132394" y="76577"/>
                    </a:cubicBezTo>
                    <a:cubicBezTo>
                      <a:pt x="132394" y="45823"/>
                      <a:pt x="107366" y="20829"/>
                      <a:pt x="76611" y="20829"/>
                    </a:cubicBezTo>
                    <a:close/>
                    <a:moveTo>
                      <a:pt x="76611" y="152931"/>
                    </a:moveTo>
                    <a:cubicBezTo>
                      <a:pt x="34509" y="152931"/>
                      <a:pt x="257" y="118680"/>
                      <a:pt x="257" y="76577"/>
                    </a:cubicBezTo>
                    <a:cubicBezTo>
                      <a:pt x="257" y="34508"/>
                      <a:pt x="34509" y="257"/>
                      <a:pt x="76611" y="257"/>
                    </a:cubicBezTo>
                    <a:cubicBezTo>
                      <a:pt x="118714" y="257"/>
                      <a:pt x="152966" y="34508"/>
                      <a:pt x="152966" y="76577"/>
                    </a:cubicBezTo>
                    <a:cubicBezTo>
                      <a:pt x="152966" y="118680"/>
                      <a:pt x="118714" y="152931"/>
                      <a:pt x="76611" y="152931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14" name="Freeform: Shape 813">
                <a:extLst>
                  <a:ext uri="{FF2B5EF4-FFF2-40B4-BE49-F238E27FC236}">
                    <a16:creationId xmlns:a16="http://schemas.microsoft.com/office/drawing/2014/main" id="{A32739E2-2A47-4433-B51A-4B940129EC10}"/>
                  </a:ext>
                </a:extLst>
              </p:cNvPr>
              <p:cNvSpPr/>
              <p:nvPr/>
            </p:nvSpPr>
            <p:spPr>
              <a:xfrm>
                <a:off x="5661504" y="1452566"/>
                <a:ext cx="285429" cy="218571"/>
              </a:xfrm>
              <a:custGeom>
                <a:avLst/>
                <a:gdLst>
                  <a:gd name="connsiteX0" fmla="*/ 257 w 285428"/>
                  <a:gd name="connsiteY0" fmla="*/ 257 h 218571"/>
                  <a:gd name="connsiteX1" fmla="*/ 257 w 285428"/>
                  <a:gd name="connsiteY1" fmla="*/ 55457 h 218571"/>
                  <a:gd name="connsiteX2" fmla="*/ 286306 w 285428"/>
                  <a:gd name="connsiteY2" fmla="*/ 220611 h 218571"/>
                  <a:gd name="connsiteX3" fmla="*/ 286306 w 285428"/>
                  <a:gd name="connsiteY3" fmla="*/ 165411 h 218571"/>
                  <a:gd name="connsiteX4" fmla="*/ 257 w 285428"/>
                  <a:gd name="connsiteY4" fmla="*/ 257 h 218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428" h="218571">
                    <a:moveTo>
                      <a:pt x="257" y="257"/>
                    </a:moveTo>
                    <a:lnTo>
                      <a:pt x="257" y="55457"/>
                    </a:lnTo>
                    <a:lnTo>
                      <a:pt x="286306" y="220611"/>
                    </a:lnTo>
                    <a:lnTo>
                      <a:pt x="286306" y="165411"/>
                    </a:lnTo>
                    <a:lnTo>
                      <a:pt x="257" y="257"/>
                    </a:ln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15" name="Freeform: Shape 814">
                <a:extLst>
                  <a:ext uri="{FF2B5EF4-FFF2-40B4-BE49-F238E27FC236}">
                    <a16:creationId xmlns:a16="http://schemas.microsoft.com/office/drawing/2014/main" id="{B02750CE-CE6F-4D46-9023-3C283D3B3EE4}"/>
                  </a:ext>
                </a:extLst>
              </p:cNvPr>
              <p:cNvSpPr/>
              <p:nvPr/>
            </p:nvSpPr>
            <p:spPr>
              <a:xfrm>
                <a:off x="5661504" y="1398977"/>
                <a:ext cx="285429" cy="218571"/>
              </a:xfrm>
              <a:custGeom>
                <a:avLst/>
                <a:gdLst>
                  <a:gd name="connsiteX0" fmla="*/ 257 w 285428"/>
                  <a:gd name="connsiteY0" fmla="*/ 257 h 218571"/>
                  <a:gd name="connsiteX1" fmla="*/ 257 w 285428"/>
                  <a:gd name="connsiteY1" fmla="*/ 53846 h 218571"/>
                  <a:gd name="connsiteX2" fmla="*/ 286306 w 285428"/>
                  <a:gd name="connsiteY2" fmla="*/ 219000 h 218571"/>
                  <a:gd name="connsiteX3" fmla="*/ 286306 w 285428"/>
                  <a:gd name="connsiteY3" fmla="*/ 165411 h 218571"/>
                  <a:gd name="connsiteX4" fmla="*/ 257 w 285428"/>
                  <a:gd name="connsiteY4" fmla="*/ 257 h 218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428" h="218571">
                    <a:moveTo>
                      <a:pt x="257" y="257"/>
                    </a:moveTo>
                    <a:lnTo>
                      <a:pt x="257" y="53846"/>
                    </a:lnTo>
                    <a:lnTo>
                      <a:pt x="286306" y="219000"/>
                    </a:lnTo>
                    <a:lnTo>
                      <a:pt x="286306" y="165411"/>
                    </a:lnTo>
                    <a:lnTo>
                      <a:pt x="257" y="257"/>
                    </a:ln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16" name="Freeform: Shape 815">
                <a:extLst>
                  <a:ext uri="{FF2B5EF4-FFF2-40B4-BE49-F238E27FC236}">
                    <a16:creationId xmlns:a16="http://schemas.microsoft.com/office/drawing/2014/main" id="{E37D395E-0360-4402-9146-96374F701668}"/>
                  </a:ext>
                </a:extLst>
              </p:cNvPr>
              <p:cNvSpPr/>
              <p:nvPr/>
            </p:nvSpPr>
            <p:spPr>
              <a:xfrm>
                <a:off x="5661504" y="1343400"/>
                <a:ext cx="285429" cy="221143"/>
              </a:xfrm>
              <a:custGeom>
                <a:avLst/>
                <a:gdLst>
                  <a:gd name="connsiteX0" fmla="*/ 257 w 285428"/>
                  <a:gd name="connsiteY0" fmla="*/ 257 h 221142"/>
                  <a:gd name="connsiteX1" fmla="*/ 257 w 285428"/>
                  <a:gd name="connsiteY1" fmla="*/ 55834 h 221142"/>
                  <a:gd name="connsiteX2" fmla="*/ 286306 w 285428"/>
                  <a:gd name="connsiteY2" fmla="*/ 220989 h 221142"/>
                  <a:gd name="connsiteX3" fmla="*/ 286306 w 285428"/>
                  <a:gd name="connsiteY3" fmla="*/ 165411 h 221142"/>
                  <a:gd name="connsiteX4" fmla="*/ 257 w 285428"/>
                  <a:gd name="connsiteY4" fmla="*/ 257 h 22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428" h="221142">
                    <a:moveTo>
                      <a:pt x="257" y="257"/>
                    </a:moveTo>
                    <a:lnTo>
                      <a:pt x="257" y="55834"/>
                    </a:lnTo>
                    <a:lnTo>
                      <a:pt x="286306" y="220989"/>
                    </a:lnTo>
                    <a:lnTo>
                      <a:pt x="286306" y="165411"/>
                    </a:lnTo>
                    <a:lnTo>
                      <a:pt x="257" y="257"/>
                    </a:lnTo>
                  </a:path>
                </a:pathLst>
              </a:custGeom>
              <a:solidFill>
                <a:srgbClr val="FFFFFF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17" name="Freeform: Shape 816">
                <a:extLst>
                  <a:ext uri="{FF2B5EF4-FFF2-40B4-BE49-F238E27FC236}">
                    <a16:creationId xmlns:a16="http://schemas.microsoft.com/office/drawing/2014/main" id="{DE3AD26F-31B5-4A6F-98E0-5E83A019840A}"/>
                  </a:ext>
                </a:extLst>
              </p:cNvPr>
              <p:cNvSpPr/>
              <p:nvPr/>
            </p:nvSpPr>
            <p:spPr>
              <a:xfrm>
                <a:off x="5661501" y="991835"/>
                <a:ext cx="894857" cy="516857"/>
              </a:xfrm>
              <a:custGeom>
                <a:avLst/>
                <a:gdLst>
                  <a:gd name="connsiteX0" fmla="*/ 379479 w 894857"/>
                  <a:gd name="connsiteY0" fmla="*/ 297984 h 516857"/>
                  <a:gd name="connsiteX1" fmla="*/ 379479 w 894857"/>
                  <a:gd name="connsiteY1" fmla="*/ 219219 h 516857"/>
                  <a:gd name="connsiteX2" fmla="*/ 515990 w 894857"/>
                  <a:gd name="connsiteY2" fmla="*/ 219219 h 516857"/>
                  <a:gd name="connsiteX3" fmla="*/ 515990 w 894857"/>
                  <a:gd name="connsiteY3" fmla="*/ 297984 h 516857"/>
                  <a:gd name="connsiteX4" fmla="*/ 379479 w 894857"/>
                  <a:gd name="connsiteY4" fmla="*/ 297984 h 516857"/>
                  <a:gd name="connsiteX5" fmla="*/ 270 w 894857"/>
                  <a:gd name="connsiteY5" fmla="*/ 351812 h 516857"/>
                  <a:gd name="connsiteX6" fmla="*/ 286322 w 894857"/>
                  <a:gd name="connsiteY6" fmla="*/ 516969 h 516857"/>
                  <a:gd name="connsiteX7" fmla="*/ 895279 w 894857"/>
                  <a:gd name="connsiteY7" fmla="*/ 165426 h 516857"/>
                  <a:gd name="connsiteX8" fmla="*/ 609187 w 894857"/>
                  <a:gd name="connsiteY8" fmla="*/ 270 h 516857"/>
                  <a:gd name="connsiteX9" fmla="*/ 270 w 894857"/>
                  <a:gd name="connsiteY9" fmla="*/ 351812 h 516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94857" h="516857">
                    <a:moveTo>
                      <a:pt x="379479" y="297984"/>
                    </a:moveTo>
                    <a:cubicBezTo>
                      <a:pt x="341835" y="276250"/>
                      <a:pt x="341835" y="240916"/>
                      <a:pt x="379479" y="219219"/>
                    </a:cubicBezTo>
                    <a:cubicBezTo>
                      <a:pt x="417217" y="197414"/>
                      <a:pt x="478346" y="197414"/>
                      <a:pt x="515990" y="219219"/>
                    </a:cubicBezTo>
                    <a:cubicBezTo>
                      <a:pt x="553670" y="240916"/>
                      <a:pt x="553670" y="276250"/>
                      <a:pt x="515990" y="297984"/>
                    </a:cubicBezTo>
                    <a:cubicBezTo>
                      <a:pt x="478346" y="319789"/>
                      <a:pt x="417217" y="319789"/>
                      <a:pt x="379479" y="297984"/>
                    </a:cubicBezTo>
                    <a:close/>
                    <a:moveTo>
                      <a:pt x="270" y="351812"/>
                    </a:moveTo>
                    <a:lnTo>
                      <a:pt x="286322" y="516969"/>
                    </a:lnTo>
                    <a:lnTo>
                      <a:pt x="895279" y="165426"/>
                    </a:lnTo>
                    <a:lnTo>
                      <a:pt x="609187" y="270"/>
                    </a:lnTo>
                    <a:lnTo>
                      <a:pt x="270" y="351812"/>
                    </a:lnTo>
                  </a:path>
                </a:pathLst>
              </a:custGeom>
              <a:solidFill>
                <a:srgbClr val="FFFFFF"/>
              </a:solidFill>
              <a:ln w="13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18" name="Freeform: Shape 817">
                <a:extLst>
                  <a:ext uri="{FF2B5EF4-FFF2-40B4-BE49-F238E27FC236}">
                    <a16:creationId xmlns:a16="http://schemas.microsoft.com/office/drawing/2014/main" id="{2F4956B6-EBC4-4706-9B3F-F2E55D505160}"/>
                  </a:ext>
                </a:extLst>
              </p:cNvPr>
              <p:cNvSpPr/>
              <p:nvPr/>
            </p:nvSpPr>
            <p:spPr>
              <a:xfrm>
                <a:off x="5947558" y="1266191"/>
                <a:ext cx="609429" cy="406286"/>
              </a:xfrm>
              <a:custGeom>
                <a:avLst/>
                <a:gdLst>
                  <a:gd name="connsiteX0" fmla="*/ 257 w 609428"/>
                  <a:gd name="connsiteY0" fmla="*/ 351785 h 406285"/>
                  <a:gd name="connsiteX1" fmla="*/ 257 w 609428"/>
                  <a:gd name="connsiteY1" fmla="*/ 406972 h 406285"/>
                  <a:gd name="connsiteX2" fmla="*/ 609194 w 609428"/>
                  <a:gd name="connsiteY2" fmla="*/ 55444 h 406285"/>
                  <a:gd name="connsiteX3" fmla="*/ 609194 w 609428"/>
                  <a:gd name="connsiteY3" fmla="*/ 257 h 406285"/>
                  <a:gd name="connsiteX4" fmla="*/ 257 w 609428"/>
                  <a:gd name="connsiteY4" fmla="*/ 351785 h 40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428" h="406285">
                    <a:moveTo>
                      <a:pt x="257" y="351785"/>
                    </a:moveTo>
                    <a:lnTo>
                      <a:pt x="257" y="406972"/>
                    </a:lnTo>
                    <a:lnTo>
                      <a:pt x="609194" y="55444"/>
                    </a:lnTo>
                    <a:lnTo>
                      <a:pt x="609194" y="257"/>
                    </a:lnTo>
                    <a:lnTo>
                      <a:pt x="257" y="351785"/>
                    </a:lnTo>
                  </a:path>
                </a:pathLst>
              </a:custGeom>
              <a:solidFill>
                <a:schemeClr val="bg2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19" name="Freeform: Shape 818">
                <a:extLst>
                  <a:ext uri="{FF2B5EF4-FFF2-40B4-BE49-F238E27FC236}">
                    <a16:creationId xmlns:a16="http://schemas.microsoft.com/office/drawing/2014/main" id="{A30E5FD6-1808-4712-B441-8822C1364702}"/>
                  </a:ext>
                </a:extLst>
              </p:cNvPr>
              <p:cNvSpPr/>
              <p:nvPr/>
            </p:nvSpPr>
            <p:spPr>
              <a:xfrm>
                <a:off x="5947551" y="1212594"/>
                <a:ext cx="609429" cy="403714"/>
              </a:xfrm>
              <a:custGeom>
                <a:avLst/>
                <a:gdLst>
                  <a:gd name="connsiteX0" fmla="*/ 260 w 609428"/>
                  <a:gd name="connsiteY0" fmla="*/ 351799 h 403714"/>
                  <a:gd name="connsiteX1" fmla="*/ 260 w 609428"/>
                  <a:gd name="connsiteY1" fmla="*/ 405402 h 403714"/>
                  <a:gd name="connsiteX2" fmla="*/ 609195 w 609428"/>
                  <a:gd name="connsiteY2" fmla="*/ 53863 h 403714"/>
                  <a:gd name="connsiteX3" fmla="*/ 609195 w 609428"/>
                  <a:gd name="connsiteY3" fmla="*/ 260 h 403714"/>
                  <a:gd name="connsiteX4" fmla="*/ 260 w 609428"/>
                  <a:gd name="connsiteY4" fmla="*/ 351799 h 4037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428" h="403714">
                    <a:moveTo>
                      <a:pt x="260" y="351799"/>
                    </a:moveTo>
                    <a:lnTo>
                      <a:pt x="260" y="405402"/>
                    </a:lnTo>
                    <a:lnTo>
                      <a:pt x="609195" y="53863"/>
                    </a:lnTo>
                    <a:lnTo>
                      <a:pt x="609195" y="260"/>
                    </a:lnTo>
                    <a:lnTo>
                      <a:pt x="260" y="351799"/>
                    </a:lnTo>
                  </a:path>
                </a:pathLst>
              </a:custGeom>
              <a:solidFill>
                <a:schemeClr val="bg2"/>
              </a:solidFill>
              <a:ln w="12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0" name="Freeform: Shape 819">
                <a:extLst>
                  <a:ext uri="{FF2B5EF4-FFF2-40B4-BE49-F238E27FC236}">
                    <a16:creationId xmlns:a16="http://schemas.microsoft.com/office/drawing/2014/main" id="{BAD19956-62FF-4AE1-A228-EDA47EEE7260}"/>
                  </a:ext>
                </a:extLst>
              </p:cNvPr>
              <p:cNvSpPr/>
              <p:nvPr/>
            </p:nvSpPr>
            <p:spPr>
              <a:xfrm>
                <a:off x="5947534" y="1157041"/>
                <a:ext cx="609429" cy="406286"/>
              </a:xfrm>
              <a:custGeom>
                <a:avLst/>
                <a:gdLst>
                  <a:gd name="connsiteX0" fmla="*/ 262 w 609428"/>
                  <a:gd name="connsiteY0" fmla="*/ 351799 h 406285"/>
                  <a:gd name="connsiteX1" fmla="*/ 262 w 609428"/>
                  <a:gd name="connsiteY1" fmla="*/ 407364 h 406285"/>
                  <a:gd name="connsiteX2" fmla="*/ 609204 w 609428"/>
                  <a:gd name="connsiteY2" fmla="*/ 55827 h 406285"/>
                  <a:gd name="connsiteX3" fmla="*/ 609204 w 609428"/>
                  <a:gd name="connsiteY3" fmla="*/ 262 h 406285"/>
                  <a:gd name="connsiteX4" fmla="*/ 262 w 609428"/>
                  <a:gd name="connsiteY4" fmla="*/ 351799 h 406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09428" h="406285">
                    <a:moveTo>
                      <a:pt x="262" y="351799"/>
                    </a:moveTo>
                    <a:lnTo>
                      <a:pt x="262" y="407364"/>
                    </a:lnTo>
                    <a:lnTo>
                      <a:pt x="609204" y="55827"/>
                    </a:lnTo>
                    <a:lnTo>
                      <a:pt x="609204" y="262"/>
                    </a:lnTo>
                    <a:lnTo>
                      <a:pt x="262" y="351799"/>
                    </a:lnTo>
                  </a:path>
                </a:pathLst>
              </a:custGeom>
              <a:solidFill>
                <a:schemeClr val="bg2"/>
              </a:solidFill>
              <a:ln w="12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1" name="Freeform: Shape 820">
                <a:extLst>
                  <a:ext uri="{FF2B5EF4-FFF2-40B4-BE49-F238E27FC236}">
                    <a16:creationId xmlns:a16="http://schemas.microsoft.com/office/drawing/2014/main" id="{F9773A40-516C-40CA-BFE7-EA8F14484E8D}"/>
                  </a:ext>
                </a:extLst>
              </p:cNvPr>
              <p:cNvSpPr/>
              <p:nvPr/>
            </p:nvSpPr>
            <p:spPr>
              <a:xfrm>
                <a:off x="6012480" y="1194451"/>
                <a:ext cx="192857" cy="110571"/>
              </a:xfrm>
              <a:custGeom>
                <a:avLst/>
                <a:gdLst>
                  <a:gd name="connsiteX0" fmla="*/ 28497 w 192857"/>
                  <a:gd name="connsiteY0" fmla="*/ 16586 h 110571"/>
                  <a:gd name="connsiteX1" fmla="*/ 28497 w 192857"/>
                  <a:gd name="connsiteY1" fmla="*/ 95380 h 110571"/>
                  <a:gd name="connsiteX2" fmla="*/ 165020 w 192857"/>
                  <a:gd name="connsiteY2" fmla="*/ 95380 h 110571"/>
                  <a:gd name="connsiteX3" fmla="*/ 165020 w 192857"/>
                  <a:gd name="connsiteY3" fmla="*/ 16586 h 110571"/>
                  <a:gd name="connsiteX4" fmla="*/ 28497 w 192857"/>
                  <a:gd name="connsiteY4" fmla="*/ 16586 h 110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857" h="110571">
                    <a:moveTo>
                      <a:pt x="28497" y="16586"/>
                    </a:moveTo>
                    <a:cubicBezTo>
                      <a:pt x="-9151" y="38319"/>
                      <a:pt x="-9151" y="73648"/>
                      <a:pt x="28497" y="95380"/>
                    </a:cubicBezTo>
                    <a:cubicBezTo>
                      <a:pt x="66232" y="117183"/>
                      <a:pt x="127361" y="117183"/>
                      <a:pt x="165020" y="95380"/>
                    </a:cubicBezTo>
                    <a:cubicBezTo>
                      <a:pt x="202678" y="73648"/>
                      <a:pt x="202678" y="38319"/>
                      <a:pt x="165020" y="16586"/>
                    </a:cubicBezTo>
                    <a:cubicBezTo>
                      <a:pt x="127361" y="-5181"/>
                      <a:pt x="66232" y="-5181"/>
                      <a:pt x="28497" y="16586"/>
                    </a:cubicBezTo>
                  </a:path>
                </a:pathLst>
              </a:custGeom>
              <a:solidFill>
                <a:srgbClr val="E4E4EF"/>
              </a:solidFill>
              <a:ln w="128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2" name="Freeform: Shape 821">
                <a:extLst>
                  <a:ext uri="{FF2B5EF4-FFF2-40B4-BE49-F238E27FC236}">
                    <a16:creationId xmlns:a16="http://schemas.microsoft.com/office/drawing/2014/main" id="{B75B08B1-41C9-4FDE-AFD2-22A070EDFDA5}"/>
                  </a:ext>
                </a:extLst>
              </p:cNvPr>
              <p:cNvSpPr/>
              <p:nvPr/>
            </p:nvSpPr>
            <p:spPr>
              <a:xfrm>
                <a:off x="6198461" y="1034663"/>
                <a:ext cx="141429" cy="56571"/>
              </a:xfrm>
              <a:custGeom>
                <a:avLst/>
                <a:gdLst>
                  <a:gd name="connsiteX0" fmla="*/ 10566 w 141428"/>
                  <a:gd name="connsiteY0" fmla="*/ 56458 h 56571"/>
                  <a:gd name="connsiteX1" fmla="*/ 1653 w 141428"/>
                  <a:gd name="connsiteY1" fmla="*/ 51315 h 56571"/>
                  <a:gd name="connsiteX2" fmla="*/ 5422 w 141428"/>
                  <a:gd name="connsiteY2" fmla="*/ 37240 h 56571"/>
                  <a:gd name="connsiteX3" fmla="*/ 67060 w 141428"/>
                  <a:gd name="connsiteY3" fmla="*/ 1661 h 56571"/>
                  <a:gd name="connsiteX4" fmla="*/ 77348 w 141428"/>
                  <a:gd name="connsiteY4" fmla="*/ 1661 h 56571"/>
                  <a:gd name="connsiteX5" fmla="*/ 137861 w 141428"/>
                  <a:gd name="connsiteY5" fmla="*/ 36669 h 56571"/>
                  <a:gd name="connsiteX6" fmla="*/ 141648 w 141428"/>
                  <a:gd name="connsiteY6" fmla="*/ 50707 h 56571"/>
                  <a:gd name="connsiteX7" fmla="*/ 127573 w 141428"/>
                  <a:gd name="connsiteY7" fmla="*/ 54458 h 56571"/>
                  <a:gd name="connsiteX8" fmla="*/ 72204 w 141428"/>
                  <a:gd name="connsiteY8" fmla="*/ 22415 h 56571"/>
                  <a:gd name="connsiteX9" fmla="*/ 15707 w 141428"/>
                  <a:gd name="connsiteY9" fmla="*/ 55065 h 56571"/>
                  <a:gd name="connsiteX10" fmla="*/ 10566 w 141428"/>
                  <a:gd name="connsiteY10" fmla="*/ 56458 h 56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1428" h="56571">
                    <a:moveTo>
                      <a:pt x="10566" y="56458"/>
                    </a:moveTo>
                    <a:cubicBezTo>
                      <a:pt x="7001" y="56458"/>
                      <a:pt x="3536" y="54601"/>
                      <a:pt x="1653" y="51315"/>
                    </a:cubicBezTo>
                    <a:cubicBezTo>
                      <a:pt x="-1194" y="46385"/>
                      <a:pt x="485" y="40098"/>
                      <a:pt x="5422" y="37240"/>
                    </a:cubicBezTo>
                    <a:lnTo>
                      <a:pt x="67060" y="1661"/>
                    </a:lnTo>
                    <a:cubicBezTo>
                      <a:pt x="70239" y="-196"/>
                      <a:pt x="74169" y="-196"/>
                      <a:pt x="77348" y="1661"/>
                    </a:cubicBezTo>
                    <a:lnTo>
                      <a:pt x="137861" y="36669"/>
                    </a:lnTo>
                    <a:cubicBezTo>
                      <a:pt x="142791" y="39490"/>
                      <a:pt x="144470" y="45813"/>
                      <a:pt x="141648" y="50707"/>
                    </a:cubicBezTo>
                    <a:cubicBezTo>
                      <a:pt x="138790" y="55637"/>
                      <a:pt x="132503" y="57316"/>
                      <a:pt x="127573" y="54458"/>
                    </a:cubicBezTo>
                    <a:lnTo>
                      <a:pt x="72204" y="22415"/>
                    </a:lnTo>
                    <a:lnTo>
                      <a:pt x="15707" y="55065"/>
                    </a:lnTo>
                    <a:cubicBezTo>
                      <a:pt x="14063" y="55994"/>
                      <a:pt x="12313" y="56458"/>
                      <a:pt x="10566" y="56458"/>
                    </a:cubicBezTo>
                  </a:path>
                </a:pathLst>
              </a:custGeom>
              <a:solidFill>
                <a:srgbClr val="3A3A3A"/>
              </a:solidFill>
              <a:ln w="132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3" name="Freeform: Shape 822">
                <a:extLst>
                  <a:ext uri="{FF2B5EF4-FFF2-40B4-BE49-F238E27FC236}">
                    <a16:creationId xmlns:a16="http://schemas.microsoft.com/office/drawing/2014/main" id="{70967A3A-2FD8-4EBD-8186-D010B1962DE8}"/>
                  </a:ext>
                </a:extLst>
              </p:cNvPr>
              <p:cNvSpPr/>
              <p:nvPr/>
            </p:nvSpPr>
            <p:spPr>
              <a:xfrm>
                <a:off x="6392504" y="1111729"/>
                <a:ext cx="82286" cy="90000"/>
              </a:xfrm>
              <a:custGeom>
                <a:avLst/>
                <a:gdLst>
                  <a:gd name="connsiteX0" fmla="*/ 10537 w 82285"/>
                  <a:gd name="connsiteY0" fmla="*/ 91414 h 90000"/>
                  <a:gd name="connsiteX1" fmla="*/ 1653 w 82285"/>
                  <a:gd name="connsiteY1" fmla="*/ 86231 h 90000"/>
                  <a:gd name="connsiteX2" fmla="*/ 5425 w 82285"/>
                  <a:gd name="connsiteY2" fmla="*/ 72200 h 90000"/>
                  <a:gd name="connsiteX3" fmla="*/ 51645 w 82285"/>
                  <a:gd name="connsiteY3" fmla="*/ 45512 h 90000"/>
                  <a:gd name="connsiteX4" fmla="*/ 6518 w 82285"/>
                  <a:gd name="connsiteY4" fmla="*/ 19458 h 90000"/>
                  <a:gd name="connsiteX5" fmla="*/ 2746 w 82285"/>
                  <a:gd name="connsiteY5" fmla="*/ 5391 h 90000"/>
                  <a:gd name="connsiteX6" fmla="*/ 16777 w 82285"/>
                  <a:gd name="connsiteY6" fmla="*/ 1654 h 90000"/>
                  <a:gd name="connsiteX7" fmla="*/ 77346 w 82285"/>
                  <a:gd name="connsiteY7" fmla="*/ 36627 h 90000"/>
                  <a:gd name="connsiteX8" fmla="*/ 82493 w 82285"/>
                  <a:gd name="connsiteY8" fmla="*/ 45547 h 90000"/>
                  <a:gd name="connsiteX9" fmla="*/ 77346 w 82285"/>
                  <a:gd name="connsiteY9" fmla="*/ 54431 h 90000"/>
                  <a:gd name="connsiteX10" fmla="*/ 15684 w 82285"/>
                  <a:gd name="connsiteY10" fmla="*/ 90004 h 90000"/>
                  <a:gd name="connsiteX11" fmla="*/ 10537 w 82285"/>
                  <a:gd name="connsiteY11" fmla="*/ 91414 h 9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2285" h="90000">
                    <a:moveTo>
                      <a:pt x="10537" y="91414"/>
                    </a:moveTo>
                    <a:cubicBezTo>
                      <a:pt x="6976" y="91414"/>
                      <a:pt x="3521" y="89546"/>
                      <a:pt x="1653" y="86231"/>
                    </a:cubicBezTo>
                    <a:cubicBezTo>
                      <a:pt x="-1203" y="81331"/>
                      <a:pt x="489" y="75020"/>
                      <a:pt x="5425" y="72200"/>
                    </a:cubicBezTo>
                    <a:lnTo>
                      <a:pt x="51645" y="45512"/>
                    </a:lnTo>
                    <a:lnTo>
                      <a:pt x="6518" y="19458"/>
                    </a:lnTo>
                    <a:cubicBezTo>
                      <a:pt x="1582" y="16602"/>
                      <a:pt x="-110" y="10327"/>
                      <a:pt x="2746" y="5391"/>
                    </a:cubicBezTo>
                    <a:cubicBezTo>
                      <a:pt x="5566" y="490"/>
                      <a:pt x="11841" y="-1202"/>
                      <a:pt x="16777" y="1654"/>
                    </a:cubicBezTo>
                    <a:lnTo>
                      <a:pt x="77346" y="36627"/>
                    </a:lnTo>
                    <a:cubicBezTo>
                      <a:pt x="80519" y="38460"/>
                      <a:pt x="82493" y="41845"/>
                      <a:pt x="82493" y="45547"/>
                    </a:cubicBezTo>
                    <a:cubicBezTo>
                      <a:pt x="82493" y="49213"/>
                      <a:pt x="80519" y="52598"/>
                      <a:pt x="77346" y="54431"/>
                    </a:cubicBezTo>
                    <a:lnTo>
                      <a:pt x="15684" y="90004"/>
                    </a:lnTo>
                    <a:cubicBezTo>
                      <a:pt x="14062" y="90956"/>
                      <a:pt x="12300" y="91379"/>
                      <a:pt x="10537" y="91414"/>
                    </a:cubicBezTo>
                  </a:path>
                </a:pathLst>
              </a:custGeom>
              <a:solidFill>
                <a:srgbClr val="3A3A3A"/>
              </a:solidFill>
              <a:ln w="130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4" name="Freeform: Shape 823">
                <a:extLst>
                  <a:ext uri="{FF2B5EF4-FFF2-40B4-BE49-F238E27FC236}">
                    <a16:creationId xmlns:a16="http://schemas.microsoft.com/office/drawing/2014/main" id="{AE98E36A-6BF0-43C0-B2EF-EDB345CC3893}"/>
                  </a:ext>
                </a:extLst>
              </p:cNvPr>
              <p:cNvSpPr/>
              <p:nvPr/>
            </p:nvSpPr>
            <p:spPr>
              <a:xfrm>
                <a:off x="5743244" y="1297719"/>
                <a:ext cx="82286" cy="90000"/>
              </a:xfrm>
              <a:custGeom>
                <a:avLst/>
                <a:gdLst>
                  <a:gd name="connsiteX0" fmla="*/ 71060 w 82285"/>
                  <a:gd name="connsiteY0" fmla="*/ 91162 h 90000"/>
                  <a:gd name="connsiteX1" fmla="*/ 65928 w 82285"/>
                  <a:gd name="connsiteY1" fmla="*/ 89790 h 90000"/>
                  <a:gd name="connsiteX2" fmla="*/ 5400 w 82285"/>
                  <a:gd name="connsiteY2" fmla="*/ 54853 h 90000"/>
                  <a:gd name="connsiteX3" fmla="*/ 257 w 82285"/>
                  <a:gd name="connsiteY3" fmla="*/ 45939 h 90000"/>
                  <a:gd name="connsiteX4" fmla="*/ 5403 w 82285"/>
                  <a:gd name="connsiteY4" fmla="*/ 37024 h 90000"/>
                  <a:gd name="connsiteX5" fmla="*/ 66747 w 82285"/>
                  <a:gd name="connsiteY5" fmla="*/ 1641 h 90000"/>
                  <a:gd name="connsiteX6" fmla="*/ 80798 w 82285"/>
                  <a:gd name="connsiteY6" fmla="*/ 5413 h 90000"/>
                  <a:gd name="connsiteX7" fmla="*/ 77026 w 82285"/>
                  <a:gd name="connsiteY7" fmla="*/ 19470 h 90000"/>
                  <a:gd name="connsiteX8" fmla="*/ 31118 w 82285"/>
                  <a:gd name="connsiteY8" fmla="*/ 45939 h 90000"/>
                  <a:gd name="connsiteX9" fmla="*/ 76214 w 82285"/>
                  <a:gd name="connsiteY9" fmla="*/ 71962 h 90000"/>
                  <a:gd name="connsiteX10" fmla="*/ 79975 w 82285"/>
                  <a:gd name="connsiteY10" fmla="*/ 86019 h 90000"/>
                  <a:gd name="connsiteX11" fmla="*/ 71060 w 82285"/>
                  <a:gd name="connsiteY11" fmla="*/ 91162 h 9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2285" h="90000">
                    <a:moveTo>
                      <a:pt x="71060" y="91162"/>
                    </a:moveTo>
                    <a:cubicBezTo>
                      <a:pt x="69315" y="91162"/>
                      <a:pt x="67546" y="90716"/>
                      <a:pt x="65928" y="89790"/>
                    </a:cubicBezTo>
                    <a:lnTo>
                      <a:pt x="5400" y="54853"/>
                    </a:lnTo>
                    <a:cubicBezTo>
                      <a:pt x="2218" y="53001"/>
                      <a:pt x="257" y="49607"/>
                      <a:pt x="257" y="45939"/>
                    </a:cubicBezTo>
                    <a:cubicBezTo>
                      <a:pt x="257" y="42270"/>
                      <a:pt x="2222" y="38876"/>
                      <a:pt x="5403" y="37024"/>
                    </a:cubicBezTo>
                    <a:lnTo>
                      <a:pt x="66747" y="1641"/>
                    </a:lnTo>
                    <a:cubicBezTo>
                      <a:pt x="71668" y="-1204"/>
                      <a:pt x="77966" y="476"/>
                      <a:pt x="80798" y="5413"/>
                    </a:cubicBezTo>
                    <a:cubicBezTo>
                      <a:pt x="83637" y="10316"/>
                      <a:pt x="81950" y="16624"/>
                      <a:pt x="77026" y="19470"/>
                    </a:cubicBezTo>
                    <a:lnTo>
                      <a:pt x="31118" y="45939"/>
                    </a:lnTo>
                    <a:lnTo>
                      <a:pt x="76214" y="71962"/>
                    </a:lnTo>
                    <a:cubicBezTo>
                      <a:pt x="81130" y="74807"/>
                      <a:pt x="82821" y="81116"/>
                      <a:pt x="79975" y="86019"/>
                    </a:cubicBezTo>
                    <a:cubicBezTo>
                      <a:pt x="78072" y="89344"/>
                      <a:pt x="74616" y="91162"/>
                      <a:pt x="71060" y="91162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5" name="Freeform: Shape 824">
                <a:extLst>
                  <a:ext uri="{FF2B5EF4-FFF2-40B4-BE49-F238E27FC236}">
                    <a16:creationId xmlns:a16="http://schemas.microsoft.com/office/drawing/2014/main" id="{6C40995E-B5C8-4350-BC7C-3A594F5CA99E}"/>
                  </a:ext>
                </a:extLst>
              </p:cNvPr>
              <p:cNvSpPr/>
              <p:nvPr/>
            </p:nvSpPr>
            <p:spPr>
              <a:xfrm>
                <a:off x="5876707" y="1409738"/>
                <a:ext cx="141429" cy="54000"/>
              </a:xfrm>
              <a:custGeom>
                <a:avLst/>
                <a:gdLst>
                  <a:gd name="connsiteX0" fmla="*/ 71103 w 141428"/>
                  <a:gd name="connsiteY0" fmla="*/ 56217 h 54000"/>
                  <a:gd name="connsiteX1" fmla="*/ 65961 w 141428"/>
                  <a:gd name="connsiteY1" fmla="*/ 54845 h 54000"/>
                  <a:gd name="connsiteX2" fmla="*/ 5405 w 141428"/>
                  <a:gd name="connsiteY2" fmla="*/ 19908 h 54000"/>
                  <a:gd name="connsiteX3" fmla="*/ 1637 w 141428"/>
                  <a:gd name="connsiteY3" fmla="*/ 5851 h 54000"/>
                  <a:gd name="connsiteX4" fmla="*/ 15684 w 141428"/>
                  <a:gd name="connsiteY4" fmla="*/ 2080 h 54000"/>
                  <a:gd name="connsiteX5" fmla="*/ 71107 w 141428"/>
                  <a:gd name="connsiteY5" fmla="*/ 34068 h 54000"/>
                  <a:gd name="connsiteX6" fmla="*/ 127342 w 141428"/>
                  <a:gd name="connsiteY6" fmla="*/ 1634 h 54000"/>
                  <a:gd name="connsiteX7" fmla="*/ 141386 w 141428"/>
                  <a:gd name="connsiteY7" fmla="*/ 5405 h 54000"/>
                  <a:gd name="connsiteX8" fmla="*/ 137614 w 141428"/>
                  <a:gd name="connsiteY8" fmla="*/ 19462 h 54000"/>
                  <a:gd name="connsiteX9" fmla="*/ 76239 w 141428"/>
                  <a:gd name="connsiteY9" fmla="*/ 54845 h 54000"/>
                  <a:gd name="connsiteX10" fmla="*/ 71103 w 141428"/>
                  <a:gd name="connsiteY10" fmla="*/ 56217 h 5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1428" h="54000">
                    <a:moveTo>
                      <a:pt x="71103" y="56217"/>
                    </a:moveTo>
                    <a:cubicBezTo>
                      <a:pt x="69331" y="56217"/>
                      <a:pt x="67555" y="55771"/>
                      <a:pt x="65961" y="54845"/>
                    </a:cubicBezTo>
                    <a:lnTo>
                      <a:pt x="5405" y="19908"/>
                    </a:lnTo>
                    <a:cubicBezTo>
                      <a:pt x="485" y="17062"/>
                      <a:pt x="-1205" y="10754"/>
                      <a:pt x="1637" y="5851"/>
                    </a:cubicBezTo>
                    <a:cubicBezTo>
                      <a:pt x="4479" y="948"/>
                      <a:pt x="10778" y="-732"/>
                      <a:pt x="15684" y="2080"/>
                    </a:cubicBezTo>
                    <a:lnTo>
                      <a:pt x="71107" y="34068"/>
                    </a:lnTo>
                    <a:lnTo>
                      <a:pt x="127342" y="1634"/>
                    </a:lnTo>
                    <a:cubicBezTo>
                      <a:pt x="132262" y="-1212"/>
                      <a:pt x="138554" y="503"/>
                      <a:pt x="141386" y="5405"/>
                    </a:cubicBezTo>
                    <a:cubicBezTo>
                      <a:pt x="144224" y="10343"/>
                      <a:pt x="142534" y="16617"/>
                      <a:pt x="137614" y="19462"/>
                    </a:cubicBezTo>
                    <a:lnTo>
                      <a:pt x="76239" y="54845"/>
                    </a:lnTo>
                    <a:cubicBezTo>
                      <a:pt x="74652" y="55771"/>
                      <a:pt x="72879" y="56217"/>
                      <a:pt x="71103" y="56217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6" name="Freeform: Shape 825">
                <a:extLst>
                  <a:ext uri="{FF2B5EF4-FFF2-40B4-BE49-F238E27FC236}">
                    <a16:creationId xmlns:a16="http://schemas.microsoft.com/office/drawing/2014/main" id="{6C798E58-2A54-4427-BB55-203565B42C2C}"/>
                  </a:ext>
                </a:extLst>
              </p:cNvPr>
              <p:cNvSpPr/>
              <p:nvPr/>
            </p:nvSpPr>
            <p:spPr>
              <a:xfrm>
                <a:off x="6002184" y="1184060"/>
                <a:ext cx="213429" cy="131143"/>
              </a:xfrm>
              <a:custGeom>
                <a:avLst/>
                <a:gdLst>
                  <a:gd name="connsiteX0" fmla="*/ 107067 w 213428"/>
                  <a:gd name="connsiteY0" fmla="*/ 20825 h 131142"/>
                  <a:gd name="connsiteX1" fmla="*/ 43925 w 213428"/>
                  <a:gd name="connsiteY1" fmla="*/ 35911 h 131142"/>
                  <a:gd name="connsiteX2" fmla="*/ 20834 w 213428"/>
                  <a:gd name="connsiteY2" fmla="*/ 66395 h 131142"/>
                  <a:gd name="connsiteX3" fmla="*/ 43925 w 213428"/>
                  <a:gd name="connsiteY3" fmla="*/ 96879 h 131142"/>
                  <a:gd name="connsiteX4" fmla="*/ 43925 w 213428"/>
                  <a:gd name="connsiteY4" fmla="*/ 96879 h 131142"/>
                  <a:gd name="connsiteX5" fmla="*/ 170116 w 213428"/>
                  <a:gd name="connsiteY5" fmla="*/ 96879 h 131142"/>
                  <a:gd name="connsiteX6" fmla="*/ 193249 w 213428"/>
                  <a:gd name="connsiteY6" fmla="*/ 66395 h 131142"/>
                  <a:gd name="connsiteX7" fmla="*/ 170150 w 213428"/>
                  <a:gd name="connsiteY7" fmla="*/ 35911 h 131142"/>
                  <a:gd name="connsiteX8" fmla="*/ 107067 w 213428"/>
                  <a:gd name="connsiteY8" fmla="*/ 20825 h 131142"/>
                  <a:gd name="connsiteX9" fmla="*/ 107067 w 213428"/>
                  <a:gd name="connsiteY9" fmla="*/ 132554 h 131142"/>
                  <a:gd name="connsiteX10" fmla="*/ 33644 w 213428"/>
                  <a:gd name="connsiteY10" fmla="*/ 114682 h 131142"/>
                  <a:gd name="connsiteX11" fmla="*/ 261 w 213428"/>
                  <a:gd name="connsiteY11" fmla="*/ 66395 h 131142"/>
                  <a:gd name="connsiteX12" fmla="*/ 33644 w 213428"/>
                  <a:gd name="connsiteY12" fmla="*/ 18108 h 131142"/>
                  <a:gd name="connsiteX13" fmla="*/ 180428 w 213428"/>
                  <a:gd name="connsiteY13" fmla="*/ 18108 h 131142"/>
                  <a:gd name="connsiteX14" fmla="*/ 213839 w 213428"/>
                  <a:gd name="connsiteY14" fmla="*/ 66395 h 131142"/>
                  <a:gd name="connsiteX15" fmla="*/ 180428 w 213428"/>
                  <a:gd name="connsiteY15" fmla="*/ 114682 h 131142"/>
                  <a:gd name="connsiteX16" fmla="*/ 107067 w 213428"/>
                  <a:gd name="connsiteY16" fmla="*/ 132554 h 131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13428" h="131142">
                    <a:moveTo>
                      <a:pt x="107067" y="20825"/>
                    </a:moveTo>
                    <a:cubicBezTo>
                      <a:pt x="84213" y="20825"/>
                      <a:pt x="61345" y="25877"/>
                      <a:pt x="43925" y="35911"/>
                    </a:cubicBezTo>
                    <a:cubicBezTo>
                      <a:pt x="29031" y="44516"/>
                      <a:pt x="20834" y="55316"/>
                      <a:pt x="20834" y="66395"/>
                    </a:cubicBezTo>
                    <a:cubicBezTo>
                      <a:pt x="20834" y="77438"/>
                      <a:pt x="29035" y="88274"/>
                      <a:pt x="43925" y="96879"/>
                    </a:cubicBezTo>
                    <a:lnTo>
                      <a:pt x="43925" y="96879"/>
                    </a:lnTo>
                    <a:cubicBezTo>
                      <a:pt x="78768" y="117016"/>
                      <a:pt x="135385" y="117016"/>
                      <a:pt x="170116" y="96879"/>
                    </a:cubicBezTo>
                    <a:cubicBezTo>
                      <a:pt x="185062" y="88274"/>
                      <a:pt x="193249" y="77438"/>
                      <a:pt x="193249" y="66395"/>
                    </a:cubicBezTo>
                    <a:cubicBezTo>
                      <a:pt x="193249" y="55351"/>
                      <a:pt x="185062" y="44516"/>
                      <a:pt x="170150" y="35911"/>
                    </a:cubicBezTo>
                    <a:cubicBezTo>
                      <a:pt x="152766" y="25877"/>
                      <a:pt x="129936" y="20825"/>
                      <a:pt x="107067" y="20825"/>
                    </a:cubicBezTo>
                    <a:close/>
                    <a:moveTo>
                      <a:pt x="107067" y="132554"/>
                    </a:moveTo>
                    <a:cubicBezTo>
                      <a:pt x="80666" y="132554"/>
                      <a:pt x="54251" y="126597"/>
                      <a:pt x="33644" y="114682"/>
                    </a:cubicBezTo>
                    <a:cubicBezTo>
                      <a:pt x="12121" y="102244"/>
                      <a:pt x="261" y="85103"/>
                      <a:pt x="261" y="66395"/>
                    </a:cubicBezTo>
                    <a:cubicBezTo>
                      <a:pt x="261" y="47686"/>
                      <a:pt x="12117" y="30510"/>
                      <a:pt x="33644" y="18108"/>
                    </a:cubicBezTo>
                    <a:cubicBezTo>
                      <a:pt x="74852" y="-5687"/>
                      <a:pt x="139328" y="-5687"/>
                      <a:pt x="180428" y="18108"/>
                    </a:cubicBezTo>
                    <a:cubicBezTo>
                      <a:pt x="201959" y="30510"/>
                      <a:pt x="213839" y="47686"/>
                      <a:pt x="213839" y="66395"/>
                    </a:cubicBezTo>
                    <a:cubicBezTo>
                      <a:pt x="213839" y="85103"/>
                      <a:pt x="201959" y="102279"/>
                      <a:pt x="180428" y="114682"/>
                    </a:cubicBezTo>
                    <a:cubicBezTo>
                      <a:pt x="159873" y="126597"/>
                      <a:pt x="133500" y="132554"/>
                      <a:pt x="107067" y="132554"/>
                    </a:cubicBezTo>
                  </a:path>
                </a:pathLst>
              </a:custGeom>
              <a:solidFill>
                <a:srgbClr val="3A3A3A"/>
              </a:solidFill>
              <a:ln w="12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7" name="Freeform: Shape 826">
                <a:extLst>
                  <a:ext uri="{FF2B5EF4-FFF2-40B4-BE49-F238E27FC236}">
                    <a16:creationId xmlns:a16="http://schemas.microsoft.com/office/drawing/2014/main" id="{9F92A175-34CB-40FE-9D6C-8BC6C2495A50}"/>
                  </a:ext>
                </a:extLst>
              </p:cNvPr>
              <p:cNvSpPr/>
              <p:nvPr/>
            </p:nvSpPr>
            <p:spPr>
              <a:xfrm>
                <a:off x="5651205" y="981564"/>
                <a:ext cx="915429" cy="537429"/>
              </a:xfrm>
              <a:custGeom>
                <a:avLst/>
                <a:gdLst>
                  <a:gd name="connsiteX0" fmla="*/ 31127 w 915428"/>
                  <a:gd name="connsiteY0" fmla="*/ 362090 h 537428"/>
                  <a:gd name="connsiteX1" fmla="*/ 296604 w 915428"/>
                  <a:gd name="connsiteY1" fmla="*/ 515364 h 537428"/>
                  <a:gd name="connsiteX2" fmla="*/ 884970 w 915428"/>
                  <a:gd name="connsiteY2" fmla="*/ 175723 h 537428"/>
                  <a:gd name="connsiteX3" fmla="*/ 619461 w 915428"/>
                  <a:gd name="connsiteY3" fmla="*/ 22449 h 537428"/>
                  <a:gd name="connsiteX4" fmla="*/ 296604 w 915428"/>
                  <a:gd name="connsiteY4" fmla="*/ 537534 h 537428"/>
                  <a:gd name="connsiteX5" fmla="*/ 291463 w 915428"/>
                  <a:gd name="connsiteY5" fmla="*/ 536164 h 537428"/>
                  <a:gd name="connsiteX6" fmla="*/ 5411 w 915428"/>
                  <a:gd name="connsiteY6" fmla="*/ 370994 h 537428"/>
                  <a:gd name="connsiteX7" fmla="*/ 270 w 915428"/>
                  <a:gd name="connsiteY7" fmla="*/ 362090 h 537428"/>
                  <a:gd name="connsiteX8" fmla="*/ 5411 w 915428"/>
                  <a:gd name="connsiteY8" fmla="*/ 353186 h 537428"/>
                  <a:gd name="connsiteX9" fmla="*/ 614321 w 915428"/>
                  <a:gd name="connsiteY9" fmla="*/ 1649 h 537428"/>
                  <a:gd name="connsiteX10" fmla="*/ 624598 w 915428"/>
                  <a:gd name="connsiteY10" fmla="*/ 1649 h 537428"/>
                  <a:gd name="connsiteX11" fmla="*/ 910672 w 915428"/>
                  <a:gd name="connsiteY11" fmla="*/ 166820 h 537428"/>
                  <a:gd name="connsiteX12" fmla="*/ 915827 w 915428"/>
                  <a:gd name="connsiteY12" fmla="*/ 175723 h 537428"/>
                  <a:gd name="connsiteX13" fmla="*/ 910672 w 915428"/>
                  <a:gd name="connsiteY13" fmla="*/ 184627 h 537428"/>
                  <a:gd name="connsiteX14" fmla="*/ 301748 w 915428"/>
                  <a:gd name="connsiteY14" fmla="*/ 536164 h 537428"/>
                  <a:gd name="connsiteX15" fmla="*/ 296604 w 915428"/>
                  <a:gd name="connsiteY15" fmla="*/ 537534 h 53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915428" h="537428">
                    <a:moveTo>
                      <a:pt x="31127" y="362090"/>
                    </a:moveTo>
                    <a:lnTo>
                      <a:pt x="296604" y="515364"/>
                    </a:lnTo>
                    <a:lnTo>
                      <a:pt x="884970" y="175723"/>
                    </a:lnTo>
                    <a:lnTo>
                      <a:pt x="619461" y="22449"/>
                    </a:lnTo>
                    <a:close/>
                    <a:moveTo>
                      <a:pt x="296604" y="537534"/>
                    </a:moveTo>
                    <a:cubicBezTo>
                      <a:pt x="294830" y="537534"/>
                      <a:pt x="293053" y="537065"/>
                      <a:pt x="291463" y="536164"/>
                    </a:cubicBezTo>
                    <a:lnTo>
                      <a:pt x="5411" y="370994"/>
                    </a:lnTo>
                    <a:cubicBezTo>
                      <a:pt x="2232" y="369155"/>
                      <a:pt x="270" y="365767"/>
                      <a:pt x="270" y="362090"/>
                    </a:cubicBezTo>
                    <a:cubicBezTo>
                      <a:pt x="270" y="358413"/>
                      <a:pt x="2232" y="355025"/>
                      <a:pt x="5411" y="353186"/>
                    </a:cubicBezTo>
                    <a:lnTo>
                      <a:pt x="614321" y="1649"/>
                    </a:lnTo>
                    <a:cubicBezTo>
                      <a:pt x="617507" y="-189"/>
                      <a:pt x="621426" y="-189"/>
                      <a:pt x="624598" y="1649"/>
                    </a:cubicBezTo>
                    <a:lnTo>
                      <a:pt x="910672" y="166820"/>
                    </a:lnTo>
                    <a:cubicBezTo>
                      <a:pt x="913880" y="168658"/>
                      <a:pt x="915827" y="172046"/>
                      <a:pt x="915827" y="175723"/>
                    </a:cubicBezTo>
                    <a:cubicBezTo>
                      <a:pt x="915827" y="179400"/>
                      <a:pt x="913880" y="182789"/>
                      <a:pt x="910672" y="184627"/>
                    </a:cubicBezTo>
                    <a:lnTo>
                      <a:pt x="301748" y="536164"/>
                    </a:lnTo>
                    <a:cubicBezTo>
                      <a:pt x="300158" y="537065"/>
                      <a:pt x="298381" y="537534"/>
                      <a:pt x="296604" y="537534"/>
                    </a:cubicBezTo>
                  </a:path>
                </a:pathLst>
              </a:custGeom>
              <a:solidFill>
                <a:srgbClr val="3A3A3A"/>
              </a:solidFill>
              <a:ln w="133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8" name="Freeform: Shape 827">
                <a:extLst>
                  <a:ext uri="{FF2B5EF4-FFF2-40B4-BE49-F238E27FC236}">
                    <a16:creationId xmlns:a16="http://schemas.microsoft.com/office/drawing/2014/main" id="{684153E9-7D82-4DF1-B77C-908882030380}"/>
                  </a:ext>
                </a:extLst>
              </p:cNvPr>
              <p:cNvSpPr/>
              <p:nvPr/>
            </p:nvSpPr>
            <p:spPr>
              <a:xfrm>
                <a:off x="5651198" y="1146757"/>
                <a:ext cx="915429" cy="534857"/>
              </a:xfrm>
              <a:custGeom>
                <a:avLst/>
                <a:gdLst>
                  <a:gd name="connsiteX0" fmla="*/ 296597 w 915428"/>
                  <a:gd name="connsiteY0" fmla="*/ 536734 h 534857"/>
                  <a:gd name="connsiteX1" fmla="*/ 291455 w 915428"/>
                  <a:gd name="connsiteY1" fmla="*/ 535368 h 534857"/>
                  <a:gd name="connsiteX2" fmla="*/ 5405 w 915428"/>
                  <a:gd name="connsiteY2" fmla="*/ 370195 h 534857"/>
                  <a:gd name="connsiteX3" fmla="*/ 263 w 915428"/>
                  <a:gd name="connsiteY3" fmla="*/ 361297 h 534857"/>
                  <a:gd name="connsiteX4" fmla="*/ 263 w 915428"/>
                  <a:gd name="connsiteY4" fmla="*/ 196929 h 534857"/>
                  <a:gd name="connsiteX5" fmla="*/ 10548 w 915428"/>
                  <a:gd name="connsiteY5" fmla="*/ 186630 h 534857"/>
                  <a:gd name="connsiteX6" fmla="*/ 20833 w 915428"/>
                  <a:gd name="connsiteY6" fmla="*/ 196929 h 534857"/>
                  <a:gd name="connsiteX7" fmla="*/ 20833 w 915428"/>
                  <a:gd name="connsiteY7" fmla="*/ 355341 h 534857"/>
                  <a:gd name="connsiteX8" fmla="*/ 296597 w 915428"/>
                  <a:gd name="connsiteY8" fmla="*/ 514559 h 534857"/>
                  <a:gd name="connsiteX9" fmla="*/ 895253 w 915428"/>
                  <a:gd name="connsiteY9" fmla="*/ 168974 h 534857"/>
                  <a:gd name="connsiteX10" fmla="*/ 895253 w 915428"/>
                  <a:gd name="connsiteY10" fmla="*/ 10562 h 534857"/>
                  <a:gd name="connsiteX11" fmla="*/ 905517 w 915428"/>
                  <a:gd name="connsiteY11" fmla="*/ 263 h 534857"/>
                  <a:gd name="connsiteX12" fmla="*/ 915816 w 915428"/>
                  <a:gd name="connsiteY12" fmla="*/ 10562 h 534857"/>
                  <a:gd name="connsiteX13" fmla="*/ 915816 w 915428"/>
                  <a:gd name="connsiteY13" fmla="*/ 174929 h 534857"/>
                  <a:gd name="connsiteX14" fmla="*/ 910667 w 915428"/>
                  <a:gd name="connsiteY14" fmla="*/ 183827 h 534857"/>
                  <a:gd name="connsiteX15" fmla="*/ 301740 w 915428"/>
                  <a:gd name="connsiteY15" fmla="*/ 535368 h 534857"/>
                  <a:gd name="connsiteX16" fmla="*/ 296597 w 915428"/>
                  <a:gd name="connsiteY16" fmla="*/ 536734 h 534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915428" h="534857">
                    <a:moveTo>
                      <a:pt x="296597" y="536734"/>
                    </a:moveTo>
                    <a:cubicBezTo>
                      <a:pt x="294825" y="536734"/>
                      <a:pt x="293045" y="536279"/>
                      <a:pt x="291455" y="535368"/>
                    </a:cubicBezTo>
                    <a:lnTo>
                      <a:pt x="5405" y="370195"/>
                    </a:lnTo>
                    <a:cubicBezTo>
                      <a:pt x="2225" y="368373"/>
                      <a:pt x="263" y="364975"/>
                      <a:pt x="263" y="361297"/>
                    </a:cubicBezTo>
                    <a:lnTo>
                      <a:pt x="263" y="196929"/>
                    </a:lnTo>
                    <a:cubicBezTo>
                      <a:pt x="263" y="191254"/>
                      <a:pt x="4866" y="186630"/>
                      <a:pt x="10548" y="186630"/>
                    </a:cubicBezTo>
                    <a:cubicBezTo>
                      <a:pt x="16230" y="186630"/>
                      <a:pt x="20833" y="191254"/>
                      <a:pt x="20833" y="196929"/>
                    </a:cubicBezTo>
                    <a:lnTo>
                      <a:pt x="20833" y="355341"/>
                    </a:lnTo>
                    <a:lnTo>
                      <a:pt x="296597" y="514559"/>
                    </a:lnTo>
                    <a:lnTo>
                      <a:pt x="895253" y="168974"/>
                    </a:lnTo>
                    <a:lnTo>
                      <a:pt x="895253" y="10562"/>
                    </a:lnTo>
                    <a:cubicBezTo>
                      <a:pt x="895253" y="4852"/>
                      <a:pt x="899842" y="263"/>
                      <a:pt x="905517" y="263"/>
                    </a:cubicBezTo>
                    <a:cubicBezTo>
                      <a:pt x="911192" y="263"/>
                      <a:pt x="915816" y="4852"/>
                      <a:pt x="915816" y="10562"/>
                    </a:cubicBezTo>
                    <a:lnTo>
                      <a:pt x="915816" y="174929"/>
                    </a:lnTo>
                    <a:cubicBezTo>
                      <a:pt x="915816" y="178608"/>
                      <a:pt x="913854" y="182006"/>
                      <a:pt x="910667" y="183827"/>
                    </a:cubicBezTo>
                    <a:lnTo>
                      <a:pt x="301740" y="535368"/>
                    </a:lnTo>
                    <a:cubicBezTo>
                      <a:pt x="300149" y="536279"/>
                      <a:pt x="298373" y="536734"/>
                      <a:pt x="296597" y="536734"/>
                    </a:cubicBezTo>
                  </a:path>
                </a:pathLst>
              </a:custGeom>
              <a:solidFill>
                <a:srgbClr val="3A3A3A"/>
              </a:solidFill>
              <a:ln w="129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29" name="Freeform: Shape 828">
                <a:extLst>
                  <a:ext uri="{FF2B5EF4-FFF2-40B4-BE49-F238E27FC236}">
                    <a16:creationId xmlns:a16="http://schemas.microsoft.com/office/drawing/2014/main" id="{78B04D46-19ED-4D49-BE45-4F87852F0473}"/>
                  </a:ext>
                </a:extLst>
              </p:cNvPr>
              <p:cNvSpPr/>
              <p:nvPr/>
            </p:nvSpPr>
            <p:spPr>
              <a:xfrm>
                <a:off x="5651213" y="1255908"/>
                <a:ext cx="915429" cy="370286"/>
              </a:xfrm>
              <a:custGeom>
                <a:avLst/>
                <a:gdLst>
                  <a:gd name="connsiteX0" fmla="*/ 296598 w 915428"/>
                  <a:gd name="connsiteY0" fmla="*/ 372345 h 370285"/>
                  <a:gd name="connsiteX1" fmla="*/ 291452 w 915428"/>
                  <a:gd name="connsiteY1" fmla="*/ 370971 h 370285"/>
                  <a:gd name="connsiteX2" fmla="*/ 5402 w 915428"/>
                  <a:gd name="connsiteY2" fmla="*/ 205819 h 370285"/>
                  <a:gd name="connsiteX3" fmla="*/ 1639 w 915428"/>
                  <a:gd name="connsiteY3" fmla="*/ 191762 h 370285"/>
                  <a:gd name="connsiteX4" fmla="*/ 15689 w 915428"/>
                  <a:gd name="connsiteY4" fmla="*/ 188015 h 370285"/>
                  <a:gd name="connsiteX5" fmla="*/ 296598 w 915428"/>
                  <a:gd name="connsiteY5" fmla="*/ 350211 h 370285"/>
                  <a:gd name="connsiteX6" fmla="*/ 900402 w 915428"/>
                  <a:gd name="connsiteY6" fmla="*/ 1623 h 370285"/>
                  <a:gd name="connsiteX7" fmla="*/ 914460 w 915428"/>
                  <a:gd name="connsiteY7" fmla="*/ 5404 h 370285"/>
                  <a:gd name="connsiteX8" fmla="*/ 910679 w 915428"/>
                  <a:gd name="connsiteY8" fmla="*/ 19461 h 370285"/>
                  <a:gd name="connsiteX9" fmla="*/ 301740 w 915428"/>
                  <a:gd name="connsiteY9" fmla="*/ 370971 h 370285"/>
                  <a:gd name="connsiteX10" fmla="*/ 296598 w 915428"/>
                  <a:gd name="connsiteY10" fmla="*/ 372345 h 37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15428" h="370285">
                    <a:moveTo>
                      <a:pt x="296598" y="372345"/>
                    </a:moveTo>
                    <a:cubicBezTo>
                      <a:pt x="294824" y="372345"/>
                      <a:pt x="293044" y="371899"/>
                      <a:pt x="291452" y="370971"/>
                    </a:cubicBezTo>
                    <a:lnTo>
                      <a:pt x="5402" y="205819"/>
                    </a:lnTo>
                    <a:cubicBezTo>
                      <a:pt x="484" y="203001"/>
                      <a:pt x="-1204" y="196711"/>
                      <a:pt x="1639" y="191762"/>
                    </a:cubicBezTo>
                    <a:cubicBezTo>
                      <a:pt x="4478" y="186847"/>
                      <a:pt x="10774" y="185163"/>
                      <a:pt x="15689" y="188015"/>
                    </a:cubicBezTo>
                    <a:lnTo>
                      <a:pt x="296598" y="350211"/>
                    </a:lnTo>
                    <a:lnTo>
                      <a:pt x="900402" y="1623"/>
                    </a:lnTo>
                    <a:cubicBezTo>
                      <a:pt x="905283" y="-1196"/>
                      <a:pt x="911607" y="489"/>
                      <a:pt x="914460" y="5404"/>
                    </a:cubicBezTo>
                    <a:cubicBezTo>
                      <a:pt x="917244" y="10318"/>
                      <a:pt x="915594" y="16608"/>
                      <a:pt x="910679" y="19461"/>
                    </a:cubicBezTo>
                    <a:lnTo>
                      <a:pt x="301740" y="370971"/>
                    </a:lnTo>
                    <a:cubicBezTo>
                      <a:pt x="300149" y="371899"/>
                      <a:pt x="298371" y="372345"/>
                      <a:pt x="296598" y="372345"/>
                    </a:cubicBezTo>
                  </a:path>
                </a:pathLst>
              </a:custGeom>
              <a:solidFill>
                <a:srgbClr val="3A3A3A"/>
              </a:solidFill>
              <a:ln w="127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30" name="Freeform: Shape 829">
                <a:extLst>
                  <a:ext uri="{FF2B5EF4-FFF2-40B4-BE49-F238E27FC236}">
                    <a16:creationId xmlns:a16="http://schemas.microsoft.com/office/drawing/2014/main" id="{D3676C61-518D-472E-9F9C-22968724B91A}"/>
                  </a:ext>
                </a:extLst>
              </p:cNvPr>
              <p:cNvSpPr/>
              <p:nvPr/>
            </p:nvSpPr>
            <p:spPr>
              <a:xfrm>
                <a:off x="5651210" y="1202315"/>
                <a:ext cx="915429" cy="370286"/>
              </a:xfrm>
              <a:custGeom>
                <a:avLst/>
                <a:gdLst>
                  <a:gd name="connsiteX0" fmla="*/ 296598 w 915428"/>
                  <a:gd name="connsiteY0" fmla="*/ 372344 h 370285"/>
                  <a:gd name="connsiteX1" fmla="*/ 291455 w 915428"/>
                  <a:gd name="connsiteY1" fmla="*/ 370990 h 370285"/>
                  <a:gd name="connsiteX2" fmla="*/ 5406 w 915428"/>
                  <a:gd name="connsiteY2" fmla="*/ 205820 h 370285"/>
                  <a:gd name="connsiteX3" fmla="*/ 1641 w 915428"/>
                  <a:gd name="connsiteY3" fmla="*/ 191767 h 370285"/>
                  <a:gd name="connsiteX4" fmla="*/ 15691 w 915428"/>
                  <a:gd name="connsiteY4" fmla="*/ 188020 h 370285"/>
                  <a:gd name="connsiteX5" fmla="*/ 296598 w 915428"/>
                  <a:gd name="connsiteY5" fmla="*/ 350205 h 370285"/>
                  <a:gd name="connsiteX6" fmla="*/ 900404 w 915428"/>
                  <a:gd name="connsiteY6" fmla="*/ 1648 h 370285"/>
                  <a:gd name="connsiteX7" fmla="*/ 914457 w 915428"/>
                  <a:gd name="connsiteY7" fmla="*/ 5396 h 370285"/>
                  <a:gd name="connsiteX8" fmla="*/ 910675 w 915428"/>
                  <a:gd name="connsiteY8" fmla="*/ 19449 h 370285"/>
                  <a:gd name="connsiteX9" fmla="*/ 301740 w 915428"/>
                  <a:gd name="connsiteY9" fmla="*/ 370990 h 370285"/>
                  <a:gd name="connsiteX10" fmla="*/ 296598 w 915428"/>
                  <a:gd name="connsiteY10" fmla="*/ 372344 h 370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15428" h="370285">
                    <a:moveTo>
                      <a:pt x="296598" y="372344"/>
                    </a:moveTo>
                    <a:cubicBezTo>
                      <a:pt x="294824" y="372344"/>
                      <a:pt x="293044" y="371893"/>
                      <a:pt x="291455" y="370990"/>
                    </a:cubicBezTo>
                    <a:lnTo>
                      <a:pt x="5406" y="205820"/>
                    </a:lnTo>
                    <a:cubicBezTo>
                      <a:pt x="485" y="202975"/>
                      <a:pt x="-1201" y="196694"/>
                      <a:pt x="1641" y="191767"/>
                    </a:cubicBezTo>
                    <a:cubicBezTo>
                      <a:pt x="4479" y="186874"/>
                      <a:pt x="10774" y="185174"/>
                      <a:pt x="15691" y="188020"/>
                    </a:cubicBezTo>
                    <a:lnTo>
                      <a:pt x="296598" y="350205"/>
                    </a:lnTo>
                    <a:lnTo>
                      <a:pt x="900404" y="1648"/>
                    </a:lnTo>
                    <a:cubicBezTo>
                      <a:pt x="905297" y="-1197"/>
                      <a:pt x="911612" y="468"/>
                      <a:pt x="914457" y="5396"/>
                    </a:cubicBezTo>
                    <a:cubicBezTo>
                      <a:pt x="917268" y="10323"/>
                      <a:pt x="915568" y="16604"/>
                      <a:pt x="910675" y="19449"/>
                    </a:cubicBezTo>
                    <a:lnTo>
                      <a:pt x="301740" y="370990"/>
                    </a:lnTo>
                    <a:cubicBezTo>
                      <a:pt x="300147" y="371893"/>
                      <a:pt x="298374" y="372344"/>
                      <a:pt x="296598" y="372344"/>
                    </a:cubicBezTo>
                  </a:path>
                </a:pathLst>
              </a:custGeom>
              <a:solidFill>
                <a:srgbClr val="3A3A3A"/>
              </a:solidFill>
              <a:ln w="128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31" name="Freeform: Shape 830">
                <a:extLst>
                  <a:ext uri="{FF2B5EF4-FFF2-40B4-BE49-F238E27FC236}">
                    <a16:creationId xmlns:a16="http://schemas.microsoft.com/office/drawing/2014/main" id="{95859178-3E2C-4687-AB1D-89266BDE34BD}"/>
                  </a:ext>
                </a:extLst>
              </p:cNvPr>
              <p:cNvSpPr/>
              <p:nvPr/>
            </p:nvSpPr>
            <p:spPr>
              <a:xfrm>
                <a:off x="5937267" y="1498269"/>
                <a:ext cx="20571" cy="185143"/>
              </a:xfrm>
              <a:custGeom>
                <a:avLst/>
                <a:gdLst>
                  <a:gd name="connsiteX0" fmla="*/ 10543 w 20571"/>
                  <a:gd name="connsiteY0" fmla="*/ 185194 h 185142"/>
                  <a:gd name="connsiteX1" fmla="*/ 257 w 20571"/>
                  <a:gd name="connsiteY1" fmla="*/ 174908 h 185142"/>
                  <a:gd name="connsiteX2" fmla="*/ 257 w 20571"/>
                  <a:gd name="connsiteY2" fmla="*/ 10543 h 185142"/>
                  <a:gd name="connsiteX3" fmla="*/ 10543 w 20571"/>
                  <a:gd name="connsiteY3" fmla="*/ 257 h 185142"/>
                  <a:gd name="connsiteX4" fmla="*/ 20829 w 20571"/>
                  <a:gd name="connsiteY4" fmla="*/ 10543 h 185142"/>
                  <a:gd name="connsiteX5" fmla="*/ 20829 w 20571"/>
                  <a:gd name="connsiteY5" fmla="*/ 174908 h 185142"/>
                  <a:gd name="connsiteX6" fmla="*/ 10543 w 20571"/>
                  <a:gd name="connsiteY6" fmla="*/ 185194 h 185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571" h="185142">
                    <a:moveTo>
                      <a:pt x="10543" y="185194"/>
                    </a:moveTo>
                    <a:cubicBezTo>
                      <a:pt x="4862" y="185194"/>
                      <a:pt x="257" y="180600"/>
                      <a:pt x="257" y="174908"/>
                    </a:cubicBezTo>
                    <a:lnTo>
                      <a:pt x="257" y="10543"/>
                    </a:lnTo>
                    <a:cubicBezTo>
                      <a:pt x="257" y="4851"/>
                      <a:pt x="4862" y="257"/>
                      <a:pt x="10543" y="257"/>
                    </a:cubicBezTo>
                    <a:cubicBezTo>
                      <a:pt x="16227" y="257"/>
                      <a:pt x="20829" y="4851"/>
                      <a:pt x="20829" y="10543"/>
                    </a:cubicBezTo>
                    <a:lnTo>
                      <a:pt x="20829" y="174908"/>
                    </a:lnTo>
                    <a:cubicBezTo>
                      <a:pt x="20829" y="180600"/>
                      <a:pt x="16227" y="185194"/>
                      <a:pt x="10543" y="185194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32" name="Freeform: Shape 831">
                <a:extLst>
                  <a:ext uri="{FF2B5EF4-FFF2-40B4-BE49-F238E27FC236}">
                    <a16:creationId xmlns:a16="http://schemas.microsoft.com/office/drawing/2014/main" id="{CE6E0C36-ABB2-4810-AFB3-A43F5130F02A}"/>
                  </a:ext>
                </a:extLst>
              </p:cNvPr>
              <p:cNvSpPr/>
              <p:nvPr/>
            </p:nvSpPr>
            <p:spPr>
              <a:xfrm>
                <a:off x="6242331" y="1573869"/>
                <a:ext cx="213429" cy="149143"/>
              </a:xfrm>
              <a:custGeom>
                <a:avLst/>
                <a:gdLst>
                  <a:gd name="connsiteX0" fmla="*/ 214817 w 213428"/>
                  <a:gd name="connsiteY0" fmla="*/ 257 h 149142"/>
                  <a:gd name="connsiteX1" fmla="*/ 214817 w 213428"/>
                  <a:gd name="connsiteY1" fmla="*/ 87926 h 149142"/>
                  <a:gd name="connsiteX2" fmla="*/ 183377 w 213428"/>
                  <a:gd name="connsiteY2" fmla="*/ 131708 h 149142"/>
                  <a:gd name="connsiteX3" fmla="*/ 31663 w 213428"/>
                  <a:gd name="connsiteY3" fmla="*/ 131708 h 149142"/>
                  <a:gd name="connsiteX4" fmla="*/ 257 w 213428"/>
                  <a:gd name="connsiteY4" fmla="*/ 87926 h 149142"/>
                  <a:gd name="connsiteX5" fmla="*/ 257 w 213428"/>
                  <a:gd name="connsiteY5" fmla="*/ 257 h 149142"/>
                  <a:gd name="connsiteX6" fmla="*/ 31663 w 213428"/>
                  <a:gd name="connsiteY6" fmla="*/ 44074 h 149142"/>
                  <a:gd name="connsiteX7" fmla="*/ 183377 w 213428"/>
                  <a:gd name="connsiteY7" fmla="*/ 44074 h 149142"/>
                  <a:gd name="connsiteX8" fmla="*/ 214817 w 213428"/>
                  <a:gd name="connsiteY8" fmla="*/ 257 h 149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428" h="149142">
                    <a:moveTo>
                      <a:pt x="214817" y="257"/>
                    </a:moveTo>
                    <a:lnTo>
                      <a:pt x="214817" y="87926"/>
                    </a:lnTo>
                    <a:cubicBezTo>
                      <a:pt x="214817" y="103766"/>
                      <a:pt x="204360" y="119640"/>
                      <a:pt x="183377" y="131708"/>
                    </a:cubicBezTo>
                    <a:cubicBezTo>
                      <a:pt x="141480" y="155914"/>
                      <a:pt x="73560" y="155914"/>
                      <a:pt x="31663" y="131708"/>
                    </a:cubicBezTo>
                    <a:cubicBezTo>
                      <a:pt x="10749" y="119640"/>
                      <a:pt x="257" y="103766"/>
                      <a:pt x="257" y="87926"/>
                    </a:cubicBezTo>
                    <a:lnTo>
                      <a:pt x="257" y="257"/>
                    </a:lnTo>
                    <a:cubicBezTo>
                      <a:pt x="257" y="16097"/>
                      <a:pt x="10749" y="31937"/>
                      <a:pt x="31663" y="44074"/>
                    </a:cubicBezTo>
                    <a:cubicBezTo>
                      <a:pt x="73560" y="68211"/>
                      <a:pt x="141480" y="68211"/>
                      <a:pt x="183377" y="44074"/>
                    </a:cubicBezTo>
                    <a:cubicBezTo>
                      <a:pt x="204360" y="31937"/>
                      <a:pt x="214817" y="16097"/>
                      <a:pt x="214817" y="257"/>
                    </a:cubicBezTo>
                  </a:path>
                </a:pathLst>
              </a:custGeom>
              <a:solidFill>
                <a:schemeClr val="accent3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33" name="Freeform: Shape 832">
                <a:extLst>
                  <a:ext uri="{FF2B5EF4-FFF2-40B4-BE49-F238E27FC236}">
                    <a16:creationId xmlns:a16="http://schemas.microsoft.com/office/drawing/2014/main" id="{97D649CC-E450-466A-A196-76D6834EA5DE}"/>
                  </a:ext>
                </a:extLst>
              </p:cNvPr>
              <p:cNvSpPr/>
              <p:nvPr/>
            </p:nvSpPr>
            <p:spPr>
              <a:xfrm>
                <a:off x="6242331" y="1486166"/>
                <a:ext cx="213429" cy="149143"/>
              </a:xfrm>
              <a:custGeom>
                <a:avLst/>
                <a:gdLst>
                  <a:gd name="connsiteX0" fmla="*/ 214817 w 213428"/>
                  <a:gd name="connsiteY0" fmla="*/ 257 h 149142"/>
                  <a:gd name="connsiteX1" fmla="*/ 214817 w 213428"/>
                  <a:gd name="connsiteY1" fmla="*/ 87960 h 149142"/>
                  <a:gd name="connsiteX2" fmla="*/ 183377 w 213428"/>
                  <a:gd name="connsiteY2" fmla="*/ 131777 h 149142"/>
                  <a:gd name="connsiteX3" fmla="*/ 31663 w 213428"/>
                  <a:gd name="connsiteY3" fmla="*/ 131777 h 149142"/>
                  <a:gd name="connsiteX4" fmla="*/ 257 w 213428"/>
                  <a:gd name="connsiteY4" fmla="*/ 87960 h 149142"/>
                  <a:gd name="connsiteX5" fmla="*/ 257 w 213428"/>
                  <a:gd name="connsiteY5" fmla="*/ 257 h 149142"/>
                  <a:gd name="connsiteX6" fmla="*/ 31663 w 213428"/>
                  <a:gd name="connsiteY6" fmla="*/ 44074 h 149142"/>
                  <a:gd name="connsiteX7" fmla="*/ 183377 w 213428"/>
                  <a:gd name="connsiteY7" fmla="*/ 44074 h 149142"/>
                  <a:gd name="connsiteX8" fmla="*/ 214817 w 213428"/>
                  <a:gd name="connsiteY8" fmla="*/ 257 h 149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428" h="149142">
                    <a:moveTo>
                      <a:pt x="214817" y="257"/>
                    </a:moveTo>
                    <a:lnTo>
                      <a:pt x="214817" y="87960"/>
                    </a:lnTo>
                    <a:cubicBezTo>
                      <a:pt x="214817" y="103800"/>
                      <a:pt x="204360" y="119640"/>
                      <a:pt x="183377" y="131777"/>
                    </a:cubicBezTo>
                    <a:cubicBezTo>
                      <a:pt x="141480" y="155914"/>
                      <a:pt x="73560" y="155914"/>
                      <a:pt x="31663" y="131777"/>
                    </a:cubicBezTo>
                    <a:cubicBezTo>
                      <a:pt x="10749" y="119640"/>
                      <a:pt x="257" y="103800"/>
                      <a:pt x="257" y="87960"/>
                    </a:cubicBezTo>
                    <a:lnTo>
                      <a:pt x="257" y="257"/>
                    </a:lnTo>
                    <a:cubicBezTo>
                      <a:pt x="257" y="16166"/>
                      <a:pt x="10749" y="32006"/>
                      <a:pt x="31663" y="44074"/>
                    </a:cubicBezTo>
                    <a:cubicBezTo>
                      <a:pt x="73560" y="68280"/>
                      <a:pt x="141480" y="68280"/>
                      <a:pt x="183377" y="44074"/>
                    </a:cubicBezTo>
                    <a:cubicBezTo>
                      <a:pt x="204360" y="32006"/>
                      <a:pt x="214817" y="16166"/>
                      <a:pt x="214817" y="257"/>
                    </a:cubicBezTo>
                  </a:path>
                </a:pathLst>
              </a:custGeom>
              <a:solidFill>
                <a:schemeClr val="accent3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34" name="Freeform: Shape 833">
                <a:extLst>
                  <a:ext uri="{FF2B5EF4-FFF2-40B4-BE49-F238E27FC236}">
                    <a16:creationId xmlns:a16="http://schemas.microsoft.com/office/drawing/2014/main" id="{03DD3643-2C79-40B3-A58F-E6EF21DFF93E}"/>
                  </a:ext>
                </a:extLst>
              </p:cNvPr>
              <p:cNvSpPr/>
              <p:nvPr/>
            </p:nvSpPr>
            <p:spPr>
              <a:xfrm>
                <a:off x="6242331" y="1398532"/>
                <a:ext cx="213429" cy="149143"/>
              </a:xfrm>
              <a:custGeom>
                <a:avLst/>
                <a:gdLst>
                  <a:gd name="connsiteX0" fmla="*/ 214817 w 213428"/>
                  <a:gd name="connsiteY0" fmla="*/ 257 h 149142"/>
                  <a:gd name="connsiteX1" fmla="*/ 214817 w 213428"/>
                  <a:gd name="connsiteY1" fmla="*/ 87892 h 149142"/>
                  <a:gd name="connsiteX2" fmla="*/ 183377 w 213428"/>
                  <a:gd name="connsiteY2" fmla="*/ 131709 h 149142"/>
                  <a:gd name="connsiteX3" fmla="*/ 31663 w 213428"/>
                  <a:gd name="connsiteY3" fmla="*/ 131709 h 149142"/>
                  <a:gd name="connsiteX4" fmla="*/ 257 w 213428"/>
                  <a:gd name="connsiteY4" fmla="*/ 87892 h 149142"/>
                  <a:gd name="connsiteX5" fmla="*/ 257 w 213428"/>
                  <a:gd name="connsiteY5" fmla="*/ 257 h 149142"/>
                  <a:gd name="connsiteX6" fmla="*/ 31663 w 213428"/>
                  <a:gd name="connsiteY6" fmla="*/ 44040 h 149142"/>
                  <a:gd name="connsiteX7" fmla="*/ 183377 w 213428"/>
                  <a:gd name="connsiteY7" fmla="*/ 44040 h 149142"/>
                  <a:gd name="connsiteX8" fmla="*/ 214817 w 213428"/>
                  <a:gd name="connsiteY8" fmla="*/ 257 h 1491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428" h="149142">
                    <a:moveTo>
                      <a:pt x="214817" y="257"/>
                    </a:moveTo>
                    <a:lnTo>
                      <a:pt x="214817" y="87892"/>
                    </a:lnTo>
                    <a:cubicBezTo>
                      <a:pt x="214817" y="103800"/>
                      <a:pt x="204360" y="119640"/>
                      <a:pt x="183377" y="131709"/>
                    </a:cubicBezTo>
                    <a:cubicBezTo>
                      <a:pt x="141480" y="155914"/>
                      <a:pt x="73560" y="155914"/>
                      <a:pt x="31663" y="131709"/>
                    </a:cubicBezTo>
                    <a:cubicBezTo>
                      <a:pt x="10749" y="119640"/>
                      <a:pt x="257" y="103800"/>
                      <a:pt x="257" y="87892"/>
                    </a:cubicBezTo>
                    <a:lnTo>
                      <a:pt x="257" y="257"/>
                    </a:lnTo>
                    <a:cubicBezTo>
                      <a:pt x="257" y="16097"/>
                      <a:pt x="10749" y="31937"/>
                      <a:pt x="31663" y="44040"/>
                    </a:cubicBezTo>
                    <a:cubicBezTo>
                      <a:pt x="73560" y="68211"/>
                      <a:pt x="141480" y="68211"/>
                      <a:pt x="183377" y="44040"/>
                    </a:cubicBezTo>
                    <a:cubicBezTo>
                      <a:pt x="204360" y="31937"/>
                      <a:pt x="214817" y="16097"/>
                      <a:pt x="214817" y="257"/>
                    </a:cubicBezTo>
                  </a:path>
                </a:pathLst>
              </a:custGeom>
              <a:solidFill>
                <a:schemeClr val="accent3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35" name="Freeform: Shape 834">
                <a:extLst>
                  <a:ext uri="{FF2B5EF4-FFF2-40B4-BE49-F238E27FC236}">
                    <a16:creationId xmlns:a16="http://schemas.microsoft.com/office/drawing/2014/main" id="{2CB677DC-E842-40EF-BC62-B91E9DCDAE7F}"/>
                  </a:ext>
                </a:extLst>
              </p:cNvPr>
              <p:cNvSpPr/>
              <p:nvPr/>
            </p:nvSpPr>
            <p:spPr>
              <a:xfrm>
                <a:off x="6242331" y="1312097"/>
                <a:ext cx="213429" cy="146571"/>
              </a:xfrm>
              <a:custGeom>
                <a:avLst/>
                <a:gdLst>
                  <a:gd name="connsiteX0" fmla="*/ 214817 w 213428"/>
                  <a:gd name="connsiteY0" fmla="*/ 27789 h 146571"/>
                  <a:gd name="connsiteX1" fmla="*/ 214817 w 213428"/>
                  <a:gd name="connsiteY1" fmla="*/ 86691 h 146571"/>
                  <a:gd name="connsiteX2" fmla="*/ 183377 w 213428"/>
                  <a:gd name="connsiteY2" fmla="*/ 130474 h 146571"/>
                  <a:gd name="connsiteX3" fmla="*/ 31663 w 213428"/>
                  <a:gd name="connsiteY3" fmla="*/ 130474 h 146571"/>
                  <a:gd name="connsiteX4" fmla="*/ 257 w 213428"/>
                  <a:gd name="connsiteY4" fmla="*/ 86691 h 146571"/>
                  <a:gd name="connsiteX5" fmla="*/ 257 w 213428"/>
                  <a:gd name="connsiteY5" fmla="*/ 257 h 146571"/>
                  <a:gd name="connsiteX6" fmla="*/ 31663 w 213428"/>
                  <a:gd name="connsiteY6" fmla="*/ 44074 h 146571"/>
                  <a:gd name="connsiteX7" fmla="*/ 183377 w 213428"/>
                  <a:gd name="connsiteY7" fmla="*/ 44074 h 146571"/>
                  <a:gd name="connsiteX8" fmla="*/ 214817 w 213428"/>
                  <a:gd name="connsiteY8" fmla="*/ 257 h 146571"/>
                  <a:gd name="connsiteX9" fmla="*/ 214817 w 213428"/>
                  <a:gd name="connsiteY9" fmla="*/ 27789 h 146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13428" h="146571">
                    <a:moveTo>
                      <a:pt x="214817" y="27789"/>
                    </a:moveTo>
                    <a:lnTo>
                      <a:pt x="214817" y="86691"/>
                    </a:lnTo>
                    <a:cubicBezTo>
                      <a:pt x="214817" y="102531"/>
                      <a:pt x="204360" y="118371"/>
                      <a:pt x="183377" y="130474"/>
                    </a:cubicBezTo>
                    <a:cubicBezTo>
                      <a:pt x="141480" y="154646"/>
                      <a:pt x="73560" y="154646"/>
                      <a:pt x="31663" y="130474"/>
                    </a:cubicBezTo>
                    <a:cubicBezTo>
                      <a:pt x="10749" y="118371"/>
                      <a:pt x="257" y="102531"/>
                      <a:pt x="257" y="86691"/>
                    </a:cubicBezTo>
                    <a:lnTo>
                      <a:pt x="257" y="257"/>
                    </a:lnTo>
                    <a:cubicBezTo>
                      <a:pt x="257" y="16131"/>
                      <a:pt x="10749" y="31971"/>
                      <a:pt x="31663" y="44074"/>
                    </a:cubicBezTo>
                    <a:cubicBezTo>
                      <a:pt x="73560" y="68246"/>
                      <a:pt x="141480" y="68246"/>
                      <a:pt x="183377" y="44074"/>
                    </a:cubicBezTo>
                    <a:cubicBezTo>
                      <a:pt x="204360" y="31971"/>
                      <a:pt x="214817" y="16131"/>
                      <a:pt x="214817" y="257"/>
                    </a:cubicBezTo>
                    <a:lnTo>
                      <a:pt x="214817" y="27789"/>
                    </a:lnTo>
                  </a:path>
                </a:pathLst>
              </a:custGeom>
              <a:solidFill>
                <a:schemeClr val="accent3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36" name="Freeform: Shape 835">
                <a:extLst>
                  <a:ext uri="{FF2B5EF4-FFF2-40B4-BE49-F238E27FC236}">
                    <a16:creationId xmlns:a16="http://schemas.microsoft.com/office/drawing/2014/main" id="{399E4DE3-E265-4DD8-B0EE-4E546052EFCE}"/>
                  </a:ext>
                </a:extLst>
              </p:cNvPr>
              <p:cNvSpPr/>
              <p:nvPr/>
            </p:nvSpPr>
            <p:spPr>
              <a:xfrm>
                <a:off x="6242316" y="1250214"/>
                <a:ext cx="213429" cy="123429"/>
              </a:xfrm>
              <a:custGeom>
                <a:avLst/>
                <a:gdLst>
                  <a:gd name="connsiteX0" fmla="*/ 183377 w 213428"/>
                  <a:gd name="connsiteY0" fmla="*/ 18388 h 123428"/>
                  <a:gd name="connsiteX1" fmla="*/ 214815 w 213428"/>
                  <a:gd name="connsiteY1" fmla="*/ 62188 h 123428"/>
                  <a:gd name="connsiteX2" fmla="*/ 183377 w 213428"/>
                  <a:gd name="connsiteY2" fmla="*/ 105987 h 123428"/>
                  <a:gd name="connsiteX3" fmla="*/ 31662 w 213428"/>
                  <a:gd name="connsiteY3" fmla="*/ 105987 h 123428"/>
                  <a:gd name="connsiteX4" fmla="*/ 258 w 213428"/>
                  <a:gd name="connsiteY4" fmla="*/ 62188 h 123428"/>
                  <a:gd name="connsiteX5" fmla="*/ 31662 w 213428"/>
                  <a:gd name="connsiteY5" fmla="*/ 18388 h 123428"/>
                  <a:gd name="connsiteX6" fmla="*/ 183377 w 213428"/>
                  <a:gd name="connsiteY6" fmla="*/ 18388 h 123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3428" h="123428">
                    <a:moveTo>
                      <a:pt x="183377" y="18388"/>
                    </a:moveTo>
                    <a:cubicBezTo>
                      <a:pt x="204347" y="30508"/>
                      <a:pt x="214815" y="46348"/>
                      <a:pt x="214815" y="62188"/>
                    </a:cubicBezTo>
                    <a:cubicBezTo>
                      <a:pt x="214815" y="78027"/>
                      <a:pt x="204347" y="93867"/>
                      <a:pt x="183377" y="105987"/>
                    </a:cubicBezTo>
                    <a:cubicBezTo>
                      <a:pt x="141471" y="130125"/>
                      <a:pt x="73568" y="130125"/>
                      <a:pt x="31662" y="105987"/>
                    </a:cubicBezTo>
                    <a:cubicBezTo>
                      <a:pt x="10761" y="93867"/>
                      <a:pt x="258" y="78027"/>
                      <a:pt x="258" y="62188"/>
                    </a:cubicBezTo>
                    <a:cubicBezTo>
                      <a:pt x="258" y="46348"/>
                      <a:pt x="10761" y="30508"/>
                      <a:pt x="31662" y="18388"/>
                    </a:cubicBezTo>
                    <a:cubicBezTo>
                      <a:pt x="73568" y="-5785"/>
                      <a:pt x="141471" y="-5785"/>
                      <a:pt x="183377" y="18388"/>
                    </a:cubicBezTo>
                  </a:path>
                </a:pathLst>
              </a:custGeom>
              <a:solidFill>
                <a:srgbClr val="FFFFFF"/>
              </a:solidFill>
              <a:ln w="127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37" name="Freeform: Shape 836">
                <a:extLst>
                  <a:ext uri="{FF2B5EF4-FFF2-40B4-BE49-F238E27FC236}">
                    <a16:creationId xmlns:a16="http://schemas.microsoft.com/office/drawing/2014/main" id="{C7D0C3FE-C104-4A4A-AF91-17366EE0DCDD}"/>
                  </a:ext>
                </a:extLst>
              </p:cNvPr>
              <p:cNvSpPr/>
              <p:nvPr/>
            </p:nvSpPr>
            <p:spPr>
              <a:xfrm>
                <a:off x="6232043" y="1239768"/>
                <a:ext cx="234000" cy="144000"/>
              </a:xfrm>
              <a:custGeom>
                <a:avLst/>
                <a:gdLst>
                  <a:gd name="connsiteX0" fmla="*/ 117803 w 234000"/>
                  <a:gd name="connsiteY0" fmla="*/ 20860 h 144000"/>
                  <a:gd name="connsiteX1" fmla="*/ 47076 w 234000"/>
                  <a:gd name="connsiteY1" fmla="*/ 37731 h 144000"/>
                  <a:gd name="connsiteX2" fmla="*/ 20821 w 234000"/>
                  <a:gd name="connsiteY2" fmla="*/ 72612 h 144000"/>
                  <a:gd name="connsiteX3" fmla="*/ 47076 w 234000"/>
                  <a:gd name="connsiteY3" fmla="*/ 107527 h 144000"/>
                  <a:gd name="connsiteX4" fmla="*/ 188496 w 234000"/>
                  <a:gd name="connsiteY4" fmla="*/ 107492 h 144000"/>
                  <a:gd name="connsiteX5" fmla="*/ 214820 w 234000"/>
                  <a:gd name="connsiteY5" fmla="*/ 72612 h 144000"/>
                  <a:gd name="connsiteX6" fmla="*/ 188496 w 234000"/>
                  <a:gd name="connsiteY6" fmla="*/ 37731 h 144000"/>
                  <a:gd name="connsiteX7" fmla="*/ 117803 w 234000"/>
                  <a:gd name="connsiteY7" fmla="*/ 20860 h 144000"/>
                  <a:gd name="connsiteX8" fmla="*/ 117803 w 234000"/>
                  <a:gd name="connsiteY8" fmla="*/ 144961 h 144000"/>
                  <a:gd name="connsiteX9" fmla="*/ 36795 w 234000"/>
                  <a:gd name="connsiteY9" fmla="*/ 125329 h 144000"/>
                  <a:gd name="connsiteX10" fmla="*/ 259 w 234000"/>
                  <a:gd name="connsiteY10" fmla="*/ 72612 h 144000"/>
                  <a:gd name="connsiteX11" fmla="*/ 36761 w 234000"/>
                  <a:gd name="connsiteY11" fmla="*/ 19929 h 144000"/>
                  <a:gd name="connsiteX12" fmla="*/ 198812 w 234000"/>
                  <a:gd name="connsiteY12" fmla="*/ 19894 h 144000"/>
                  <a:gd name="connsiteX13" fmla="*/ 235383 w 234000"/>
                  <a:gd name="connsiteY13" fmla="*/ 72612 h 144000"/>
                  <a:gd name="connsiteX14" fmla="*/ 198812 w 234000"/>
                  <a:gd name="connsiteY14" fmla="*/ 125329 h 144000"/>
                  <a:gd name="connsiteX15" fmla="*/ 117803 w 234000"/>
                  <a:gd name="connsiteY15" fmla="*/ 144961 h 14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4000" h="144000">
                    <a:moveTo>
                      <a:pt x="117803" y="20860"/>
                    </a:moveTo>
                    <a:cubicBezTo>
                      <a:pt x="92204" y="20860"/>
                      <a:pt x="66569" y="26484"/>
                      <a:pt x="47076" y="37731"/>
                    </a:cubicBezTo>
                    <a:cubicBezTo>
                      <a:pt x="30137" y="47564"/>
                      <a:pt x="20821" y="59950"/>
                      <a:pt x="20821" y="72612"/>
                    </a:cubicBezTo>
                    <a:cubicBezTo>
                      <a:pt x="20821" y="85308"/>
                      <a:pt x="30137" y="97694"/>
                      <a:pt x="47076" y="107527"/>
                    </a:cubicBezTo>
                    <a:cubicBezTo>
                      <a:pt x="86063" y="129987"/>
                      <a:pt x="149544" y="129987"/>
                      <a:pt x="188496" y="107492"/>
                    </a:cubicBezTo>
                    <a:cubicBezTo>
                      <a:pt x="205471" y="97728"/>
                      <a:pt x="214820" y="85308"/>
                      <a:pt x="214820" y="72612"/>
                    </a:cubicBezTo>
                    <a:cubicBezTo>
                      <a:pt x="214820" y="59950"/>
                      <a:pt x="205471" y="47529"/>
                      <a:pt x="188496" y="37731"/>
                    </a:cubicBezTo>
                    <a:cubicBezTo>
                      <a:pt x="169003" y="26484"/>
                      <a:pt x="143438" y="20860"/>
                      <a:pt x="117803" y="20860"/>
                    </a:cubicBezTo>
                    <a:close/>
                    <a:moveTo>
                      <a:pt x="117803" y="144961"/>
                    </a:moveTo>
                    <a:cubicBezTo>
                      <a:pt x="88685" y="144961"/>
                      <a:pt x="59497" y="138440"/>
                      <a:pt x="36795" y="125329"/>
                    </a:cubicBezTo>
                    <a:cubicBezTo>
                      <a:pt x="13197" y="111667"/>
                      <a:pt x="259" y="92967"/>
                      <a:pt x="259" y="72612"/>
                    </a:cubicBezTo>
                    <a:cubicBezTo>
                      <a:pt x="259" y="52325"/>
                      <a:pt x="13197" y="33591"/>
                      <a:pt x="36761" y="19929"/>
                    </a:cubicBezTo>
                    <a:cubicBezTo>
                      <a:pt x="82233" y="-6292"/>
                      <a:pt x="153374" y="-6292"/>
                      <a:pt x="198812" y="19894"/>
                    </a:cubicBezTo>
                    <a:cubicBezTo>
                      <a:pt x="222376" y="33557"/>
                      <a:pt x="235383" y="52291"/>
                      <a:pt x="235383" y="72612"/>
                    </a:cubicBezTo>
                    <a:cubicBezTo>
                      <a:pt x="235383" y="93002"/>
                      <a:pt x="222376" y="111701"/>
                      <a:pt x="198812" y="125329"/>
                    </a:cubicBezTo>
                    <a:cubicBezTo>
                      <a:pt x="176110" y="138440"/>
                      <a:pt x="146957" y="144961"/>
                      <a:pt x="117803" y="144961"/>
                    </a:cubicBezTo>
                  </a:path>
                </a:pathLst>
              </a:custGeom>
              <a:solidFill>
                <a:srgbClr val="3A3A3A"/>
              </a:solidFill>
              <a:ln w="127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38" name="Freeform: Shape 837">
                <a:extLst>
                  <a:ext uri="{FF2B5EF4-FFF2-40B4-BE49-F238E27FC236}">
                    <a16:creationId xmlns:a16="http://schemas.microsoft.com/office/drawing/2014/main" id="{47CCC846-8D72-40A6-9088-0BA7B36AD39C}"/>
                  </a:ext>
                </a:extLst>
              </p:cNvPr>
              <p:cNvSpPr/>
              <p:nvPr/>
            </p:nvSpPr>
            <p:spPr>
              <a:xfrm>
                <a:off x="6232046" y="1388246"/>
                <a:ext cx="234000" cy="82286"/>
              </a:xfrm>
              <a:custGeom>
                <a:avLst/>
                <a:gdLst>
                  <a:gd name="connsiteX0" fmla="*/ 117823 w 234000"/>
                  <a:gd name="connsiteY0" fmla="*/ 82886 h 82285"/>
                  <a:gd name="connsiteX1" fmla="*/ 36806 w 234000"/>
                  <a:gd name="connsiteY1" fmla="*/ 63240 h 82285"/>
                  <a:gd name="connsiteX2" fmla="*/ 257 w 234000"/>
                  <a:gd name="connsiteY2" fmla="*/ 10543 h 82285"/>
                  <a:gd name="connsiteX3" fmla="*/ 10543 w 234000"/>
                  <a:gd name="connsiteY3" fmla="*/ 257 h 82285"/>
                  <a:gd name="connsiteX4" fmla="*/ 20829 w 234000"/>
                  <a:gd name="connsiteY4" fmla="*/ 10543 h 82285"/>
                  <a:gd name="connsiteX5" fmla="*/ 47092 w 234000"/>
                  <a:gd name="connsiteY5" fmla="*/ 45411 h 82285"/>
                  <a:gd name="connsiteX6" fmla="*/ 188520 w 234000"/>
                  <a:gd name="connsiteY6" fmla="*/ 45411 h 82285"/>
                  <a:gd name="connsiteX7" fmla="*/ 214817 w 234000"/>
                  <a:gd name="connsiteY7" fmla="*/ 10543 h 82285"/>
                  <a:gd name="connsiteX8" fmla="*/ 225103 w 234000"/>
                  <a:gd name="connsiteY8" fmla="*/ 257 h 82285"/>
                  <a:gd name="connsiteX9" fmla="*/ 235389 w 234000"/>
                  <a:gd name="connsiteY9" fmla="*/ 10543 h 82285"/>
                  <a:gd name="connsiteX10" fmla="*/ 198806 w 234000"/>
                  <a:gd name="connsiteY10" fmla="*/ 63240 h 82285"/>
                  <a:gd name="connsiteX11" fmla="*/ 117823 w 234000"/>
                  <a:gd name="connsiteY11" fmla="*/ 82886 h 8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4000" h="82285">
                    <a:moveTo>
                      <a:pt x="117823" y="82886"/>
                    </a:moveTo>
                    <a:cubicBezTo>
                      <a:pt x="88646" y="82886"/>
                      <a:pt x="59503" y="76337"/>
                      <a:pt x="36806" y="63240"/>
                    </a:cubicBezTo>
                    <a:cubicBezTo>
                      <a:pt x="13217" y="49594"/>
                      <a:pt x="257" y="30874"/>
                      <a:pt x="257" y="10543"/>
                    </a:cubicBezTo>
                    <a:cubicBezTo>
                      <a:pt x="257" y="4852"/>
                      <a:pt x="4852" y="257"/>
                      <a:pt x="10543" y="257"/>
                    </a:cubicBezTo>
                    <a:cubicBezTo>
                      <a:pt x="16200" y="257"/>
                      <a:pt x="20829" y="4852"/>
                      <a:pt x="20829" y="10543"/>
                    </a:cubicBezTo>
                    <a:cubicBezTo>
                      <a:pt x="20829" y="23229"/>
                      <a:pt x="30154" y="35606"/>
                      <a:pt x="47092" y="45411"/>
                    </a:cubicBezTo>
                    <a:cubicBezTo>
                      <a:pt x="86074" y="67903"/>
                      <a:pt x="149537" y="67903"/>
                      <a:pt x="188520" y="45411"/>
                    </a:cubicBezTo>
                    <a:cubicBezTo>
                      <a:pt x="205492" y="35606"/>
                      <a:pt x="214817" y="23229"/>
                      <a:pt x="214817" y="10543"/>
                    </a:cubicBezTo>
                    <a:cubicBezTo>
                      <a:pt x="214817" y="4852"/>
                      <a:pt x="219411" y="257"/>
                      <a:pt x="225103" y="257"/>
                    </a:cubicBezTo>
                    <a:cubicBezTo>
                      <a:pt x="230794" y="257"/>
                      <a:pt x="235389" y="4852"/>
                      <a:pt x="235389" y="10543"/>
                    </a:cubicBezTo>
                    <a:cubicBezTo>
                      <a:pt x="235389" y="30874"/>
                      <a:pt x="222394" y="49594"/>
                      <a:pt x="198806" y="63240"/>
                    </a:cubicBezTo>
                    <a:cubicBezTo>
                      <a:pt x="176109" y="76337"/>
                      <a:pt x="146966" y="82886"/>
                      <a:pt x="117823" y="82886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39" name="Freeform: Shape 838">
                <a:extLst>
                  <a:ext uri="{FF2B5EF4-FFF2-40B4-BE49-F238E27FC236}">
                    <a16:creationId xmlns:a16="http://schemas.microsoft.com/office/drawing/2014/main" id="{2B315EB0-C9FE-438C-8BB4-2FD0DB210CE7}"/>
                  </a:ext>
                </a:extLst>
              </p:cNvPr>
              <p:cNvSpPr/>
              <p:nvPr/>
            </p:nvSpPr>
            <p:spPr>
              <a:xfrm>
                <a:off x="6232046" y="1475880"/>
                <a:ext cx="234000" cy="82286"/>
              </a:xfrm>
              <a:custGeom>
                <a:avLst/>
                <a:gdLst>
                  <a:gd name="connsiteX0" fmla="*/ 117823 w 234000"/>
                  <a:gd name="connsiteY0" fmla="*/ 82954 h 82285"/>
                  <a:gd name="connsiteX1" fmla="*/ 36806 w 234000"/>
                  <a:gd name="connsiteY1" fmla="*/ 63274 h 82285"/>
                  <a:gd name="connsiteX2" fmla="*/ 257 w 234000"/>
                  <a:gd name="connsiteY2" fmla="*/ 10543 h 82285"/>
                  <a:gd name="connsiteX3" fmla="*/ 10543 w 234000"/>
                  <a:gd name="connsiteY3" fmla="*/ 257 h 82285"/>
                  <a:gd name="connsiteX4" fmla="*/ 20829 w 234000"/>
                  <a:gd name="connsiteY4" fmla="*/ 10543 h 82285"/>
                  <a:gd name="connsiteX5" fmla="*/ 47092 w 234000"/>
                  <a:gd name="connsiteY5" fmla="*/ 45480 h 82285"/>
                  <a:gd name="connsiteX6" fmla="*/ 188520 w 234000"/>
                  <a:gd name="connsiteY6" fmla="*/ 45480 h 82285"/>
                  <a:gd name="connsiteX7" fmla="*/ 214817 w 234000"/>
                  <a:gd name="connsiteY7" fmla="*/ 10543 h 82285"/>
                  <a:gd name="connsiteX8" fmla="*/ 225103 w 234000"/>
                  <a:gd name="connsiteY8" fmla="*/ 257 h 82285"/>
                  <a:gd name="connsiteX9" fmla="*/ 235389 w 234000"/>
                  <a:gd name="connsiteY9" fmla="*/ 10543 h 82285"/>
                  <a:gd name="connsiteX10" fmla="*/ 198806 w 234000"/>
                  <a:gd name="connsiteY10" fmla="*/ 63274 h 82285"/>
                  <a:gd name="connsiteX11" fmla="*/ 117823 w 234000"/>
                  <a:gd name="connsiteY11" fmla="*/ 82954 h 8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4000" h="82285">
                    <a:moveTo>
                      <a:pt x="117823" y="82954"/>
                    </a:moveTo>
                    <a:cubicBezTo>
                      <a:pt x="88680" y="82954"/>
                      <a:pt x="59503" y="76406"/>
                      <a:pt x="36806" y="63274"/>
                    </a:cubicBezTo>
                    <a:cubicBezTo>
                      <a:pt x="13217" y="49663"/>
                      <a:pt x="257" y="30943"/>
                      <a:pt x="257" y="10543"/>
                    </a:cubicBezTo>
                    <a:cubicBezTo>
                      <a:pt x="257" y="4851"/>
                      <a:pt x="4852" y="257"/>
                      <a:pt x="10543" y="257"/>
                    </a:cubicBezTo>
                    <a:cubicBezTo>
                      <a:pt x="16200" y="257"/>
                      <a:pt x="20829" y="4851"/>
                      <a:pt x="20829" y="10543"/>
                    </a:cubicBezTo>
                    <a:cubicBezTo>
                      <a:pt x="20829" y="23297"/>
                      <a:pt x="30154" y="35674"/>
                      <a:pt x="47092" y="45480"/>
                    </a:cubicBezTo>
                    <a:cubicBezTo>
                      <a:pt x="86109" y="67971"/>
                      <a:pt x="149537" y="67971"/>
                      <a:pt x="188520" y="45480"/>
                    </a:cubicBezTo>
                    <a:cubicBezTo>
                      <a:pt x="205492" y="35674"/>
                      <a:pt x="214817" y="23297"/>
                      <a:pt x="214817" y="10543"/>
                    </a:cubicBezTo>
                    <a:cubicBezTo>
                      <a:pt x="214817" y="4851"/>
                      <a:pt x="219411" y="257"/>
                      <a:pt x="225103" y="257"/>
                    </a:cubicBezTo>
                    <a:cubicBezTo>
                      <a:pt x="230794" y="257"/>
                      <a:pt x="235389" y="4851"/>
                      <a:pt x="235389" y="10543"/>
                    </a:cubicBezTo>
                    <a:cubicBezTo>
                      <a:pt x="235389" y="30943"/>
                      <a:pt x="222394" y="49697"/>
                      <a:pt x="198806" y="63274"/>
                    </a:cubicBezTo>
                    <a:cubicBezTo>
                      <a:pt x="176109" y="76406"/>
                      <a:pt x="146966" y="82954"/>
                      <a:pt x="117823" y="82954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40" name="Freeform: Shape 839">
                <a:extLst>
                  <a:ext uri="{FF2B5EF4-FFF2-40B4-BE49-F238E27FC236}">
                    <a16:creationId xmlns:a16="http://schemas.microsoft.com/office/drawing/2014/main" id="{F858E3CF-6E0F-4B7A-873E-304FD442D919}"/>
                  </a:ext>
                </a:extLst>
              </p:cNvPr>
              <p:cNvSpPr/>
              <p:nvPr/>
            </p:nvSpPr>
            <p:spPr>
              <a:xfrm>
                <a:off x="6232046" y="1563583"/>
                <a:ext cx="234000" cy="82286"/>
              </a:xfrm>
              <a:custGeom>
                <a:avLst/>
                <a:gdLst>
                  <a:gd name="connsiteX0" fmla="*/ 117823 w 234000"/>
                  <a:gd name="connsiteY0" fmla="*/ 82920 h 82285"/>
                  <a:gd name="connsiteX1" fmla="*/ 36806 w 234000"/>
                  <a:gd name="connsiteY1" fmla="*/ 63240 h 82285"/>
                  <a:gd name="connsiteX2" fmla="*/ 257 w 234000"/>
                  <a:gd name="connsiteY2" fmla="*/ 10543 h 82285"/>
                  <a:gd name="connsiteX3" fmla="*/ 10543 w 234000"/>
                  <a:gd name="connsiteY3" fmla="*/ 257 h 82285"/>
                  <a:gd name="connsiteX4" fmla="*/ 20829 w 234000"/>
                  <a:gd name="connsiteY4" fmla="*/ 10543 h 82285"/>
                  <a:gd name="connsiteX5" fmla="*/ 47092 w 234000"/>
                  <a:gd name="connsiteY5" fmla="*/ 45446 h 82285"/>
                  <a:gd name="connsiteX6" fmla="*/ 188520 w 234000"/>
                  <a:gd name="connsiteY6" fmla="*/ 45446 h 82285"/>
                  <a:gd name="connsiteX7" fmla="*/ 214817 w 234000"/>
                  <a:gd name="connsiteY7" fmla="*/ 10543 h 82285"/>
                  <a:gd name="connsiteX8" fmla="*/ 225103 w 234000"/>
                  <a:gd name="connsiteY8" fmla="*/ 257 h 82285"/>
                  <a:gd name="connsiteX9" fmla="*/ 235389 w 234000"/>
                  <a:gd name="connsiteY9" fmla="*/ 10543 h 82285"/>
                  <a:gd name="connsiteX10" fmla="*/ 198806 w 234000"/>
                  <a:gd name="connsiteY10" fmla="*/ 63240 h 82285"/>
                  <a:gd name="connsiteX11" fmla="*/ 117823 w 234000"/>
                  <a:gd name="connsiteY11" fmla="*/ 82920 h 82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4000" h="82285">
                    <a:moveTo>
                      <a:pt x="117823" y="82920"/>
                    </a:moveTo>
                    <a:cubicBezTo>
                      <a:pt x="88680" y="82920"/>
                      <a:pt x="59503" y="76371"/>
                      <a:pt x="36806" y="63240"/>
                    </a:cubicBezTo>
                    <a:cubicBezTo>
                      <a:pt x="13217" y="49594"/>
                      <a:pt x="257" y="30908"/>
                      <a:pt x="257" y="10543"/>
                    </a:cubicBezTo>
                    <a:cubicBezTo>
                      <a:pt x="257" y="4851"/>
                      <a:pt x="4852" y="257"/>
                      <a:pt x="10543" y="257"/>
                    </a:cubicBezTo>
                    <a:cubicBezTo>
                      <a:pt x="16200" y="257"/>
                      <a:pt x="20829" y="4851"/>
                      <a:pt x="20829" y="10543"/>
                    </a:cubicBezTo>
                    <a:cubicBezTo>
                      <a:pt x="20829" y="23229"/>
                      <a:pt x="30154" y="35640"/>
                      <a:pt x="47092" y="45446"/>
                    </a:cubicBezTo>
                    <a:cubicBezTo>
                      <a:pt x="86074" y="67937"/>
                      <a:pt x="149537" y="67937"/>
                      <a:pt x="188520" y="45446"/>
                    </a:cubicBezTo>
                    <a:cubicBezTo>
                      <a:pt x="205492" y="35640"/>
                      <a:pt x="214817" y="23263"/>
                      <a:pt x="214817" y="10543"/>
                    </a:cubicBezTo>
                    <a:cubicBezTo>
                      <a:pt x="214817" y="4851"/>
                      <a:pt x="219411" y="257"/>
                      <a:pt x="225103" y="257"/>
                    </a:cubicBezTo>
                    <a:cubicBezTo>
                      <a:pt x="230794" y="257"/>
                      <a:pt x="235389" y="4851"/>
                      <a:pt x="235389" y="10543"/>
                    </a:cubicBezTo>
                    <a:cubicBezTo>
                      <a:pt x="235389" y="30908"/>
                      <a:pt x="222394" y="49629"/>
                      <a:pt x="198806" y="63240"/>
                    </a:cubicBezTo>
                    <a:cubicBezTo>
                      <a:pt x="176109" y="76337"/>
                      <a:pt x="146966" y="82920"/>
                      <a:pt x="117823" y="82920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841" name="Freeform: Shape 840">
                <a:extLst>
                  <a:ext uri="{FF2B5EF4-FFF2-40B4-BE49-F238E27FC236}">
                    <a16:creationId xmlns:a16="http://schemas.microsoft.com/office/drawing/2014/main" id="{7C1B42DE-BFC7-48E5-9C09-37DDE110F767}"/>
                  </a:ext>
                </a:extLst>
              </p:cNvPr>
              <p:cNvSpPr/>
              <p:nvPr/>
            </p:nvSpPr>
            <p:spPr>
              <a:xfrm>
                <a:off x="6232046" y="1301812"/>
                <a:ext cx="234000" cy="432000"/>
              </a:xfrm>
              <a:custGeom>
                <a:avLst/>
                <a:gdLst>
                  <a:gd name="connsiteX0" fmla="*/ 117823 w 234000"/>
                  <a:gd name="connsiteY0" fmla="*/ 432360 h 432000"/>
                  <a:gd name="connsiteX1" fmla="*/ 36806 w 234000"/>
                  <a:gd name="connsiteY1" fmla="*/ 412680 h 432000"/>
                  <a:gd name="connsiteX2" fmla="*/ 257 w 234000"/>
                  <a:gd name="connsiteY2" fmla="*/ 359983 h 432000"/>
                  <a:gd name="connsiteX3" fmla="*/ 257 w 234000"/>
                  <a:gd name="connsiteY3" fmla="*/ 10543 h 432000"/>
                  <a:gd name="connsiteX4" fmla="*/ 10543 w 234000"/>
                  <a:gd name="connsiteY4" fmla="*/ 257 h 432000"/>
                  <a:gd name="connsiteX5" fmla="*/ 20829 w 234000"/>
                  <a:gd name="connsiteY5" fmla="*/ 10543 h 432000"/>
                  <a:gd name="connsiteX6" fmla="*/ 20829 w 234000"/>
                  <a:gd name="connsiteY6" fmla="*/ 359983 h 432000"/>
                  <a:gd name="connsiteX7" fmla="*/ 47092 w 234000"/>
                  <a:gd name="connsiteY7" fmla="*/ 394851 h 432000"/>
                  <a:gd name="connsiteX8" fmla="*/ 188520 w 234000"/>
                  <a:gd name="connsiteY8" fmla="*/ 394851 h 432000"/>
                  <a:gd name="connsiteX9" fmla="*/ 214817 w 234000"/>
                  <a:gd name="connsiteY9" fmla="*/ 359983 h 432000"/>
                  <a:gd name="connsiteX10" fmla="*/ 214817 w 234000"/>
                  <a:gd name="connsiteY10" fmla="*/ 10543 h 432000"/>
                  <a:gd name="connsiteX11" fmla="*/ 225103 w 234000"/>
                  <a:gd name="connsiteY11" fmla="*/ 257 h 432000"/>
                  <a:gd name="connsiteX12" fmla="*/ 235389 w 234000"/>
                  <a:gd name="connsiteY12" fmla="*/ 10543 h 432000"/>
                  <a:gd name="connsiteX13" fmla="*/ 235389 w 234000"/>
                  <a:gd name="connsiteY13" fmla="*/ 359983 h 432000"/>
                  <a:gd name="connsiteX14" fmla="*/ 198806 w 234000"/>
                  <a:gd name="connsiteY14" fmla="*/ 412680 h 432000"/>
                  <a:gd name="connsiteX15" fmla="*/ 117823 w 234000"/>
                  <a:gd name="connsiteY15" fmla="*/ 432360 h 432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4000" h="432000">
                    <a:moveTo>
                      <a:pt x="117823" y="432360"/>
                    </a:moveTo>
                    <a:cubicBezTo>
                      <a:pt x="88680" y="432360"/>
                      <a:pt x="59503" y="425812"/>
                      <a:pt x="36806" y="412680"/>
                    </a:cubicBezTo>
                    <a:cubicBezTo>
                      <a:pt x="13217" y="399069"/>
                      <a:pt x="257" y="380348"/>
                      <a:pt x="257" y="359983"/>
                    </a:cubicBezTo>
                    <a:lnTo>
                      <a:pt x="257" y="10543"/>
                    </a:lnTo>
                    <a:cubicBezTo>
                      <a:pt x="257" y="4886"/>
                      <a:pt x="4852" y="257"/>
                      <a:pt x="10543" y="257"/>
                    </a:cubicBezTo>
                    <a:cubicBezTo>
                      <a:pt x="16200" y="257"/>
                      <a:pt x="20829" y="4886"/>
                      <a:pt x="20829" y="10543"/>
                    </a:cubicBezTo>
                    <a:lnTo>
                      <a:pt x="20829" y="359983"/>
                    </a:lnTo>
                    <a:cubicBezTo>
                      <a:pt x="20829" y="372703"/>
                      <a:pt x="30154" y="385080"/>
                      <a:pt x="47092" y="394851"/>
                    </a:cubicBezTo>
                    <a:cubicBezTo>
                      <a:pt x="86109" y="417377"/>
                      <a:pt x="149537" y="417377"/>
                      <a:pt x="188520" y="394851"/>
                    </a:cubicBezTo>
                    <a:cubicBezTo>
                      <a:pt x="205492" y="385080"/>
                      <a:pt x="214817" y="372703"/>
                      <a:pt x="214817" y="359983"/>
                    </a:cubicBezTo>
                    <a:lnTo>
                      <a:pt x="214817" y="10543"/>
                    </a:lnTo>
                    <a:cubicBezTo>
                      <a:pt x="214817" y="4886"/>
                      <a:pt x="219411" y="257"/>
                      <a:pt x="225103" y="257"/>
                    </a:cubicBezTo>
                    <a:cubicBezTo>
                      <a:pt x="230794" y="257"/>
                      <a:pt x="235389" y="4886"/>
                      <a:pt x="235389" y="10543"/>
                    </a:cubicBezTo>
                    <a:lnTo>
                      <a:pt x="235389" y="359983"/>
                    </a:lnTo>
                    <a:cubicBezTo>
                      <a:pt x="235389" y="380383"/>
                      <a:pt x="222394" y="399103"/>
                      <a:pt x="198806" y="412680"/>
                    </a:cubicBezTo>
                    <a:cubicBezTo>
                      <a:pt x="176109" y="425812"/>
                      <a:pt x="146966" y="432360"/>
                      <a:pt x="117823" y="432360"/>
                    </a:cubicBezTo>
                  </a:path>
                </a:pathLst>
              </a:custGeom>
              <a:solidFill>
                <a:srgbClr val="3A3A3A"/>
              </a:solidFill>
              <a:ln w="127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grpSp>
          <p:nvGrpSpPr>
            <p:cNvPr id="592" name="Group 591">
              <a:extLst>
                <a:ext uri="{FF2B5EF4-FFF2-40B4-BE49-F238E27FC236}">
                  <a16:creationId xmlns:a16="http://schemas.microsoft.com/office/drawing/2014/main" id="{99C59DAA-5878-483D-BBD7-F09E015BB662}"/>
                </a:ext>
              </a:extLst>
            </p:cNvPr>
            <p:cNvGrpSpPr/>
            <p:nvPr/>
          </p:nvGrpSpPr>
          <p:grpSpPr>
            <a:xfrm>
              <a:off x="1239564" y="4301099"/>
              <a:ext cx="1026800" cy="1242688"/>
              <a:chOff x="1691793" y="3854565"/>
              <a:chExt cx="975649" cy="1180782"/>
            </a:xfrm>
          </p:grpSpPr>
          <p:sp>
            <p:nvSpPr>
              <p:cNvPr id="593" name="Freeform: Shape 592">
                <a:extLst>
                  <a:ext uri="{FF2B5EF4-FFF2-40B4-BE49-F238E27FC236}">
                    <a16:creationId xmlns:a16="http://schemas.microsoft.com/office/drawing/2014/main" id="{14C5B003-48D3-4FB3-BB78-C5035821DA7C}"/>
                  </a:ext>
                </a:extLst>
              </p:cNvPr>
              <p:cNvSpPr/>
              <p:nvPr/>
            </p:nvSpPr>
            <p:spPr>
              <a:xfrm>
                <a:off x="2496676" y="4553752"/>
                <a:ext cx="165376" cy="284446"/>
              </a:xfrm>
              <a:custGeom>
                <a:avLst/>
                <a:gdLst>
                  <a:gd name="connsiteX0" fmla="*/ 164086 w 165375"/>
                  <a:gd name="connsiteY0" fmla="*/ 2481 h 284446"/>
                  <a:gd name="connsiteX1" fmla="*/ 164086 w 165375"/>
                  <a:gd name="connsiteY1" fmla="*/ 189123 h 284446"/>
                  <a:gd name="connsiteX2" fmla="*/ 2481 w 165375"/>
                  <a:gd name="connsiteY2" fmla="*/ 282428 h 284446"/>
                  <a:gd name="connsiteX3" fmla="*/ 2481 w 165375"/>
                  <a:gd name="connsiteY3" fmla="*/ 95819 h 284446"/>
                  <a:gd name="connsiteX4" fmla="*/ 164086 w 165375"/>
                  <a:gd name="connsiteY4" fmla="*/ 2481 h 284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375" h="284446">
                    <a:moveTo>
                      <a:pt x="164086" y="2481"/>
                    </a:moveTo>
                    <a:lnTo>
                      <a:pt x="164086" y="189123"/>
                    </a:lnTo>
                    <a:lnTo>
                      <a:pt x="2481" y="282428"/>
                    </a:lnTo>
                    <a:lnTo>
                      <a:pt x="2481" y="95819"/>
                    </a:lnTo>
                    <a:lnTo>
                      <a:pt x="164086" y="2481"/>
                    </a:lnTo>
                    <a:close/>
                  </a:path>
                </a:pathLst>
              </a:custGeom>
              <a:solidFill>
                <a:srgbClr val="CAC5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594" name="Freeform: Shape 593">
                <a:extLst>
                  <a:ext uri="{FF2B5EF4-FFF2-40B4-BE49-F238E27FC236}">
                    <a16:creationId xmlns:a16="http://schemas.microsoft.com/office/drawing/2014/main" id="{E9DCA284-919C-46B9-B869-4A6B53607D98}"/>
                  </a:ext>
                </a:extLst>
              </p:cNvPr>
              <p:cNvSpPr/>
              <p:nvPr/>
            </p:nvSpPr>
            <p:spPr>
              <a:xfrm>
                <a:off x="2335005" y="4460414"/>
                <a:ext cx="327444" cy="188528"/>
              </a:xfrm>
              <a:custGeom>
                <a:avLst/>
                <a:gdLst>
                  <a:gd name="connsiteX0" fmla="*/ 325757 w 327443"/>
                  <a:gd name="connsiteY0" fmla="*/ 95819 h 188528"/>
                  <a:gd name="connsiteX1" fmla="*/ 164152 w 327443"/>
                  <a:gd name="connsiteY1" fmla="*/ 189157 h 188528"/>
                  <a:gd name="connsiteX2" fmla="*/ 2481 w 327443"/>
                  <a:gd name="connsiteY2" fmla="*/ 95819 h 188528"/>
                  <a:gd name="connsiteX3" fmla="*/ 164152 w 327443"/>
                  <a:gd name="connsiteY3" fmla="*/ 2481 h 188528"/>
                  <a:gd name="connsiteX4" fmla="*/ 325757 w 327443"/>
                  <a:gd name="connsiteY4" fmla="*/ 95819 h 188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443" h="188528">
                    <a:moveTo>
                      <a:pt x="325757" y="95819"/>
                    </a:moveTo>
                    <a:lnTo>
                      <a:pt x="164152" y="189157"/>
                    </a:lnTo>
                    <a:lnTo>
                      <a:pt x="2481" y="95819"/>
                    </a:lnTo>
                    <a:lnTo>
                      <a:pt x="164152" y="2481"/>
                    </a:lnTo>
                    <a:lnTo>
                      <a:pt x="325757" y="95819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595" name="Freeform: Shape 594">
                <a:extLst>
                  <a:ext uri="{FF2B5EF4-FFF2-40B4-BE49-F238E27FC236}">
                    <a16:creationId xmlns:a16="http://schemas.microsoft.com/office/drawing/2014/main" id="{589E8EBC-9FF1-4640-A140-828D0CBB6181}"/>
                  </a:ext>
                </a:extLst>
              </p:cNvPr>
              <p:cNvSpPr/>
              <p:nvPr/>
            </p:nvSpPr>
            <p:spPr>
              <a:xfrm>
                <a:off x="2335005" y="4553752"/>
                <a:ext cx="165376" cy="284446"/>
              </a:xfrm>
              <a:custGeom>
                <a:avLst/>
                <a:gdLst>
                  <a:gd name="connsiteX0" fmla="*/ 164152 w 165375"/>
                  <a:gd name="connsiteY0" fmla="*/ 95819 h 284446"/>
                  <a:gd name="connsiteX1" fmla="*/ 164152 w 165375"/>
                  <a:gd name="connsiteY1" fmla="*/ 282428 h 284446"/>
                  <a:gd name="connsiteX2" fmla="*/ 2481 w 165375"/>
                  <a:gd name="connsiteY2" fmla="*/ 189123 h 284446"/>
                  <a:gd name="connsiteX3" fmla="*/ 2481 w 165375"/>
                  <a:gd name="connsiteY3" fmla="*/ 2481 h 284446"/>
                  <a:gd name="connsiteX4" fmla="*/ 164152 w 165375"/>
                  <a:gd name="connsiteY4" fmla="*/ 95819 h 2844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375" h="284446">
                    <a:moveTo>
                      <a:pt x="164152" y="95819"/>
                    </a:moveTo>
                    <a:lnTo>
                      <a:pt x="164152" y="282428"/>
                    </a:lnTo>
                    <a:lnTo>
                      <a:pt x="2481" y="189123"/>
                    </a:lnTo>
                    <a:lnTo>
                      <a:pt x="2481" y="2481"/>
                    </a:lnTo>
                    <a:lnTo>
                      <a:pt x="164152" y="95819"/>
                    </a:lnTo>
                    <a:close/>
                  </a:path>
                </a:pathLst>
              </a:custGeom>
              <a:solidFill>
                <a:srgbClr val="7740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596" name="Freeform: Shape 595">
                <a:extLst>
                  <a:ext uri="{FF2B5EF4-FFF2-40B4-BE49-F238E27FC236}">
                    <a16:creationId xmlns:a16="http://schemas.microsoft.com/office/drawing/2014/main" id="{AC822487-EC3C-499F-855B-D3876B44E9E9}"/>
                  </a:ext>
                </a:extLst>
              </p:cNvPr>
              <p:cNvSpPr/>
              <p:nvPr/>
            </p:nvSpPr>
            <p:spPr>
              <a:xfrm>
                <a:off x="2330076" y="4455478"/>
                <a:ext cx="337366" cy="198451"/>
              </a:xfrm>
              <a:custGeom>
                <a:avLst/>
                <a:gdLst>
                  <a:gd name="connsiteX0" fmla="*/ 169080 w 337366"/>
                  <a:gd name="connsiteY0" fmla="*/ 199054 h 198450"/>
                  <a:gd name="connsiteX1" fmla="*/ 166599 w 337366"/>
                  <a:gd name="connsiteY1" fmla="*/ 198393 h 198450"/>
                  <a:gd name="connsiteX2" fmla="*/ 4961 w 337366"/>
                  <a:gd name="connsiteY2" fmla="*/ 105088 h 198450"/>
                  <a:gd name="connsiteX3" fmla="*/ 2481 w 337366"/>
                  <a:gd name="connsiteY3" fmla="*/ 100788 h 198450"/>
                  <a:gd name="connsiteX4" fmla="*/ 4961 w 337366"/>
                  <a:gd name="connsiteY4" fmla="*/ 96488 h 198450"/>
                  <a:gd name="connsiteX5" fmla="*/ 166599 w 337366"/>
                  <a:gd name="connsiteY5" fmla="*/ 3150 h 198450"/>
                  <a:gd name="connsiteX6" fmla="*/ 171561 w 337366"/>
                  <a:gd name="connsiteY6" fmla="*/ 3150 h 198450"/>
                  <a:gd name="connsiteX7" fmla="*/ 333199 w 337366"/>
                  <a:gd name="connsiteY7" fmla="*/ 96488 h 198450"/>
                  <a:gd name="connsiteX8" fmla="*/ 335679 w 337366"/>
                  <a:gd name="connsiteY8" fmla="*/ 100788 h 198450"/>
                  <a:gd name="connsiteX9" fmla="*/ 333199 w 337366"/>
                  <a:gd name="connsiteY9" fmla="*/ 105088 h 198450"/>
                  <a:gd name="connsiteX10" fmla="*/ 171561 w 337366"/>
                  <a:gd name="connsiteY10" fmla="*/ 198393 h 198450"/>
                  <a:gd name="connsiteX11" fmla="*/ 169080 w 337366"/>
                  <a:gd name="connsiteY11" fmla="*/ 199054 h 198450"/>
                  <a:gd name="connsiteX12" fmla="*/ 17364 w 337366"/>
                  <a:gd name="connsiteY12" fmla="*/ 100788 h 198450"/>
                  <a:gd name="connsiteX13" fmla="*/ 169080 w 337366"/>
                  <a:gd name="connsiteY13" fmla="*/ 188371 h 198450"/>
                  <a:gd name="connsiteX14" fmla="*/ 320796 w 337366"/>
                  <a:gd name="connsiteY14" fmla="*/ 100788 h 198450"/>
                  <a:gd name="connsiteX15" fmla="*/ 169080 w 337366"/>
                  <a:gd name="connsiteY15" fmla="*/ 13172 h 198450"/>
                  <a:gd name="connsiteX16" fmla="*/ 17364 w 337366"/>
                  <a:gd name="connsiteY16" fmla="*/ 100788 h 19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37366" h="198450">
                    <a:moveTo>
                      <a:pt x="169080" y="199054"/>
                    </a:moveTo>
                    <a:cubicBezTo>
                      <a:pt x="168220" y="199054"/>
                      <a:pt x="167360" y="198823"/>
                      <a:pt x="166599" y="198393"/>
                    </a:cubicBezTo>
                    <a:lnTo>
                      <a:pt x="4961" y="105088"/>
                    </a:lnTo>
                    <a:cubicBezTo>
                      <a:pt x="3440" y="104195"/>
                      <a:pt x="2481" y="102574"/>
                      <a:pt x="2481" y="100788"/>
                    </a:cubicBezTo>
                    <a:cubicBezTo>
                      <a:pt x="2481" y="99002"/>
                      <a:pt x="3440" y="97381"/>
                      <a:pt x="4961" y="96488"/>
                    </a:cubicBezTo>
                    <a:lnTo>
                      <a:pt x="166599" y="3150"/>
                    </a:lnTo>
                    <a:cubicBezTo>
                      <a:pt x="168121" y="2257"/>
                      <a:pt x="170039" y="2257"/>
                      <a:pt x="171561" y="3150"/>
                    </a:cubicBezTo>
                    <a:lnTo>
                      <a:pt x="333199" y="96488"/>
                    </a:lnTo>
                    <a:cubicBezTo>
                      <a:pt x="334720" y="97381"/>
                      <a:pt x="335679" y="99002"/>
                      <a:pt x="335679" y="100788"/>
                    </a:cubicBezTo>
                    <a:cubicBezTo>
                      <a:pt x="335679" y="102574"/>
                      <a:pt x="334720" y="104195"/>
                      <a:pt x="333199" y="105088"/>
                    </a:cubicBezTo>
                    <a:lnTo>
                      <a:pt x="171561" y="198393"/>
                    </a:lnTo>
                    <a:cubicBezTo>
                      <a:pt x="170800" y="198823"/>
                      <a:pt x="169940" y="199054"/>
                      <a:pt x="169080" y="199054"/>
                    </a:cubicBezTo>
                    <a:close/>
                    <a:moveTo>
                      <a:pt x="17364" y="100788"/>
                    </a:moveTo>
                    <a:lnTo>
                      <a:pt x="169080" y="188371"/>
                    </a:lnTo>
                    <a:lnTo>
                      <a:pt x="320796" y="100788"/>
                    </a:lnTo>
                    <a:lnTo>
                      <a:pt x="169080" y="13172"/>
                    </a:lnTo>
                    <a:lnTo>
                      <a:pt x="17364" y="100788"/>
                    </a:ln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597" name="Freeform: Shape 596">
                <a:extLst>
                  <a:ext uri="{FF2B5EF4-FFF2-40B4-BE49-F238E27FC236}">
                    <a16:creationId xmlns:a16="http://schemas.microsoft.com/office/drawing/2014/main" id="{C44E2E5E-7C9D-4434-A9D2-7CA5E1CFFD51}"/>
                  </a:ext>
                </a:extLst>
              </p:cNvPr>
              <p:cNvSpPr/>
              <p:nvPr/>
            </p:nvSpPr>
            <p:spPr>
              <a:xfrm>
                <a:off x="2491714" y="4642129"/>
                <a:ext cx="13230" cy="198451"/>
              </a:xfrm>
              <a:custGeom>
                <a:avLst/>
                <a:gdLst>
                  <a:gd name="connsiteX0" fmla="*/ 7442 w 13230"/>
                  <a:gd name="connsiteY0" fmla="*/ 199013 h 198450"/>
                  <a:gd name="connsiteX1" fmla="*/ 2481 w 13230"/>
                  <a:gd name="connsiteY1" fmla="*/ 194052 h 198450"/>
                  <a:gd name="connsiteX2" fmla="*/ 2481 w 13230"/>
                  <a:gd name="connsiteY2" fmla="*/ 7442 h 198450"/>
                  <a:gd name="connsiteX3" fmla="*/ 7442 w 13230"/>
                  <a:gd name="connsiteY3" fmla="*/ 2481 h 198450"/>
                  <a:gd name="connsiteX4" fmla="*/ 12403 w 13230"/>
                  <a:gd name="connsiteY4" fmla="*/ 7442 h 198450"/>
                  <a:gd name="connsiteX5" fmla="*/ 12403 w 13230"/>
                  <a:gd name="connsiteY5" fmla="*/ 194052 h 198450"/>
                  <a:gd name="connsiteX6" fmla="*/ 7442 w 13230"/>
                  <a:gd name="connsiteY6" fmla="*/ 199013 h 19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230" h="198450">
                    <a:moveTo>
                      <a:pt x="7442" y="199013"/>
                    </a:moveTo>
                    <a:cubicBezTo>
                      <a:pt x="4697" y="199013"/>
                      <a:pt x="2481" y="196797"/>
                      <a:pt x="2481" y="194052"/>
                    </a:cubicBezTo>
                    <a:lnTo>
                      <a:pt x="2481" y="7442"/>
                    </a:lnTo>
                    <a:cubicBezTo>
                      <a:pt x="2481" y="4696"/>
                      <a:pt x="4697" y="2481"/>
                      <a:pt x="7442" y="2481"/>
                    </a:cubicBezTo>
                    <a:cubicBezTo>
                      <a:pt x="10187" y="2481"/>
                      <a:pt x="12403" y="4696"/>
                      <a:pt x="12403" y="7442"/>
                    </a:cubicBezTo>
                    <a:lnTo>
                      <a:pt x="12403" y="194052"/>
                    </a:lnTo>
                    <a:cubicBezTo>
                      <a:pt x="12403" y="196797"/>
                      <a:pt x="10187" y="199013"/>
                      <a:pt x="7442" y="199013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598" name="Freeform: Shape 597">
                <a:extLst>
                  <a:ext uri="{FF2B5EF4-FFF2-40B4-BE49-F238E27FC236}">
                    <a16:creationId xmlns:a16="http://schemas.microsoft.com/office/drawing/2014/main" id="{DB925DC4-AD51-4101-824D-7D79884CAB3F}"/>
                  </a:ext>
                </a:extLst>
              </p:cNvPr>
              <p:cNvSpPr/>
              <p:nvPr/>
            </p:nvSpPr>
            <p:spPr>
              <a:xfrm>
                <a:off x="2330076" y="4548791"/>
                <a:ext cx="337366" cy="294369"/>
              </a:xfrm>
              <a:custGeom>
                <a:avLst/>
                <a:gdLst>
                  <a:gd name="connsiteX0" fmla="*/ 169080 w 337366"/>
                  <a:gd name="connsiteY0" fmla="*/ 292351 h 294368"/>
                  <a:gd name="connsiteX1" fmla="*/ 166599 w 337366"/>
                  <a:gd name="connsiteY1" fmla="*/ 291689 h 294368"/>
                  <a:gd name="connsiteX2" fmla="*/ 4961 w 337366"/>
                  <a:gd name="connsiteY2" fmla="*/ 198385 h 294368"/>
                  <a:gd name="connsiteX3" fmla="*/ 2481 w 337366"/>
                  <a:gd name="connsiteY3" fmla="*/ 194085 h 294368"/>
                  <a:gd name="connsiteX4" fmla="*/ 2481 w 337366"/>
                  <a:gd name="connsiteY4" fmla="*/ 7442 h 294368"/>
                  <a:gd name="connsiteX5" fmla="*/ 7442 w 337366"/>
                  <a:gd name="connsiteY5" fmla="*/ 2481 h 294368"/>
                  <a:gd name="connsiteX6" fmla="*/ 12403 w 337366"/>
                  <a:gd name="connsiteY6" fmla="*/ 7442 h 294368"/>
                  <a:gd name="connsiteX7" fmla="*/ 12403 w 337366"/>
                  <a:gd name="connsiteY7" fmla="*/ 191207 h 294368"/>
                  <a:gd name="connsiteX8" fmla="*/ 169080 w 337366"/>
                  <a:gd name="connsiteY8" fmla="*/ 281634 h 294368"/>
                  <a:gd name="connsiteX9" fmla="*/ 325757 w 337366"/>
                  <a:gd name="connsiteY9" fmla="*/ 191207 h 294368"/>
                  <a:gd name="connsiteX10" fmla="*/ 325757 w 337366"/>
                  <a:gd name="connsiteY10" fmla="*/ 7442 h 294368"/>
                  <a:gd name="connsiteX11" fmla="*/ 330718 w 337366"/>
                  <a:gd name="connsiteY11" fmla="*/ 2481 h 294368"/>
                  <a:gd name="connsiteX12" fmla="*/ 335679 w 337366"/>
                  <a:gd name="connsiteY12" fmla="*/ 7442 h 294368"/>
                  <a:gd name="connsiteX13" fmla="*/ 335679 w 337366"/>
                  <a:gd name="connsiteY13" fmla="*/ 194085 h 294368"/>
                  <a:gd name="connsiteX14" fmla="*/ 333199 w 337366"/>
                  <a:gd name="connsiteY14" fmla="*/ 198385 h 294368"/>
                  <a:gd name="connsiteX15" fmla="*/ 171561 w 337366"/>
                  <a:gd name="connsiteY15" fmla="*/ 291689 h 294368"/>
                  <a:gd name="connsiteX16" fmla="*/ 169080 w 337366"/>
                  <a:gd name="connsiteY16" fmla="*/ 292351 h 294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37366" h="294368">
                    <a:moveTo>
                      <a:pt x="169080" y="292351"/>
                    </a:moveTo>
                    <a:cubicBezTo>
                      <a:pt x="168220" y="292351"/>
                      <a:pt x="167360" y="292119"/>
                      <a:pt x="166599" y="291689"/>
                    </a:cubicBezTo>
                    <a:lnTo>
                      <a:pt x="4961" y="198385"/>
                    </a:lnTo>
                    <a:cubicBezTo>
                      <a:pt x="3440" y="197491"/>
                      <a:pt x="2481" y="195871"/>
                      <a:pt x="2481" y="194085"/>
                    </a:cubicBezTo>
                    <a:lnTo>
                      <a:pt x="2481" y="7442"/>
                    </a:lnTo>
                    <a:cubicBezTo>
                      <a:pt x="2481" y="4696"/>
                      <a:pt x="4697" y="2481"/>
                      <a:pt x="7442" y="2481"/>
                    </a:cubicBezTo>
                    <a:cubicBezTo>
                      <a:pt x="10187" y="2481"/>
                      <a:pt x="12403" y="4696"/>
                      <a:pt x="12403" y="7442"/>
                    </a:cubicBezTo>
                    <a:lnTo>
                      <a:pt x="12403" y="191207"/>
                    </a:lnTo>
                    <a:lnTo>
                      <a:pt x="169080" y="281634"/>
                    </a:lnTo>
                    <a:lnTo>
                      <a:pt x="325757" y="191207"/>
                    </a:lnTo>
                    <a:lnTo>
                      <a:pt x="325757" y="7442"/>
                    </a:lnTo>
                    <a:cubicBezTo>
                      <a:pt x="325757" y="4696"/>
                      <a:pt x="327973" y="2481"/>
                      <a:pt x="330718" y="2481"/>
                    </a:cubicBezTo>
                    <a:cubicBezTo>
                      <a:pt x="333463" y="2481"/>
                      <a:pt x="335679" y="4696"/>
                      <a:pt x="335679" y="7442"/>
                    </a:cubicBezTo>
                    <a:lnTo>
                      <a:pt x="335679" y="194085"/>
                    </a:lnTo>
                    <a:cubicBezTo>
                      <a:pt x="335679" y="195871"/>
                      <a:pt x="334720" y="197491"/>
                      <a:pt x="333199" y="198385"/>
                    </a:cubicBezTo>
                    <a:lnTo>
                      <a:pt x="171561" y="291689"/>
                    </a:lnTo>
                    <a:cubicBezTo>
                      <a:pt x="170800" y="292119"/>
                      <a:pt x="169940" y="292351"/>
                      <a:pt x="169080" y="292351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599" name="Freeform: Shape 598">
                <a:extLst>
                  <a:ext uri="{FF2B5EF4-FFF2-40B4-BE49-F238E27FC236}">
                    <a16:creationId xmlns:a16="http://schemas.microsoft.com/office/drawing/2014/main" id="{39B813EC-3DC1-4CD7-A033-CF7334F69210}"/>
                  </a:ext>
                </a:extLst>
              </p:cNvPr>
              <p:cNvSpPr/>
              <p:nvPr/>
            </p:nvSpPr>
            <p:spPr>
              <a:xfrm>
                <a:off x="1868612" y="3859546"/>
                <a:ext cx="522587" cy="1071634"/>
              </a:xfrm>
              <a:custGeom>
                <a:avLst/>
                <a:gdLst>
                  <a:gd name="connsiteX0" fmla="*/ 523215 w 522586"/>
                  <a:gd name="connsiteY0" fmla="*/ 321251 h 1071634"/>
                  <a:gd name="connsiteX1" fmla="*/ 523215 w 522586"/>
                  <a:gd name="connsiteY1" fmla="*/ 1052839 h 1071634"/>
                  <a:gd name="connsiteX2" fmla="*/ 502543 w 522586"/>
                  <a:gd name="connsiteY2" fmla="*/ 1068451 h 1071634"/>
                  <a:gd name="connsiteX3" fmla="*/ 23119 w 522586"/>
                  <a:gd name="connsiteY3" fmla="*/ 791645 h 1071634"/>
                  <a:gd name="connsiteX4" fmla="*/ 2481 w 522586"/>
                  <a:gd name="connsiteY4" fmla="*/ 752186 h 1071634"/>
                  <a:gd name="connsiteX5" fmla="*/ 2481 w 522586"/>
                  <a:gd name="connsiteY5" fmla="*/ 20598 h 1071634"/>
                  <a:gd name="connsiteX6" fmla="*/ 23119 w 522586"/>
                  <a:gd name="connsiteY6" fmla="*/ 4953 h 1071634"/>
                  <a:gd name="connsiteX7" fmla="*/ 502543 w 522586"/>
                  <a:gd name="connsiteY7" fmla="*/ 281759 h 1071634"/>
                  <a:gd name="connsiteX8" fmla="*/ 523215 w 522586"/>
                  <a:gd name="connsiteY8" fmla="*/ 321251 h 1071634"/>
                  <a:gd name="connsiteX9" fmla="*/ 442247 w 522586"/>
                  <a:gd name="connsiteY9" fmla="*/ 606292 h 1071634"/>
                  <a:gd name="connsiteX10" fmla="*/ 424354 w 522586"/>
                  <a:gd name="connsiteY10" fmla="*/ 572092 h 1071634"/>
                  <a:gd name="connsiteX11" fmla="*/ 113845 w 522586"/>
                  <a:gd name="connsiteY11" fmla="*/ 392825 h 1071634"/>
                  <a:gd name="connsiteX12" fmla="*/ 106733 w 522586"/>
                  <a:gd name="connsiteY12" fmla="*/ 390675 h 1071634"/>
                  <a:gd name="connsiteX13" fmla="*/ 95951 w 522586"/>
                  <a:gd name="connsiteY13" fmla="*/ 406353 h 1071634"/>
                  <a:gd name="connsiteX14" fmla="*/ 113845 w 522586"/>
                  <a:gd name="connsiteY14" fmla="*/ 440553 h 1071634"/>
                  <a:gd name="connsiteX15" fmla="*/ 424354 w 522586"/>
                  <a:gd name="connsiteY15" fmla="*/ 619820 h 1071634"/>
                  <a:gd name="connsiteX16" fmla="*/ 431465 w 522586"/>
                  <a:gd name="connsiteY16" fmla="*/ 621970 h 1071634"/>
                  <a:gd name="connsiteX17" fmla="*/ 442247 w 522586"/>
                  <a:gd name="connsiteY17" fmla="*/ 606292 h 1071634"/>
                  <a:gd name="connsiteX18" fmla="*/ 442247 w 522586"/>
                  <a:gd name="connsiteY18" fmla="*/ 713919 h 1071634"/>
                  <a:gd name="connsiteX19" fmla="*/ 424354 w 522586"/>
                  <a:gd name="connsiteY19" fmla="*/ 679719 h 1071634"/>
                  <a:gd name="connsiteX20" fmla="*/ 113845 w 522586"/>
                  <a:gd name="connsiteY20" fmla="*/ 500452 h 1071634"/>
                  <a:gd name="connsiteX21" fmla="*/ 106733 w 522586"/>
                  <a:gd name="connsiteY21" fmla="*/ 498302 h 1071634"/>
                  <a:gd name="connsiteX22" fmla="*/ 95951 w 522586"/>
                  <a:gd name="connsiteY22" fmla="*/ 513979 h 1071634"/>
                  <a:gd name="connsiteX23" fmla="*/ 113845 w 522586"/>
                  <a:gd name="connsiteY23" fmla="*/ 548146 h 1071634"/>
                  <a:gd name="connsiteX24" fmla="*/ 424354 w 522586"/>
                  <a:gd name="connsiteY24" fmla="*/ 727446 h 1071634"/>
                  <a:gd name="connsiteX25" fmla="*/ 431465 w 522586"/>
                  <a:gd name="connsiteY25" fmla="*/ 729596 h 1071634"/>
                  <a:gd name="connsiteX26" fmla="*/ 442247 w 522586"/>
                  <a:gd name="connsiteY26" fmla="*/ 713919 h 1071634"/>
                  <a:gd name="connsiteX27" fmla="*/ 442247 w 522586"/>
                  <a:gd name="connsiteY27" fmla="*/ 821545 h 1071634"/>
                  <a:gd name="connsiteX28" fmla="*/ 424354 w 522586"/>
                  <a:gd name="connsiteY28" fmla="*/ 787345 h 1071634"/>
                  <a:gd name="connsiteX29" fmla="*/ 113845 w 522586"/>
                  <a:gd name="connsiteY29" fmla="*/ 608078 h 1071634"/>
                  <a:gd name="connsiteX30" fmla="*/ 106733 w 522586"/>
                  <a:gd name="connsiteY30" fmla="*/ 605928 h 1071634"/>
                  <a:gd name="connsiteX31" fmla="*/ 95951 w 522586"/>
                  <a:gd name="connsiteY31" fmla="*/ 621606 h 1071634"/>
                  <a:gd name="connsiteX32" fmla="*/ 113845 w 522586"/>
                  <a:gd name="connsiteY32" fmla="*/ 655772 h 1071634"/>
                  <a:gd name="connsiteX33" fmla="*/ 424354 w 522586"/>
                  <a:gd name="connsiteY33" fmla="*/ 835073 h 1071634"/>
                  <a:gd name="connsiteX34" fmla="*/ 431465 w 522586"/>
                  <a:gd name="connsiteY34" fmla="*/ 837223 h 1071634"/>
                  <a:gd name="connsiteX35" fmla="*/ 442247 w 522586"/>
                  <a:gd name="connsiteY35" fmla="*/ 821545 h 1071634"/>
                  <a:gd name="connsiteX36" fmla="*/ 153005 w 522586"/>
                  <a:gd name="connsiteY36" fmla="*/ 325848 h 1071634"/>
                  <a:gd name="connsiteX37" fmla="*/ 177448 w 522586"/>
                  <a:gd name="connsiteY37" fmla="*/ 234627 h 1071634"/>
                  <a:gd name="connsiteX38" fmla="*/ 86227 w 522586"/>
                  <a:gd name="connsiteY38" fmla="*/ 153725 h 1071634"/>
                  <a:gd name="connsiteX39" fmla="*/ 61784 w 522586"/>
                  <a:gd name="connsiteY39" fmla="*/ 244946 h 1071634"/>
                  <a:gd name="connsiteX40" fmla="*/ 153005 w 522586"/>
                  <a:gd name="connsiteY40" fmla="*/ 325848 h 1071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522586" h="1071634">
                    <a:moveTo>
                      <a:pt x="523215" y="321251"/>
                    </a:moveTo>
                    <a:lnTo>
                      <a:pt x="523215" y="1052839"/>
                    </a:lnTo>
                    <a:cubicBezTo>
                      <a:pt x="523215" y="1068054"/>
                      <a:pt x="513954" y="1075033"/>
                      <a:pt x="502543" y="1068451"/>
                    </a:cubicBezTo>
                    <a:lnTo>
                      <a:pt x="23119" y="791645"/>
                    </a:lnTo>
                    <a:cubicBezTo>
                      <a:pt x="11709" y="785063"/>
                      <a:pt x="2481" y="767401"/>
                      <a:pt x="2481" y="752186"/>
                    </a:cubicBezTo>
                    <a:lnTo>
                      <a:pt x="2481" y="20598"/>
                    </a:lnTo>
                    <a:cubicBezTo>
                      <a:pt x="2481" y="5383"/>
                      <a:pt x="11709" y="-1629"/>
                      <a:pt x="23119" y="4953"/>
                    </a:cubicBezTo>
                    <a:lnTo>
                      <a:pt x="502543" y="281759"/>
                    </a:lnTo>
                    <a:cubicBezTo>
                      <a:pt x="513954" y="288341"/>
                      <a:pt x="523215" y="306036"/>
                      <a:pt x="523215" y="321251"/>
                    </a:cubicBezTo>
                    <a:close/>
                    <a:moveTo>
                      <a:pt x="442247" y="606292"/>
                    </a:moveTo>
                    <a:cubicBezTo>
                      <a:pt x="442247" y="593095"/>
                      <a:pt x="434243" y="577781"/>
                      <a:pt x="424354" y="572092"/>
                    </a:cubicBezTo>
                    <a:lnTo>
                      <a:pt x="113845" y="392825"/>
                    </a:lnTo>
                    <a:cubicBezTo>
                      <a:pt x="111331" y="391370"/>
                      <a:pt x="108916" y="390675"/>
                      <a:pt x="106733" y="390675"/>
                    </a:cubicBezTo>
                    <a:cubicBezTo>
                      <a:pt x="100383" y="390675"/>
                      <a:pt x="95951" y="396530"/>
                      <a:pt x="95951" y="406353"/>
                    </a:cubicBezTo>
                    <a:cubicBezTo>
                      <a:pt x="95951" y="419517"/>
                      <a:pt x="103955" y="434831"/>
                      <a:pt x="113845" y="440553"/>
                    </a:cubicBezTo>
                    <a:lnTo>
                      <a:pt x="424354" y="619820"/>
                    </a:lnTo>
                    <a:cubicBezTo>
                      <a:pt x="426868" y="621275"/>
                      <a:pt x="429282" y="621970"/>
                      <a:pt x="431465" y="621970"/>
                    </a:cubicBezTo>
                    <a:cubicBezTo>
                      <a:pt x="437815" y="621970"/>
                      <a:pt x="442247" y="616082"/>
                      <a:pt x="442247" y="606292"/>
                    </a:cubicBezTo>
                    <a:close/>
                    <a:moveTo>
                      <a:pt x="442247" y="713919"/>
                    </a:moveTo>
                    <a:cubicBezTo>
                      <a:pt x="442247" y="700722"/>
                      <a:pt x="434243" y="685408"/>
                      <a:pt x="424354" y="679719"/>
                    </a:cubicBezTo>
                    <a:lnTo>
                      <a:pt x="113845" y="500452"/>
                    </a:lnTo>
                    <a:cubicBezTo>
                      <a:pt x="111331" y="498997"/>
                      <a:pt x="108916" y="498302"/>
                      <a:pt x="106733" y="498302"/>
                    </a:cubicBezTo>
                    <a:cubicBezTo>
                      <a:pt x="100383" y="498302"/>
                      <a:pt x="95951" y="504156"/>
                      <a:pt x="95951" y="513979"/>
                    </a:cubicBezTo>
                    <a:cubicBezTo>
                      <a:pt x="95951" y="527143"/>
                      <a:pt x="103955" y="542457"/>
                      <a:pt x="113845" y="548146"/>
                    </a:cubicBezTo>
                    <a:lnTo>
                      <a:pt x="424354" y="727446"/>
                    </a:lnTo>
                    <a:cubicBezTo>
                      <a:pt x="426868" y="728902"/>
                      <a:pt x="429282" y="729596"/>
                      <a:pt x="431465" y="729596"/>
                    </a:cubicBezTo>
                    <a:cubicBezTo>
                      <a:pt x="437815" y="729596"/>
                      <a:pt x="442247" y="723709"/>
                      <a:pt x="442247" y="713919"/>
                    </a:cubicBezTo>
                    <a:close/>
                    <a:moveTo>
                      <a:pt x="442247" y="821545"/>
                    </a:moveTo>
                    <a:cubicBezTo>
                      <a:pt x="442247" y="808348"/>
                      <a:pt x="434243" y="793034"/>
                      <a:pt x="424354" y="787345"/>
                    </a:cubicBezTo>
                    <a:lnTo>
                      <a:pt x="113845" y="608078"/>
                    </a:lnTo>
                    <a:cubicBezTo>
                      <a:pt x="111331" y="606623"/>
                      <a:pt x="108916" y="605928"/>
                      <a:pt x="106733" y="605928"/>
                    </a:cubicBezTo>
                    <a:cubicBezTo>
                      <a:pt x="100383" y="605928"/>
                      <a:pt x="95951" y="611783"/>
                      <a:pt x="95951" y="621606"/>
                    </a:cubicBezTo>
                    <a:cubicBezTo>
                      <a:pt x="95951" y="634770"/>
                      <a:pt x="103955" y="650083"/>
                      <a:pt x="113845" y="655772"/>
                    </a:cubicBezTo>
                    <a:lnTo>
                      <a:pt x="424354" y="835073"/>
                    </a:lnTo>
                    <a:cubicBezTo>
                      <a:pt x="426868" y="836528"/>
                      <a:pt x="429282" y="837223"/>
                      <a:pt x="431465" y="837223"/>
                    </a:cubicBezTo>
                    <a:cubicBezTo>
                      <a:pt x="437815" y="837223"/>
                      <a:pt x="442247" y="831335"/>
                      <a:pt x="442247" y="821545"/>
                    </a:cubicBezTo>
                    <a:close/>
                    <a:moveTo>
                      <a:pt x="153005" y="325848"/>
                    </a:moveTo>
                    <a:cubicBezTo>
                      <a:pt x="184956" y="323004"/>
                      <a:pt x="195904" y="282156"/>
                      <a:pt x="177448" y="234627"/>
                    </a:cubicBezTo>
                    <a:cubicBezTo>
                      <a:pt x="159025" y="187098"/>
                      <a:pt x="118177" y="150881"/>
                      <a:pt x="86227" y="153725"/>
                    </a:cubicBezTo>
                    <a:cubicBezTo>
                      <a:pt x="54276" y="156570"/>
                      <a:pt x="43328" y="197417"/>
                      <a:pt x="61784" y="244946"/>
                    </a:cubicBezTo>
                    <a:cubicBezTo>
                      <a:pt x="80240" y="292475"/>
                      <a:pt x="121088" y="328693"/>
                      <a:pt x="153005" y="325848"/>
                    </a:cubicBezTo>
                    <a:close/>
                  </a:path>
                </a:pathLst>
              </a:custGeom>
              <a:solidFill>
                <a:srgbClr val="CAC5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00" name="Freeform: Shape 599">
                <a:extLst>
                  <a:ext uri="{FF2B5EF4-FFF2-40B4-BE49-F238E27FC236}">
                    <a16:creationId xmlns:a16="http://schemas.microsoft.com/office/drawing/2014/main" id="{DA37750A-6ACC-4E9D-BA5B-67755AAC932C}"/>
                  </a:ext>
                </a:extLst>
              </p:cNvPr>
              <p:cNvSpPr/>
              <p:nvPr/>
            </p:nvSpPr>
            <p:spPr>
              <a:xfrm>
                <a:off x="1962082" y="4247741"/>
                <a:ext cx="350596" cy="234833"/>
              </a:xfrm>
              <a:custGeom>
                <a:avLst/>
                <a:gdLst>
                  <a:gd name="connsiteX0" fmla="*/ 330884 w 350596"/>
                  <a:gd name="connsiteY0" fmla="*/ 183898 h 234833"/>
                  <a:gd name="connsiteX1" fmla="*/ 348777 w 350596"/>
                  <a:gd name="connsiteY1" fmla="*/ 218097 h 234833"/>
                  <a:gd name="connsiteX2" fmla="*/ 337995 w 350596"/>
                  <a:gd name="connsiteY2" fmla="*/ 233775 h 234833"/>
                  <a:gd name="connsiteX3" fmla="*/ 330884 w 350596"/>
                  <a:gd name="connsiteY3" fmla="*/ 231625 h 234833"/>
                  <a:gd name="connsiteX4" fmla="*/ 20374 w 350596"/>
                  <a:gd name="connsiteY4" fmla="*/ 52358 h 234833"/>
                  <a:gd name="connsiteX5" fmla="*/ 2481 w 350596"/>
                  <a:gd name="connsiteY5" fmla="*/ 18158 h 234833"/>
                  <a:gd name="connsiteX6" fmla="*/ 13263 w 350596"/>
                  <a:gd name="connsiteY6" fmla="*/ 2481 h 234833"/>
                  <a:gd name="connsiteX7" fmla="*/ 20374 w 350596"/>
                  <a:gd name="connsiteY7" fmla="*/ 4630 h 234833"/>
                  <a:gd name="connsiteX8" fmla="*/ 330884 w 350596"/>
                  <a:gd name="connsiteY8" fmla="*/ 183898 h 23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0596" h="234833">
                    <a:moveTo>
                      <a:pt x="330884" y="183898"/>
                    </a:moveTo>
                    <a:cubicBezTo>
                      <a:pt x="340773" y="189586"/>
                      <a:pt x="348777" y="204900"/>
                      <a:pt x="348777" y="218097"/>
                    </a:cubicBezTo>
                    <a:cubicBezTo>
                      <a:pt x="348777" y="227887"/>
                      <a:pt x="344345" y="233775"/>
                      <a:pt x="337995" y="233775"/>
                    </a:cubicBezTo>
                    <a:cubicBezTo>
                      <a:pt x="335812" y="233775"/>
                      <a:pt x="333397" y="233080"/>
                      <a:pt x="330884" y="231625"/>
                    </a:cubicBezTo>
                    <a:lnTo>
                      <a:pt x="20374" y="52358"/>
                    </a:lnTo>
                    <a:cubicBezTo>
                      <a:pt x="10485" y="46636"/>
                      <a:pt x="2481" y="31322"/>
                      <a:pt x="2481" y="18158"/>
                    </a:cubicBezTo>
                    <a:cubicBezTo>
                      <a:pt x="2481" y="8335"/>
                      <a:pt x="6913" y="2481"/>
                      <a:pt x="13263" y="2481"/>
                    </a:cubicBezTo>
                    <a:cubicBezTo>
                      <a:pt x="15446" y="2481"/>
                      <a:pt x="17861" y="3175"/>
                      <a:pt x="20374" y="4630"/>
                    </a:cubicBezTo>
                    <a:lnTo>
                      <a:pt x="330884" y="183898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01" name="Freeform: Shape 600">
                <a:extLst>
                  <a:ext uri="{FF2B5EF4-FFF2-40B4-BE49-F238E27FC236}">
                    <a16:creationId xmlns:a16="http://schemas.microsoft.com/office/drawing/2014/main" id="{CA8DA554-0E1F-46AD-8C6C-8E58F974A0EF}"/>
                  </a:ext>
                </a:extLst>
              </p:cNvPr>
              <p:cNvSpPr/>
              <p:nvPr/>
            </p:nvSpPr>
            <p:spPr>
              <a:xfrm>
                <a:off x="1962082" y="4355367"/>
                <a:ext cx="350596" cy="234833"/>
              </a:xfrm>
              <a:custGeom>
                <a:avLst/>
                <a:gdLst>
                  <a:gd name="connsiteX0" fmla="*/ 330884 w 350596"/>
                  <a:gd name="connsiteY0" fmla="*/ 183898 h 234833"/>
                  <a:gd name="connsiteX1" fmla="*/ 348777 w 350596"/>
                  <a:gd name="connsiteY1" fmla="*/ 218098 h 234833"/>
                  <a:gd name="connsiteX2" fmla="*/ 337995 w 350596"/>
                  <a:gd name="connsiteY2" fmla="*/ 233775 h 234833"/>
                  <a:gd name="connsiteX3" fmla="*/ 330884 w 350596"/>
                  <a:gd name="connsiteY3" fmla="*/ 231625 h 234833"/>
                  <a:gd name="connsiteX4" fmla="*/ 20374 w 350596"/>
                  <a:gd name="connsiteY4" fmla="*/ 52325 h 234833"/>
                  <a:gd name="connsiteX5" fmla="*/ 2481 w 350596"/>
                  <a:gd name="connsiteY5" fmla="*/ 18158 h 234833"/>
                  <a:gd name="connsiteX6" fmla="*/ 13263 w 350596"/>
                  <a:gd name="connsiteY6" fmla="*/ 2481 h 234833"/>
                  <a:gd name="connsiteX7" fmla="*/ 20374 w 350596"/>
                  <a:gd name="connsiteY7" fmla="*/ 4631 h 234833"/>
                  <a:gd name="connsiteX8" fmla="*/ 330884 w 350596"/>
                  <a:gd name="connsiteY8" fmla="*/ 183898 h 23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0596" h="234833">
                    <a:moveTo>
                      <a:pt x="330884" y="183898"/>
                    </a:moveTo>
                    <a:cubicBezTo>
                      <a:pt x="340773" y="189587"/>
                      <a:pt x="348777" y="204901"/>
                      <a:pt x="348777" y="218098"/>
                    </a:cubicBezTo>
                    <a:cubicBezTo>
                      <a:pt x="348777" y="227888"/>
                      <a:pt x="344345" y="233775"/>
                      <a:pt x="337995" y="233775"/>
                    </a:cubicBezTo>
                    <a:cubicBezTo>
                      <a:pt x="335812" y="233775"/>
                      <a:pt x="333397" y="233081"/>
                      <a:pt x="330884" y="231625"/>
                    </a:cubicBezTo>
                    <a:lnTo>
                      <a:pt x="20374" y="52325"/>
                    </a:lnTo>
                    <a:cubicBezTo>
                      <a:pt x="10485" y="46636"/>
                      <a:pt x="2481" y="31322"/>
                      <a:pt x="2481" y="18158"/>
                    </a:cubicBezTo>
                    <a:cubicBezTo>
                      <a:pt x="2481" y="8335"/>
                      <a:pt x="6913" y="2481"/>
                      <a:pt x="13263" y="2481"/>
                    </a:cubicBezTo>
                    <a:cubicBezTo>
                      <a:pt x="15446" y="2481"/>
                      <a:pt x="17861" y="3175"/>
                      <a:pt x="20374" y="4631"/>
                    </a:cubicBezTo>
                    <a:lnTo>
                      <a:pt x="330884" y="183898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02" name="Freeform: Shape 601">
                <a:extLst>
                  <a:ext uri="{FF2B5EF4-FFF2-40B4-BE49-F238E27FC236}">
                    <a16:creationId xmlns:a16="http://schemas.microsoft.com/office/drawing/2014/main" id="{9F0D5809-0A49-4265-8462-81049F7848F6}"/>
                  </a:ext>
                </a:extLst>
              </p:cNvPr>
              <p:cNvSpPr/>
              <p:nvPr/>
            </p:nvSpPr>
            <p:spPr>
              <a:xfrm>
                <a:off x="1962082" y="4462994"/>
                <a:ext cx="350596" cy="234833"/>
              </a:xfrm>
              <a:custGeom>
                <a:avLst/>
                <a:gdLst>
                  <a:gd name="connsiteX0" fmla="*/ 330884 w 350596"/>
                  <a:gd name="connsiteY0" fmla="*/ 183898 h 234833"/>
                  <a:gd name="connsiteX1" fmla="*/ 348777 w 350596"/>
                  <a:gd name="connsiteY1" fmla="*/ 218098 h 234833"/>
                  <a:gd name="connsiteX2" fmla="*/ 337995 w 350596"/>
                  <a:gd name="connsiteY2" fmla="*/ 233775 h 234833"/>
                  <a:gd name="connsiteX3" fmla="*/ 330884 w 350596"/>
                  <a:gd name="connsiteY3" fmla="*/ 231625 h 234833"/>
                  <a:gd name="connsiteX4" fmla="*/ 20374 w 350596"/>
                  <a:gd name="connsiteY4" fmla="*/ 52325 h 234833"/>
                  <a:gd name="connsiteX5" fmla="*/ 2481 w 350596"/>
                  <a:gd name="connsiteY5" fmla="*/ 18158 h 234833"/>
                  <a:gd name="connsiteX6" fmla="*/ 13263 w 350596"/>
                  <a:gd name="connsiteY6" fmla="*/ 2481 h 234833"/>
                  <a:gd name="connsiteX7" fmla="*/ 20374 w 350596"/>
                  <a:gd name="connsiteY7" fmla="*/ 4631 h 234833"/>
                  <a:gd name="connsiteX8" fmla="*/ 330884 w 350596"/>
                  <a:gd name="connsiteY8" fmla="*/ 183898 h 23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0596" h="234833">
                    <a:moveTo>
                      <a:pt x="330884" y="183898"/>
                    </a:moveTo>
                    <a:cubicBezTo>
                      <a:pt x="340773" y="189586"/>
                      <a:pt x="348777" y="204900"/>
                      <a:pt x="348777" y="218098"/>
                    </a:cubicBezTo>
                    <a:cubicBezTo>
                      <a:pt x="348777" y="227888"/>
                      <a:pt x="344345" y="233775"/>
                      <a:pt x="337995" y="233775"/>
                    </a:cubicBezTo>
                    <a:cubicBezTo>
                      <a:pt x="335812" y="233775"/>
                      <a:pt x="333397" y="233080"/>
                      <a:pt x="330884" y="231625"/>
                    </a:cubicBezTo>
                    <a:lnTo>
                      <a:pt x="20374" y="52325"/>
                    </a:lnTo>
                    <a:cubicBezTo>
                      <a:pt x="10485" y="46636"/>
                      <a:pt x="2481" y="31322"/>
                      <a:pt x="2481" y="18158"/>
                    </a:cubicBezTo>
                    <a:cubicBezTo>
                      <a:pt x="2481" y="8335"/>
                      <a:pt x="6913" y="2481"/>
                      <a:pt x="13263" y="2481"/>
                    </a:cubicBezTo>
                    <a:cubicBezTo>
                      <a:pt x="15446" y="2481"/>
                      <a:pt x="17861" y="3175"/>
                      <a:pt x="20374" y="4631"/>
                    </a:cubicBezTo>
                    <a:lnTo>
                      <a:pt x="330884" y="183898"/>
                    </a:ln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03" name="Freeform: Shape 602">
                <a:extLst>
                  <a:ext uri="{FF2B5EF4-FFF2-40B4-BE49-F238E27FC236}">
                    <a16:creationId xmlns:a16="http://schemas.microsoft.com/office/drawing/2014/main" id="{46BCA488-ECE6-4247-8902-5A856AEF8B5B}"/>
                  </a:ext>
                </a:extLst>
              </p:cNvPr>
              <p:cNvSpPr/>
              <p:nvPr/>
            </p:nvSpPr>
            <p:spPr>
              <a:xfrm>
                <a:off x="1918949" y="4010634"/>
                <a:ext cx="135608" cy="175298"/>
              </a:xfrm>
              <a:custGeom>
                <a:avLst/>
                <a:gdLst>
                  <a:gd name="connsiteX0" fmla="*/ 127111 w 135608"/>
                  <a:gd name="connsiteY0" fmla="*/ 83539 h 175298"/>
                  <a:gd name="connsiteX1" fmla="*/ 102669 w 135608"/>
                  <a:gd name="connsiteY1" fmla="*/ 174760 h 175298"/>
                  <a:gd name="connsiteX2" fmla="*/ 11448 w 135608"/>
                  <a:gd name="connsiteY2" fmla="*/ 93858 h 175298"/>
                  <a:gd name="connsiteX3" fmla="*/ 35890 w 135608"/>
                  <a:gd name="connsiteY3" fmla="*/ 2637 h 175298"/>
                  <a:gd name="connsiteX4" fmla="*/ 127111 w 135608"/>
                  <a:gd name="connsiteY4" fmla="*/ 83539 h 17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608" h="175298">
                    <a:moveTo>
                      <a:pt x="127111" y="83539"/>
                    </a:moveTo>
                    <a:cubicBezTo>
                      <a:pt x="145567" y="131068"/>
                      <a:pt x="134620" y="171916"/>
                      <a:pt x="102669" y="174760"/>
                    </a:cubicBezTo>
                    <a:cubicBezTo>
                      <a:pt x="70751" y="177605"/>
                      <a:pt x="29904" y="141387"/>
                      <a:pt x="11448" y="93858"/>
                    </a:cubicBezTo>
                    <a:cubicBezTo>
                      <a:pt x="-7008" y="46329"/>
                      <a:pt x="3940" y="5482"/>
                      <a:pt x="35890" y="2637"/>
                    </a:cubicBezTo>
                    <a:cubicBezTo>
                      <a:pt x="67841" y="-207"/>
                      <a:pt x="108689" y="36010"/>
                      <a:pt x="127111" y="83539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04" name="Freeform: Shape 603">
                <a:extLst>
                  <a:ext uri="{FF2B5EF4-FFF2-40B4-BE49-F238E27FC236}">
                    <a16:creationId xmlns:a16="http://schemas.microsoft.com/office/drawing/2014/main" id="{CB2AD6EB-C114-4F35-9358-16F00249A21E}"/>
                  </a:ext>
                </a:extLst>
              </p:cNvPr>
              <p:cNvSpPr/>
              <p:nvPr/>
            </p:nvSpPr>
            <p:spPr>
              <a:xfrm>
                <a:off x="1863651" y="3854565"/>
                <a:ext cx="532510" cy="1081557"/>
              </a:xfrm>
              <a:custGeom>
                <a:avLst/>
                <a:gdLst>
                  <a:gd name="connsiteX0" fmla="*/ 515740 w 532509"/>
                  <a:gd name="connsiteY0" fmla="*/ 1080874 h 1081556"/>
                  <a:gd name="connsiteX1" fmla="*/ 505024 w 532509"/>
                  <a:gd name="connsiteY1" fmla="*/ 1077732 h 1081556"/>
                  <a:gd name="connsiteX2" fmla="*/ 505024 w 532509"/>
                  <a:gd name="connsiteY2" fmla="*/ 1077732 h 1081556"/>
                  <a:gd name="connsiteX3" fmla="*/ 25600 w 532509"/>
                  <a:gd name="connsiteY3" fmla="*/ 800926 h 1081556"/>
                  <a:gd name="connsiteX4" fmla="*/ 2481 w 532509"/>
                  <a:gd name="connsiteY4" fmla="*/ 757168 h 1081556"/>
                  <a:gd name="connsiteX5" fmla="*/ 2481 w 532509"/>
                  <a:gd name="connsiteY5" fmla="*/ 25580 h 1081556"/>
                  <a:gd name="connsiteX6" fmla="*/ 12105 w 532509"/>
                  <a:gd name="connsiteY6" fmla="*/ 4544 h 1081556"/>
                  <a:gd name="connsiteX7" fmla="*/ 30561 w 532509"/>
                  <a:gd name="connsiteY7" fmla="*/ 5635 h 1081556"/>
                  <a:gd name="connsiteX8" fmla="*/ 509985 w 532509"/>
                  <a:gd name="connsiteY8" fmla="*/ 282441 h 1081556"/>
                  <a:gd name="connsiteX9" fmla="*/ 533138 w 532509"/>
                  <a:gd name="connsiteY9" fmla="*/ 326232 h 1081556"/>
                  <a:gd name="connsiteX10" fmla="*/ 533138 w 532509"/>
                  <a:gd name="connsiteY10" fmla="*/ 1057821 h 1081556"/>
                  <a:gd name="connsiteX11" fmla="*/ 523513 w 532509"/>
                  <a:gd name="connsiteY11" fmla="*/ 1078824 h 1081556"/>
                  <a:gd name="connsiteX12" fmla="*/ 515707 w 532509"/>
                  <a:gd name="connsiteY12" fmla="*/ 1080907 h 1081556"/>
                  <a:gd name="connsiteX13" fmla="*/ 509985 w 532509"/>
                  <a:gd name="connsiteY13" fmla="*/ 1069133 h 1081556"/>
                  <a:gd name="connsiteX14" fmla="*/ 518552 w 532509"/>
                  <a:gd name="connsiteY14" fmla="*/ 1070224 h 1081556"/>
                  <a:gd name="connsiteX15" fmla="*/ 523215 w 532509"/>
                  <a:gd name="connsiteY15" fmla="*/ 1057821 h 1081556"/>
                  <a:gd name="connsiteX16" fmla="*/ 523215 w 532509"/>
                  <a:gd name="connsiteY16" fmla="*/ 326232 h 1081556"/>
                  <a:gd name="connsiteX17" fmla="*/ 505024 w 532509"/>
                  <a:gd name="connsiteY17" fmla="*/ 291041 h 1081556"/>
                  <a:gd name="connsiteX18" fmla="*/ 25600 w 532509"/>
                  <a:gd name="connsiteY18" fmla="*/ 14235 h 1081556"/>
                  <a:gd name="connsiteX19" fmla="*/ 17067 w 532509"/>
                  <a:gd name="connsiteY19" fmla="*/ 13143 h 1081556"/>
                  <a:gd name="connsiteX20" fmla="*/ 12403 w 532509"/>
                  <a:gd name="connsiteY20" fmla="*/ 25580 h 1081556"/>
                  <a:gd name="connsiteX21" fmla="*/ 12403 w 532509"/>
                  <a:gd name="connsiteY21" fmla="*/ 757168 h 1081556"/>
                  <a:gd name="connsiteX22" fmla="*/ 30561 w 532509"/>
                  <a:gd name="connsiteY22" fmla="*/ 792327 h 1081556"/>
                  <a:gd name="connsiteX23" fmla="*/ 509985 w 532509"/>
                  <a:gd name="connsiteY23" fmla="*/ 1069133 h 1081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32509" h="1081556">
                    <a:moveTo>
                      <a:pt x="515740" y="1080874"/>
                    </a:moveTo>
                    <a:cubicBezTo>
                      <a:pt x="512300" y="1080874"/>
                      <a:pt x="508662" y="1079816"/>
                      <a:pt x="505024" y="1077732"/>
                    </a:cubicBezTo>
                    <a:lnTo>
                      <a:pt x="505024" y="1077732"/>
                    </a:lnTo>
                    <a:lnTo>
                      <a:pt x="25600" y="800926"/>
                    </a:lnTo>
                    <a:cubicBezTo>
                      <a:pt x="12635" y="793452"/>
                      <a:pt x="2481" y="774235"/>
                      <a:pt x="2481" y="757168"/>
                    </a:cubicBezTo>
                    <a:lnTo>
                      <a:pt x="2481" y="25580"/>
                    </a:lnTo>
                    <a:cubicBezTo>
                      <a:pt x="2481" y="15756"/>
                      <a:pt x="5987" y="8083"/>
                      <a:pt x="12105" y="4544"/>
                    </a:cubicBezTo>
                    <a:cubicBezTo>
                      <a:pt x="17464" y="1468"/>
                      <a:pt x="24012" y="1831"/>
                      <a:pt x="30561" y="5635"/>
                    </a:cubicBezTo>
                    <a:lnTo>
                      <a:pt x="509985" y="282441"/>
                    </a:lnTo>
                    <a:cubicBezTo>
                      <a:pt x="522951" y="289916"/>
                      <a:pt x="533138" y="309166"/>
                      <a:pt x="533138" y="326232"/>
                    </a:cubicBezTo>
                    <a:lnTo>
                      <a:pt x="533138" y="1057821"/>
                    </a:lnTo>
                    <a:cubicBezTo>
                      <a:pt x="533138" y="1067644"/>
                      <a:pt x="529632" y="1075285"/>
                      <a:pt x="523513" y="1078824"/>
                    </a:cubicBezTo>
                    <a:cubicBezTo>
                      <a:pt x="521132" y="1080213"/>
                      <a:pt x="518486" y="1080907"/>
                      <a:pt x="515707" y="1080907"/>
                    </a:cubicBezTo>
                    <a:close/>
                    <a:moveTo>
                      <a:pt x="509985" y="1069133"/>
                    </a:moveTo>
                    <a:cubicBezTo>
                      <a:pt x="512367" y="1070522"/>
                      <a:pt x="515806" y="1071812"/>
                      <a:pt x="518552" y="1070224"/>
                    </a:cubicBezTo>
                    <a:cubicBezTo>
                      <a:pt x="521462" y="1068537"/>
                      <a:pt x="523215" y="1063907"/>
                      <a:pt x="523215" y="1057821"/>
                    </a:cubicBezTo>
                    <a:lnTo>
                      <a:pt x="523215" y="326232"/>
                    </a:lnTo>
                    <a:cubicBezTo>
                      <a:pt x="523215" y="312837"/>
                      <a:pt x="514880" y="296729"/>
                      <a:pt x="505024" y="291041"/>
                    </a:cubicBezTo>
                    <a:lnTo>
                      <a:pt x="25600" y="14235"/>
                    </a:lnTo>
                    <a:cubicBezTo>
                      <a:pt x="23219" y="12879"/>
                      <a:pt x="19812" y="11556"/>
                      <a:pt x="17067" y="13143"/>
                    </a:cubicBezTo>
                    <a:cubicBezTo>
                      <a:pt x="14156" y="14830"/>
                      <a:pt x="12403" y="19494"/>
                      <a:pt x="12403" y="25580"/>
                    </a:cubicBezTo>
                    <a:lnTo>
                      <a:pt x="12403" y="757168"/>
                    </a:lnTo>
                    <a:cubicBezTo>
                      <a:pt x="12403" y="770564"/>
                      <a:pt x="20705" y="786671"/>
                      <a:pt x="30561" y="792327"/>
                    </a:cubicBezTo>
                    <a:lnTo>
                      <a:pt x="509985" y="1069133"/>
                    </a:ln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05" name="Freeform: Shape 604">
                <a:extLst>
                  <a:ext uri="{FF2B5EF4-FFF2-40B4-BE49-F238E27FC236}">
                    <a16:creationId xmlns:a16="http://schemas.microsoft.com/office/drawing/2014/main" id="{55D68674-E779-4610-A75C-774DAEC84386}"/>
                  </a:ext>
                </a:extLst>
              </p:cNvPr>
              <p:cNvSpPr/>
              <p:nvPr/>
            </p:nvSpPr>
            <p:spPr>
              <a:xfrm>
                <a:off x="1914011" y="4005684"/>
                <a:ext cx="145531" cy="185221"/>
              </a:xfrm>
              <a:custGeom>
                <a:avLst/>
                <a:gdLst>
                  <a:gd name="connsiteX0" fmla="*/ 104001 w 145530"/>
                  <a:gd name="connsiteY0" fmla="*/ 184837 h 185220"/>
                  <a:gd name="connsiteX1" fmla="*/ 11788 w 145530"/>
                  <a:gd name="connsiteY1" fmla="*/ 100628 h 185220"/>
                  <a:gd name="connsiteX2" fmla="*/ 10994 w 145530"/>
                  <a:gd name="connsiteY2" fmla="*/ 20884 h 185220"/>
                  <a:gd name="connsiteX3" fmla="*/ 40431 w 145530"/>
                  <a:gd name="connsiteY3" fmla="*/ 2660 h 185220"/>
                  <a:gd name="connsiteX4" fmla="*/ 136713 w 145530"/>
                  <a:gd name="connsiteY4" fmla="*/ 86703 h 185220"/>
                  <a:gd name="connsiteX5" fmla="*/ 137507 w 145530"/>
                  <a:gd name="connsiteY5" fmla="*/ 166415 h 185220"/>
                  <a:gd name="connsiteX6" fmla="*/ 108070 w 145530"/>
                  <a:gd name="connsiteY6" fmla="*/ 184639 h 185220"/>
                  <a:gd name="connsiteX7" fmla="*/ 104001 w 145530"/>
                  <a:gd name="connsiteY7" fmla="*/ 184804 h 185220"/>
                  <a:gd name="connsiteX8" fmla="*/ 44532 w 145530"/>
                  <a:gd name="connsiteY8" fmla="*/ 12384 h 185220"/>
                  <a:gd name="connsiteX9" fmla="*/ 41291 w 145530"/>
                  <a:gd name="connsiteY9" fmla="*/ 12516 h 185220"/>
                  <a:gd name="connsiteX10" fmla="*/ 19395 w 145530"/>
                  <a:gd name="connsiteY10" fmla="*/ 26110 h 185220"/>
                  <a:gd name="connsiteX11" fmla="*/ 21016 w 145530"/>
                  <a:gd name="connsiteY11" fmla="*/ 97023 h 185220"/>
                  <a:gd name="connsiteX12" fmla="*/ 107177 w 145530"/>
                  <a:gd name="connsiteY12" fmla="*/ 174782 h 185220"/>
                  <a:gd name="connsiteX13" fmla="*/ 129072 w 145530"/>
                  <a:gd name="connsiteY13" fmla="*/ 161189 h 185220"/>
                  <a:gd name="connsiteX14" fmla="*/ 127452 w 145530"/>
                  <a:gd name="connsiteY14" fmla="*/ 90276 h 185220"/>
                  <a:gd name="connsiteX15" fmla="*/ 44532 w 145530"/>
                  <a:gd name="connsiteY15" fmla="*/ 12384 h 18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45530" h="185220">
                    <a:moveTo>
                      <a:pt x="104001" y="184837"/>
                    </a:moveTo>
                    <a:cubicBezTo>
                      <a:pt x="70298" y="184837"/>
                      <a:pt x="30508" y="148852"/>
                      <a:pt x="11788" y="100628"/>
                    </a:cubicBezTo>
                    <a:cubicBezTo>
                      <a:pt x="-317" y="69405"/>
                      <a:pt x="-648" y="39604"/>
                      <a:pt x="10994" y="20884"/>
                    </a:cubicBezTo>
                    <a:cubicBezTo>
                      <a:pt x="17708" y="10068"/>
                      <a:pt x="27896" y="3784"/>
                      <a:pt x="40431" y="2660"/>
                    </a:cubicBezTo>
                    <a:cubicBezTo>
                      <a:pt x="75028" y="-417"/>
                      <a:pt x="117232" y="36495"/>
                      <a:pt x="136713" y="86703"/>
                    </a:cubicBezTo>
                    <a:cubicBezTo>
                      <a:pt x="148818" y="117926"/>
                      <a:pt x="149149" y="147727"/>
                      <a:pt x="137507" y="166415"/>
                    </a:cubicBezTo>
                    <a:cubicBezTo>
                      <a:pt x="130792" y="177230"/>
                      <a:pt x="120605" y="183514"/>
                      <a:pt x="108070" y="184639"/>
                    </a:cubicBezTo>
                    <a:cubicBezTo>
                      <a:pt x="106714" y="184771"/>
                      <a:pt x="105357" y="184804"/>
                      <a:pt x="104001" y="184804"/>
                    </a:cubicBezTo>
                    <a:close/>
                    <a:moveTo>
                      <a:pt x="44532" y="12384"/>
                    </a:moveTo>
                    <a:cubicBezTo>
                      <a:pt x="43441" y="12384"/>
                      <a:pt x="42349" y="12417"/>
                      <a:pt x="41291" y="12516"/>
                    </a:cubicBezTo>
                    <a:cubicBezTo>
                      <a:pt x="31831" y="13343"/>
                      <a:pt x="24489" y="17940"/>
                      <a:pt x="19395" y="26110"/>
                    </a:cubicBezTo>
                    <a:cubicBezTo>
                      <a:pt x="9572" y="41953"/>
                      <a:pt x="10200" y="69107"/>
                      <a:pt x="21016" y="97023"/>
                    </a:cubicBezTo>
                    <a:cubicBezTo>
                      <a:pt x="38711" y="142567"/>
                      <a:pt x="77343" y="177462"/>
                      <a:pt x="107177" y="174782"/>
                    </a:cubicBezTo>
                    <a:cubicBezTo>
                      <a:pt x="116603" y="173955"/>
                      <a:pt x="123979" y="169358"/>
                      <a:pt x="129072" y="161189"/>
                    </a:cubicBezTo>
                    <a:cubicBezTo>
                      <a:pt x="138896" y="145346"/>
                      <a:pt x="138267" y="118191"/>
                      <a:pt x="127452" y="90276"/>
                    </a:cubicBezTo>
                    <a:cubicBezTo>
                      <a:pt x="110418" y="46385"/>
                      <a:pt x="73903" y="12384"/>
                      <a:pt x="44532" y="12384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06" name="Freeform: Shape 605">
                <a:extLst>
                  <a:ext uri="{FF2B5EF4-FFF2-40B4-BE49-F238E27FC236}">
                    <a16:creationId xmlns:a16="http://schemas.microsoft.com/office/drawing/2014/main" id="{2CF666AB-80E3-4415-A491-1D84C9B7F621}"/>
                  </a:ext>
                </a:extLst>
              </p:cNvPr>
              <p:cNvSpPr/>
              <p:nvPr/>
            </p:nvSpPr>
            <p:spPr>
              <a:xfrm>
                <a:off x="1957121" y="4242780"/>
                <a:ext cx="360519" cy="244756"/>
              </a:xfrm>
              <a:custGeom>
                <a:avLst/>
                <a:gdLst>
                  <a:gd name="connsiteX0" fmla="*/ 342956 w 360518"/>
                  <a:gd name="connsiteY0" fmla="*/ 243697 h 244755"/>
                  <a:gd name="connsiteX1" fmla="*/ 333364 w 360518"/>
                  <a:gd name="connsiteY1" fmla="*/ 240886 h 244755"/>
                  <a:gd name="connsiteX2" fmla="*/ 22855 w 360518"/>
                  <a:gd name="connsiteY2" fmla="*/ 61619 h 244755"/>
                  <a:gd name="connsiteX3" fmla="*/ 2481 w 360518"/>
                  <a:gd name="connsiteY3" fmla="*/ 23119 h 244755"/>
                  <a:gd name="connsiteX4" fmla="*/ 18224 w 360518"/>
                  <a:gd name="connsiteY4" fmla="*/ 2481 h 244755"/>
                  <a:gd name="connsiteX5" fmla="*/ 27816 w 360518"/>
                  <a:gd name="connsiteY5" fmla="*/ 5292 h 244755"/>
                  <a:gd name="connsiteX6" fmla="*/ 338326 w 360518"/>
                  <a:gd name="connsiteY6" fmla="*/ 184559 h 244755"/>
                  <a:gd name="connsiteX7" fmla="*/ 358700 w 360518"/>
                  <a:gd name="connsiteY7" fmla="*/ 223058 h 244755"/>
                  <a:gd name="connsiteX8" fmla="*/ 342956 w 360518"/>
                  <a:gd name="connsiteY8" fmla="*/ 243697 h 244755"/>
                  <a:gd name="connsiteX9" fmla="*/ 18224 w 360518"/>
                  <a:gd name="connsiteY9" fmla="*/ 12403 h 244755"/>
                  <a:gd name="connsiteX10" fmla="*/ 12403 w 360518"/>
                  <a:gd name="connsiteY10" fmla="*/ 23119 h 244755"/>
                  <a:gd name="connsiteX11" fmla="*/ 27816 w 360518"/>
                  <a:gd name="connsiteY11" fmla="*/ 53019 h 244755"/>
                  <a:gd name="connsiteX12" fmla="*/ 338326 w 360518"/>
                  <a:gd name="connsiteY12" fmla="*/ 232287 h 244755"/>
                  <a:gd name="connsiteX13" fmla="*/ 338326 w 360518"/>
                  <a:gd name="connsiteY13" fmla="*/ 232287 h 244755"/>
                  <a:gd name="connsiteX14" fmla="*/ 342956 w 360518"/>
                  <a:gd name="connsiteY14" fmla="*/ 233775 h 244755"/>
                  <a:gd name="connsiteX15" fmla="*/ 348777 w 360518"/>
                  <a:gd name="connsiteY15" fmla="*/ 223058 h 244755"/>
                  <a:gd name="connsiteX16" fmla="*/ 333364 w 360518"/>
                  <a:gd name="connsiteY16" fmla="*/ 193158 h 244755"/>
                  <a:gd name="connsiteX17" fmla="*/ 22855 w 360518"/>
                  <a:gd name="connsiteY17" fmla="*/ 13891 h 244755"/>
                  <a:gd name="connsiteX18" fmla="*/ 18224 w 360518"/>
                  <a:gd name="connsiteY18" fmla="*/ 12403 h 244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60518" h="244755">
                    <a:moveTo>
                      <a:pt x="342956" y="243697"/>
                    </a:moveTo>
                    <a:cubicBezTo>
                      <a:pt x="339814" y="243697"/>
                      <a:pt x="336606" y="242738"/>
                      <a:pt x="333364" y="240886"/>
                    </a:cubicBezTo>
                    <a:lnTo>
                      <a:pt x="22855" y="61619"/>
                    </a:lnTo>
                    <a:cubicBezTo>
                      <a:pt x="11444" y="55004"/>
                      <a:pt x="2481" y="38103"/>
                      <a:pt x="2481" y="23119"/>
                    </a:cubicBezTo>
                    <a:cubicBezTo>
                      <a:pt x="2481" y="8136"/>
                      <a:pt x="10386" y="2481"/>
                      <a:pt x="18224" y="2481"/>
                    </a:cubicBezTo>
                    <a:cubicBezTo>
                      <a:pt x="21367" y="2481"/>
                      <a:pt x="24608" y="3440"/>
                      <a:pt x="27816" y="5292"/>
                    </a:cubicBezTo>
                    <a:lnTo>
                      <a:pt x="338326" y="184559"/>
                    </a:lnTo>
                    <a:cubicBezTo>
                      <a:pt x="349737" y="191141"/>
                      <a:pt x="358700" y="208042"/>
                      <a:pt x="358700" y="223058"/>
                    </a:cubicBezTo>
                    <a:cubicBezTo>
                      <a:pt x="358700" y="238075"/>
                      <a:pt x="350795" y="243697"/>
                      <a:pt x="342956" y="243697"/>
                    </a:cubicBezTo>
                    <a:close/>
                    <a:moveTo>
                      <a:pt x="18224" y="12403"/>
                    </a:moveTo>
                    <a:cubicBezTo>
                      <a:pt x="13925" y="12403"/>
                      <a:pt x="12403" y="18191"/>
                      <a:pt x="12403" y="23119"/>
                    </a:cubicBezTo>
                    <a:cubicBezTo>
                      <a:pt x="12403" y="34497"/>
                      <a:pt x="19448" y="48190"/>
                      <a:pt x="27816" y="53019"/>
                    </a:cubicBezTo>
                    <a:lnTo>
                      <a:pt x="338326" y="232287"/>
                    </a:lnTo>
                    <a:lnTo>
                      <a:pt x="338326" y="232287"/>
                    </a:lnTo>
                    <a:cubicBezTo>
                      <a:pt x="340012" y="233246"/>
                      <a:pt x="341600" y="233775"/>
                      <a:pt x="342956" y="233775"/>
                    </a:cubicBezTo>
                    <a:cubicBezTo>
                      <a:pt x="347256" y="233775"/>
                      <a:pt x="348777" y="227987"/>
                      <a:pt x="348777" y="223058"/>
                    </a:cubicBezTo>
                    <a:cubicBezTo>
                      <a:pt x="348777" y="211648"/>
                      <a:pt x="341732" y="197955"/>
                      <a:pt x="333364" y="193158"/>
                    </a:cubicBezTo>
                    <a:lnTo>
                      <a:pt x="22855" y="13891"/>
                    </a:lnTo>
                    <a:cubicBezTo>
                      <a:pt x="21168" y="12932"/>
                      <a:pt x="19581" y="12403"/>
                      <a:pt x="18224" y="12403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07" name="Freeform: Shape 606">
                <a:extLst>
                  <a:ext uri="{FF2B5EF4-FFF2-40B4-BE49-F238E27FC236}">
                    <a16:creationId xmlns:a16="http://schemas.microsoft.com/office/drawing/2014/main" id="{C1295848-E30D-4789-80C6-715A1F8D800F}"/>
                  </a:ext>
                </a:extLst>
              </p:cNvPr>
              <p:cNvSpPr/>
              <p:nvPr/>
            </p:nvSpPr>
            <p:spPr>
              <a:xfrm>
                <a:off x="1957121" y="4350406"/>
                <a:ext cx="360519" cy="244756"/>
              </a:xfrm>
              <a:custGeom>
                <a:avLst/>
                <a:gdLst>
                  <a:gd name="connsiteX0" fmla="*/ 342956 w 360518"/>
                  <a:gd name="connsiteY0" fmla="*/ 243698 h 244755"/>
                  <a:gd name="connsiteX1" fmla="*/ 333364 w 360518"/>
                  <a:gd name="connsiteY1" fmla="*/ 240886 h 244755"/>
                  <a:gd name="connsiteX2" fmla="*/ 22855 w 360518"/>
                  <a:gd name="connsiteY2" fmla="*/ 61586 h 244755"/>
                  <a:gd name="connsiteX3" fmla="*/ 2481 w 360518"/>
                  <a:gd name="connsiteY3" fmla="*/ 23119 h 244755"/>
                  <a:gd name="connsiteX4" fmla="*/ 18224 w 360518"/>
                  <a:gd name="connsiteY4" fmla="*/ 2481 h 244755"/>
                  <a:gd name="connsiteX5" fmla="*/ 27816 w 360518"/>
                  <a:gd name="connsiteY5" fmla="*/ 5292 h 244755"/>
                  <a:gd name="connsiteX6" fmla="*/ 338326 w 360518"/>
                  <a:gd name="connsiteY6" fmla="*/ 184559 h 244755"/>
                  <a:gd name="connsiteX7" fmla="*/ 358700 w 360518"/>
                  <a:gd name="connsiteY7" fmla="*/ 223059 h 244755"/>
                  <a:gd name="connsiteX8" fmla="*/ 342956 w 360518"/>
                  <a:gd name="connsiteY8" fmla="*/ 243698 h 244755"/>
                  <a:gd name="connsiteX9" fmla="*/ 18224 w 360518"/>
                  <a:gd name="connsiteY9" fmla="*/ 12403 h 244755"/>
                  <a:gd name="connsiteX10" fmla="*/ 12403 w 360518"/>
                  <a:gd name="connsiteY10" fmla="*/ 23119 h 244755"/>
                  <a:gd name="connsiteX11" fmla="*/ 27816 w 360518"/>
                  <a:gd name="connsiteY11" fmla="*/ 52986 h 244755"/>
                  <a:gd name="connsiteX12" fmla="*/ 338326 w 360518"/>
                  <a:gd name="connsiteY12" fmla="*/ 232287 h 244755"/>
                  <a:gd name="connsiteX13" fmla="*/ 338326 w 360518"/>
                  <a:gd name="connsiteY13" fmla="*/ 232287 h 244755"/>
                  <a:gd name="connsiteX14" fmla="*/ 342956 w 360518"/>
                  <a:gd name="connsiteY14" fmla="*/ 233775 h 244755"/>
                  <a:gd name="connsiteX15" fmla="*/ 348777 w 360518"/>
                  <a:gd name="connsiteY15" fmla="*/ 223059 h 244755"/>
                  <a:gd name="connsiteX16" fmla="*/ 333364 w 360518"/>
                  <a:gd name="connsiteY16" fmla="*/ 193159 h 244755"/>
                  <a:gd name="connsiteX17" fmla="*/ 22855 w 360518"/>
                  <a:gd name="connsiteY17" fmla="*/ 13892 h 244755"/>
                  <a:gd name="connsiteX18" fmla="*/ 18224 w 360518"/>
                  <a:gd name="connsiteY18" fmla="*/ 12403 h 244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60518" h="244755">
                    <a:moveTo>
                      <a:pt x="342956" y="243698"/>
                    </a:moveTo>
                    <a:cubicBezTo>
                      <a:pt x="339814" y="243698"/>
                      <a:pt x="336606" y="242738"/>
                      <a:pt x="333364" y="240886"/>
                    </a:cubicBezTo>
                    <a:lnTo>
                      <a:pt x="22855" y="61586"/>
                    </a:lnTo>
                    <a:cubicBezTo>
                      <a:pt x="11444" y="55004"/>
                      <a:pt x="2481" y="38136"/>
                      <a:pt x="2481" y="23119"/>
                    </a:cubicBezTo>
                    <a:cubicBezTo>
                      <a:pt x="2481" y="8104"/>
                      <a:pt x="10386" y="2481"/>
                      <a:pt x="18224" y="2481"/>
                    </a:cubicBezTo>
                    <a:cubicBezTo>
                      <a:pt x="21367" y="2481"/>
                      <a:pt x="24608" y="3440"/>
                      <a:pt x="27816" y="5292"/>
                    </a:cubicBezTo>
                    <a:lnTo>
                      <a:pt x="338326" y="184559"/>
                    </a:lnTo>
                    <a:cubicBezTo>
                      <a:pt x="349737" y="191141"/>
                      <a:pt x="358700" y="208043"/>
                      <a:pt x="358700" y="223059"/>
                    </a:cubicBezTo>
                    <a:cubicBezTo>
                      <a:pt x="358700" y="238075"/>
                      <a:pt x="350795" y="243698"/>
                      <a:pt x="342956" y="243698"/>
                    </a:cubicBezTo>
                    <a:close/>
                    <a:moveTo>
                      <a:pt x="18224" y="12403"/>
                    </a:moveTo>
                    <a:cubicBezTo>
                      <a:pt x="13925" y="12403"/>
                      <a:pt x="12403" y="18191"/>
                      <a:pt x="12403" y="23119"/>
                    </a:cubicBezTo>
                    <a:cubicBezTo>
                      <a:pt x="12403" y="34498"/>
                      <a:pt x="19448" y="48191"/>
                      <a:pt x="27816" y="52986"/>
                    </a:cubicBezTo>
                    <a:lnTo>
                      <a:pt x="338326" y="232287"/>
                    </a:lnTo>
                    <a:lnTo>
                      <a:pt x="338326" y="232287"/>
                    </a:lnTo>
                    <a:cubicBezTo>
                      <a:pt x="340012" y="233246"/>
                      <a:pt x="341600" y="233775"/>
                      <a:pt x="342956" y="233775"/>
                    </a:cubicBezTo>
                    <a:cubicBezTo>
                      <a:pt x="347256" y="233775"/>
                      <a:pt x="348777" y="227987"/>
                      <a:pt x="348777" y="223059"/>
                    </a:cubicBezTo>
                    <a:cubicBezTo>
                      <a:pt x="348777" y="211648"/>
                      <a:pt x="341732" y="197955"/>
                      <a:pt x="333364" y="193159"/>
                    </a:cubicBezTo>
                    <a:lnTo>
                      <a:pt x="22855" y="13892"/>
                    </a:lnTo>
                    <a:cubicBezTo>
                      <a:pt x="21168" y="12932"/>
                      <a:pt x="19581" y="12403"/>
                      <a:pt x="18224" y="12403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08" name="Freeform: Shape 607">
                <a:extLst>
                  <a:ext uri="{FF2B5EF4-FFF2-40B4-BE49-F238E27FC236}">
                    <a16:creationId xmlns:a16="http://schemas.microsoft.com/office/drawing/2014/main" id="{694FC4E7-0F84-404A-AEC8-927950F458B6}"/>
                  </a:ext>
                </a:extLst>
              </p:cNvPr>
              <p:cNvSpPr/>
              <p:nvPr/>
            </p:nvSpPr>
            <p:spPr>
              <a:xfrm>
                <a:off x="1957121" y="4458033"/>
                <a:ext cx="360519" cy="244756"/>
              </a:xfrm>
              <a:custGeom>
                <a:avLst/>
                <a:gdLst>
                  <a:gd name="connsiteX0" fmla="*/ 342956 w 360518"/>
                  <a:gd name="connsiteY0" fmla="*/ 243698 h 244755"/>
                  <a:gd name="connsiteX1" fmla="*/ 333364 w 360518"/>
                  <a:gd name="connsiteY1" fmla="*/ 240886 h 244755"/>
                  <a:gd name="connsiteX2" fmla="*/ 22855 w 360518"/>
                  <a:gd name="connsiteY2" fmla="*/ 61586 h 244755"/>
                  <a:gd name="connsiteX3" fmla="*/ 2481 w 360518"/>
                  <a:gd name="connsiteY3" fmla="*/ 23119 h 244755"/>
                  <a:gd name="connsiteX4" fmla="*/ 18224 w 360518"/>
                  <a:gd name="connsiteY4" fmla="*/ 2481 h 244755"/>
                  <a:gd name="connsiteX5" fmla="*/ 27816 w 360518"/>
                  <a:gd name="connsiteY5" fmla="*/ 5292 h 244755"/>
                  <a:gd name="connsiteX6" fmla="*/ 338326 w 360518"/>
                  <a:gd name="connsiteY6" fmla="*/ 184559 h 244755"/>
                  <a:gd name="connsiteX7" fmla="*/ 358700 w 360518"/>
                  <a:gd name="connsiteY7" fmla="*/ 223059 h 244755"/>
                  <a:gd name="connsiteX8" fmla="*/ 342956 w 360518"/>
                  <a:gd name="connsiteY8" fmla="*/ 243698 h 244755"/>
                  <a:gd name="connsiteX9" fmla="*/ 18224 w 360518"/>
                  <a:gd name="connsiteY9" fmla="*/ 12403 h 244755"/>
                  <a:gd name="connsiteX10" fmla="*/ 12403 w 360518"/>
                  <a:gd name="connsiteY10" fmla="*/ 23119 h 244755"/>
                  <a:gd name="connsiteX11" fmla="*/ 27816 w 360518"/>
                  <a:gd name="connsiteY11" fmla="*/ 52986 h 244755"/>
                  <a:gd name="connsiteX12" fmla="*/ 338326 w 360518"/>
                  <a:gd name="connsiteY12" fmla="*/ 232287 h 244755"/>
                  <a:gd name="connsiteX13" fmla="*/ 338326 w 360518"/>
                  <a:gd name="connsiteY13" fmla="*/ 232287 h 244755"/>
                  <a:gd name="connsiteX14" fmla="*/ 342956 w 360518"/>
                  <a:gd name="connsiteY14" fmla="*/ 233775 h 244755"/>
                  <a:gd name="connsiteX15" fmla="*/ 348777 w 360518"/>
                  <a:gd name="connsiteY15" fmla="*/ 223059 h 244755"/>
                  <a:gd name="connsiteX16" fmla="*/ 333364 w 360518"/>
                  <a:gd name="connsiteY16" fmla="*/ 193159 h 244755"/>
                  <a:gd name="connsiteX17" fmla="*/ 22855 w 360518"/>
                  <a:gd name="connsiteY17" fmla="*/ 13891 h 244755"/>
                  <a:gd name="connsiteX18" fmla="*/ 18224 w 360518"/>
                  <a:gd name="connsiteY18" fmla="*/ 12403 h 244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60518" h="244755">
                    <a:moveTo>
                      <a:pt x="342956" y="243698"/>
                    </a:moveTo>
                    <a:cubicBezTo>
                      <a:pt x="339814" y="243698"/>
                      <a:pt x="336606" y="242738"/>
                      <a:pt x="333364" y="240886"/>
                    </a:cubicBezTo>
                    <a:lnTo>
                      <a:pt x="22855" y="61586"/>
                    </a:lnTo>
                    <a:cubicBezTo>
                      <a:pt x="11444" y="55004"/>
                      <a:pt x="2481" y="38136"/>
                      <a:pt x="2481" y="23119"/>
                    </a:cubicBezTo>
                    <a:cubicBezTo>
                      <a:pt x="2481" y="8103"/>
                      <a:pt x="10386" y="2481"/>
                      <a:pt x="18224" y="2481"/>
                    </a:cubicBezTo>
                    <a:cubicBezTo>
                      <a:pt x="21367" y="2481"/>
                      <a:pt x="24608" y="3440"/>
                      <a:pt x="27816" y="5292"/>
                    </a:cubicBezTo>
                    <a:lnTo>
                      <a:pt x="338326" y="184559"/>
                    </a:lnTo>
                    <a:cubicBezTo>
                      <a:pt x="349737" y="191141"/>
                      <a:pt x="358700" y="208043"/>
                      <a:pt x="358700" y="223059"/>
                    </a:cubicBezTo>
                    <a:cubicBezTo>
                      <a:pt x="358700" y="238075"/>
                      <a:pt x="350795" y="243698"/>
                      <a:pt x="342956" y="243698"/>
                    </a:cubicBezTo>
                    <a:close/>
                    <a:moveTo>
                      <a:pt x="18224" y="12403"/>
                    </a:moveTo>
                    <a:cubicBezTo>
                      <a:pt x="13925" y="12403"/>
                      <a:pt x="12403" y="18191"/>
                      <a:pt x="12403" y="23119"/>
                    </a:cubicBezTo>
                    <a:cubicBezTo>
                      <a:pt x="12403" y="34498"/>
                      <a:pt x="19448" y="48190"/>
                      <a:pt x="27816" y="52986"/>
                    </a:cubicBezTo>
                    <a:lnTo>
                      <a:pt x="338326" y="232287"/>
                    </a:lnTo>
                    <a:lnTo>
                      <a:pt x="338326" y="232287"/>
                    </a:lnTo>
                    <a:cubicBezTo>
                      <a:pt x="340012" y="233246"/>
                      <a:pt x="341600" y="233775"/>
                      <a:pt x="342956" y="233775"/>
                    </a:cubicBezTo>
                    <a:cubicBezTo>
                      <a:pt x="347256" y="233775"/>
                      <a:pt x="348777" y="227987"/>
                      <a:pt x="348777" y="223059"/>
                    </a:cubicBezTo>
                    <a:cubicBezTo>
                      <a:pt x="348777" y="211648"/>
                      <a:pt x="341732" y="197955"/>
                      <a:pt x="333364" y="193159"/>
                    </a:cubicBezTo>
                    <a:lnTo>
                      <a:pt x="22855" y="13891"/>
                    </a:lnTo>
                    <a:cubicBezTo>
                      <a:pt x="21168" y="12932"/>
                      <a:pt x="19581" y="12403"/>
                      <a:pt x="18224" y="12403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09" name="Freeform: Shape 608">
                <a:extLst>
                  <a:ext uri="{FF2B5EF4-FFF2-40B4-BE49-F238E27FC236}">
                    <a16:creationId xmlns:a16="http://schemas.microsoft.com/office/drawing/2014/main" id="{461BAC4A-F33B-41F4-8CCA-1337D5A7EE70}"/>
                  </a:ext>
                </a:extLst>
              </p:cNvPr>
              <p:cNvSpPr/>
              <p:nvPr/>
            </p:nvSpPr>
            <p:spPr>
              <a:xfrm>
                <a:off x="1696754" y="3958772"/>
                <a:ext cx="522587" cy="1071634"/>
              </a:xfrm>
              <a:custGeom>
                <a:avLst/>
                <a:gdLst>
                  <a:gd name="connsiteX0" fmla="*/ 523215 w 522586"/>
                  <a:gd name="connsiteY0" fmla="*/ 321251 h 1071634"/>
                  <a:gd name="connsiteX1" fmla="*/ 523215 w 522586"/>
                  <a:gd name="connsiteY1" fmla="*/ 1052839 h 1071634"/>
                  <a:gd name="connsiteX2" fmla="*/ 502543 w 522586"/>
                  <a:gd name="connsiteY2" fmla="*/ 1068451 h 1071634"/>
                  <a:gd name="connsiteX3" fmla="*/ 23119 w 522586"/>
                  <a:gd name="connsiteY3" fmla="*/ 791645 h 1071634"/>
                  <a:gd name="connsiteX4" fmla="*/ 2481 w 522586"/>
                  <a:gd name="connsiteY4" fmla="*/ 752186 h 1071634"/>
                  <a:gd name="connsiteX5" fmla="*/ 2481 w 522586"/>
                  <a:gd name="connsiteY5" fmla="*/ 20598 h 1071634"/>
                  <a:gd name="connsiteX6" fmla="*/ 23119 w 522586"/>
                  <a:gd name="connsiteY6" fmla="*/ 4953 h 1071634"/>
                  <a:gd name="connsiteX7" fmla="*/ 502543 w 522586"/>
                  <a:gd name="connsiteY7" fmla="*/ 281759 h 1071634"/>
                  <a:gd name="connsiteX8" fmla="*/ 523215 w 522586"/>
                  <a:gd name="connsiteY8" fmla="*/ 321251 h 1071634"/>
                  <a:gd name="connsiteX9" fmla="*/ 439370 w 522586"/>
                  <a:gd name="connsiteY9" fmla="*/ 607946 h 1071634"/>
                  <a:gd name="connsiteX10" fmla="*/ 421476 w 522586"/>
                  <a:gd name="connsiteY10" fmla="*/ 573746 h 1071634"/>
                  <a:gd name="connsiteX11" fmla="*/ 110967 w 522586"/>
                  <a:gd name="connsiteY11" fmla="*/ 394479 h 1071634"/>
                  <a:gd name="connsiteX12" fmla="*/ 103856 w 522586"/>
                  <a:gd name="connsiteY12" fmla="*/ 392329 h 1071634"/>
                  <a:gd name="connsiteX13" fmla="*/ 93073 w 522586"/>
                  <a:gd name="connsiteY13" fmla="*/ 408007 h 1071634"/>
                  <a:gd name="connsiteX14" fmla="*/ 110967 w 522586"/>
                  <a:gd name="connsiteY14" fmla="*/ 442206 h 1071634"/>
                  <a:gd name="connsiteX15" fmla="*/ 421476 w 522586"/>
                  <a:gd name="connsiteY15" fmla="*/ 621473 h 1071634"/>
                  <a:gd name="connsiteX16" fmla="*/ 428588 w 522586"/>
                  <a:gd name="connsiteY16" fmla="*/ 623623 h 1071634"/>
                  <a:gd name="connsiteX17" fmla="*/ 439370 w 522586"/>
                  <a:gd name="connsiteY17" fmla="*/ 607946 h 1071634"/>
                  <a:gd name="connsiteX18" fmla="*/ 439370 w 522586"/>
                  <a:gd name="connsiteY18" fmla="*/ 715572 h 1071634"/>
                  <a:gd name="connsiteX19" fmla="*/ 421476 w 522586"/>
                  <a:gd name="connsiteY19" fmla="*/ 681373 h 1071634"/>
                  <a:gd name="connsiteX20" fmla="*/ 110967 w 522586"/>
                  <a:gd name="connsiteY20" fmla="*/ 502105 h 1071634"/>
                  <a:gd name="connsiteX21" fmla="*/ 103856 w 522586"/>
                  <a:gd name="connsiteY21" fmla="*/ 499955 h 1071634"/>
                  <a:gd name="connsiteX22" fmla="*/ 93073 w 522586"/>
                  <a:gd name="connsiteY22" fmla="*/ 515633 h 1071634"/>
                  <a:gd name="connsiteX23" fmla="*/ 110967 w 522586"/>
                  <a:gd name="connsiteY23" fmla="*/ 549800 h 1071634"/>
                  <a:gd name="connsiteX24" fmla="*/ 421476 w 522586"/>
                  <a:gd name="connsiteY24" fmla="*/ 729100 h 1071634"/>
                  <a:gd name="connsiteX25" fmla="*/ 428588 w 522586"/>
                  <a:gd name="connsiteY25" fmla="*/ 731250 h 1071634"/>
                  <a:gd name="connsiteX26" fmla="*/ 439370 w 522586"/>
                  <a:gd name="connsiteY26" fmla="*/ 715572 h 1071634"/>
                  <a:gd name="connsiteX27" fmla="*/ 439370 w 522586"/>
                  <a:gd name="connsiteY27" fmla="*/ 823199 h 1071634"/>
                  <a:gd name="connsiteX28" fmla="*/ 421476 w 522586"/>
                  <a:gd name="connsiteY28" fmla="*/ 788999 h 1071634"/>
                  <a:gd name="connsiteX29" fmla="*/ 110967 w 522586"/>
                  <a:gd name="connsiteY29" fmla="*/ 609732 h 1071634"/>
                  <a:gd name="connsiteX30" fmla="*/ 103856 w 522586"/>
                  <a:gd name="connsiteY30" fmla="*/ 607582 h 1071634"/>
                  <a:gd name="connsiteX31" fmla="*/ 93073 w 522586"/>
                  <a:gd name="connsiteY31" fmla="*/ 623260 h 1071634"/>
                  <a:gd name="connsiteX32" fmla="*/ 110967 w 522586"/>
                  <a:gd name="connsiteY32" fmla="*/ 657426 h 1071634"/>
                  <a:gd name="connsiteX33" fmla="*/ 421476 w 522586"/>
                  <a:gd name="connsiteY33" fmla="*/ 836727 h 1071634"/>
                  <a:gd name="connsiteX34" fmla="*/ 428588 w 522586"/>
                  <a:gd name="connsiteY34" fmla="*/ 838877 h 1071634"/>
                  <a:gd name="connsiteX35" fmla="*/ 439370 w 522586"/>
                  <a:gd name="connsiteY35" fmla="*/ 823199 h 1071634"/>
                  <a:gd name="connsiteX36" fmla="*/ 237777 w 522586"/>
                  <a:gd name="connsiteY36" fmla="*/ 368085 h 1071634"/>
                  <a:gd name="connsiteX37" fmla="*/ 166368 w 522586"/>
                  <a:gd name="connsiteY37" fmla="*/ 195300 h 1071634"/>
                  <a:gd name="connsiteX38" fmla="*/ 94959 w 522586"/>
                  <a:gd name="connsiteY38" fmla="*/ 285629 h 1071634"/>
                  <a:gd name="connsiteX39" fmla="*/ 237777 w 522586"/>
                  <a:gd name="connsiteY39" fmla="*/ 368085 h 10716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522586" h="1071634">
                    <a:moveTo>
                      <a:pt x="523215" y="321251"/>
                    </a:moveTo>
                    <a:lnTo>
                      <a:pt x="523215" y="1052839"/>
                    </a:lnTo>
                    <a:cubicBezTo>
                      <a:pt x="523215" y="1068054"/>
                      <a:pt x="513954" y="1075033"/>
                      <a:pt x="502543" y="1068451"/>
                    </a:cubicBezTo>
                    <a:lnTo>
                      <a:pt x="23119" y="791645"/>
                    </a:lnTo>
                    <a:cubicBezTo>
                      <a:pt x="11709" y="785063"/>
                      <a:pt x="2481" y="767401"/>
                      <a:pt x="2481" y="752186"/>
                    </a:cubicBezTo>
                    <a:lnTo>
                      <a:pt x="2481" y="20598"/>
                    </a:lnTo>
                    <a:cubicBezTo>
                      <a:pt x="2481" y="5383"/>
                      <a:pt x="11709" y="-1629"/>
                      <a:pt x="23119" y="4953"/>
                    </a:cubicBezTo>
                    <a:lnTo>
                      <a:pt x="502543" y="281759"/>
                    </a:lnTo>
                    <a:cubicBezTo>
                      <a:pt x="513954" y="288341"/>
                      <a:pt x="523215" y="306036"/>
                      <a:pt x="523215" y="321251"/>
                    </a:cubicBezTo>
                    <a:close/>
                    <a:moveTo>
                      <a:pt x="439370" y="607946"/>
                    </a:moveTo>
                    <a:cubicBezTo>
                      <a:pt x="439370" y="594749"/>
                      <a:pt x="431366" y="579435"/>
                      <a:pt x="421476" y="573746"/>
                    </a:cubicBezTo>
                    <a:lnTo>
                      <a:pt x="110967" y="394479"/>
                    </a:lnTo>
                    <a:cubicBezTo>
                      <a:pt x="108453" y="393024"/>
                      <a:pt x="106039" y="392329"/>
                      <a:pt x="103856" y="392329"/>
                    </a:cubicBezTo>
                    <a:cubicBezTo>
                      <a:pt x="97505" y="392329"/>
                      <a:pt x="93073" y="398184"/>
                      <a:pt x="93073" y="408007"/>
                    </a:cubicBezTo>
                    <a:cubicBezTo>
                      <a:pt x="93073" y="421171"/>
                      <a:pt x="101078" y="436484"/>
                      <a:pt x="110967" y="442206"/>
                    </a:cubicBezTo>
                    <a:lnTo>
                      <a:pt x="421476" y="621473"/>
                    </a:lnTo>
                    <a:cubicBezTo>
                      <a:pt x="423990" y="622929"/>
                      <a:pt x="426404" y="623623"/>
                      <a:pt x="428588" y="623623"/>
                    </a:cubicBezTo>
                    <a:cubicBezTo>
                      <a:pt x="434938" y="623623"/>
                      <a:pt x="439370" y="617736"/>
                      <a:pt x="439370" y="607946"/>
                    </a:cubicBezTo>
                    <a:close/>
                    <a:moveTo>
                      <a:pt x="439370" y="715572"/>
                    </a:moveTo>
                    <a:cubicBezTo>
                      <a:pt x="439370" y="702375"/>
                      <a:pt x="431366" y="687062"/>
                      <a:pt x="421476" y="681373"/>
                    </a:cubicBezTo>
                    <a:lnTo>
                      <a:pt x="110967" y="502105"/>
                    </a:lnTo>
                    <a:cubicBezTo>
                      <a:pt x="108453" y="500650"/>
                      <a:pt x="106039" y="499955"/>
                      <a:pt x="103856" y="499955"/>
                    </a:cubicBezTo>
                    <a:cubicBezTo>
                      <a:pt x="97505" y="499955"/>
                      <a:pt x="93073" y="505810"/>
                      <a:pt x="93073" y="515633"/>
                    </a:cubicBezTo>
                    <a:cubicBezTo>
                      <a:pt x="93073" y="528797"/>
                      <a:pt x="101078" y="544111"/>
                      <a:pt x="110967" y="549800"/>
                    </a:cubicBezTo>
                    <a:lnTo>
                      <a:pt x="421476" y="729100"/>
                    </a:lnTo>
                    <a:cubicBezTo>
                      <a:pt x="423990" y="730556"/>
                      <a:pt x="426404" y="731250"/>
                      <a:pt x="428588" y="731250"/>
                    </a:cubicBezTo>
                    <a:cubicBezTo>
                      <a:pt x="434938" y="731250"/>
                      <a:pt x="439370" y="725362"/>
                      <a:pt x="439370" y="715572"/>
                    </a:cubicBezTo>
                    <a:close/>
                    <a:moveTo>
                      <a:pt x="439370" y="823199"/>
                    </a:moveTo>
                    <a:cubicBezTo>
                      <a:pt x="439370" y="810002"/>
                      <a:pt x="431366" y="794688"/>
                      <a:pt x="421476" y="788999"/>
                    </a:cubicBezTo>
                    <a:lnTo>
                      <a:pt x="110967" y="609732"/>
                    </a:lnTo>
                    <a:cubicBezTo>
                      <a:pt x="108453" y="608276"/>
                      <a:pt x="106039" y="607582"/>
                      <a:pt x="103856" y="607582"/>
                    </a:cubicBezTo>
                    <a:cubicBezTo>
                      <a:pt x="97505" y="607582"/>
                      <a:pt x="93073" y="613436"/>
                      <a:pt x="93073" y="623260"/>
                    </a:cubicBezTo>
                    <a:cubicBezTo>
                      <a:pt x="93073" y="636423"/>
                      <a:pt x="101078" y="651737"/>
                      <a:pt x="110967" y="657426"/>
                    </a:cubicBezTo>
                    <a:lnTo>
                      <a:pt x="421476" y="836727"/>
                    </a:lnTo>
                    <a:cubicBezTo>
                      <a:pt x="423990" y="838182"/>
                      <a:pt x="426404" y="838877"/>
                      <a:pt x="428588" y="838877"/>
                    </a:cubicBezTo>
                    <a:cubicBezTo>
                      <a:pt x="434938" y="838877"/>
                      <a:pt x="439370" y="832989"/>
                      <a:pt x="439370" y="823199"/>
                    </a:cubicBezTo>
                    <a:close/>
                    <a:moveTo>
                      <a:pt x="237777" y="368085"/>
                    </a:moveTo>
                    <a:lnTo>
                      <a:pt x="166368" y="195300"/>
                    </a:lnTo>
                    <a:lnTo>
                      <a:pt x="94959" y="285629"/>
                    </a:lnTo>
                    <a:lnTo>
                      <a:pt x="237777" y="36808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10" name="Freeform: Shape 609">
                <a:extLst>
                  <a:ext uri="{FF2B5EF4-FFF2-40B4-BE49-F238E27FC236}">
                    <a16:creationId xmlns:a16="http://schemas.microsoft.com/office/drawing/2014/main" id="{C645EFFD-BA1E-4900-9D88-C44BE2DC5B7C}"/>
                  </a:ext>
                </a:extLst>
              </p:cNvPr>
              <p:cNvSpPr/>
              <p:nvPr/>
            </p:nvSpPr>
            <p:spPr>
              <a:xfrm>
                <a:off x="1787347" y="4348620"/>
                <a:ext cx="350596" cy="234833"/>
              </a:xfrm>
              <a:custGeom>
                <a:avLst/>
                <a:gdLst>
                  <a:gd name="connsiteX0" fmla="*/ 330883 w 350596"/>
                  <a:gd name="connsiteY0" fmla="*/ 183898 h 234833"/>
                  <a:gd name="connsiteX1" fmla="*/ 348777 w 350596"/>
                  <a:gd name="connsiteY1" fmla="*/ 218097 h 234833"/>
                  <a:gd name="connsiteX2" fmla="*/ 337995 w 350596"/>
                  <a:gd name="connsiteY2" fmla="*/ 233775 h 234833"/>
                  <a:gd name="connsiteX3" fmla="*/ 330883 w 350596"/>
                  <a:gd name="connsiteY3" fmla="*/ 231625 h 234833"/>
                  <a:gd name="connsiteX4" fmla="*/ 20374 w 350596"/>
                  <a:gd name="connsiteY4" fmla="*/ 52358 h 234833"/>
                  <a:gd name="connsiteX5" fmla="*/ 2481 w 350596"/>
                  <a:gd name="connsiteY5" fmla="*/ 18158 h 234833"/>
                  <a:gd name="connsiteX6" fmla="*/ 13263 w 350596"/>
                  <a:gd name="connsiteY6" fmla="*/ 2481 h 234833"/>
                  <a:gd name="connsiteX7" fmla="*/ 20374 w 350596"/>
                  <a:gd name="connsiteY7" fmla="*/ 4630 h 234833"/>
                  <a:gd name="connsiteX8" fmla="*/ 330883 w 350596"/>
                  <a:gd name="connsiteY8" fmla="*/ 183898 h 23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0596" h="234833">
                    <a:moveTo>
                      <a:pt x="330883" y="183898"/>
                    </a:moveTo>
                    <a:cubicBezTo>
                      <a:pt x="340773" y="189586"/>
                      <a:pt x="348777" y="204900"/>
                      <a:pt x="348777" y="218097"/>
                    </a:cubicBezTo>
                    <a:cubicBezTo>
                      <a:pt x="348777" y="227887"/>
                      <a:pt x="344345" y="233775"/>
                      <a:pt x="337995" y="233775"/>
                    </a:cubicBezTo>
                    <a:cubicBezTo>
                      <a:pt x="335812" y="233775"/>
                      <a:pt x="333397" y="233080"/>
                      <a:pt x="330883" y="231625"/>
                    </a:cubicBezTo>
                    <a:lnTo>
                      <a:pt x="20374" y="52358"/>
                    </a:lnTo>
                    <a:cubicBezTo>
                      <a:pt x="10485" y="46636"/>
                      <a:pt x="2481" y="31322"/>
                      <a:pt x="2481" y="18158"/>
                    </a:cubicBezTo>
                    <a:cubicBezTo>
                      <a:pt x="2481" y="8335"/>
                      <a:pt x="6913" y="2481"/>
                      <a:pt x="13263" y="2481"/>
                    </a:cubicBezTo>
                    <a:cubicBezTo>
                      <a:pt x="15446" y="2481"/>
                      <a:pt x="17860" y="3175"/>
                      <a:pt x="20374" y="4630"/>
                    </a:cubicBezTo>
                    <a:lnTo>
                      <a:pt x="330883" y="183898"/>
                    </a:lnTo>
                    <a:close/>
                  </a:path>
                </a:pathLst>
              </a:custGeom>
              <a:solidFill>
                <a:srgbClr val="7740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11" name="Freeform: Shape 610">
                <a:extLst>
                  <a:ext uri="{FF2B5EF4-FFF2-40B4-BE49-F238E27FC236}">
                    <a16:creationId xmlns:a16="http://schemas.microsoft.com/office/drawing/2014/main" id="{A372348F-6F51-4ED9-875E-9E1A4A85FC12}"/>
                  </a:ext>
                </a:extLst>
              </p:cNvPr>
              <p:cNvSpPr/>
              <p:nvPr/>
            </p:nvSpPr>
            <p:spPr>
              <a:xfrm>
                <a:off x="1787347" y="4456247"/>
                <a:ext cx="350596" cy="234833"/>
              </a:xfrm>
              <a:custGeom>
                <a:avLst/>
                <a:gdLst>
                  <a:gd name="connsiteX0" fmla="*/ 330883 w 350596"/>
                  <a:gd name="connsiteY0" fmla="*/ 183898 h 234833"/>
                  <a:gd name="connsiteX1" fmla="*/ 348777 w 350596"/>
                  <a:gd name="connsiteY1" fmla="*/ 218098 h 234833"/>
                  <a:gd name="connsiteX2" fmla="*/ 337995 w 350596"/>
                  <a:gd name="connsiteY2" fmla="*/ 233775 h 234833"/>
                  <a:gd name="connsiteX3" fmla="*/ 330883 w 350596"/>
                  <a:gd name="connsiteY3" fmla="*/ 231625 h 234833"/>
                  <a:gd name="connsiteX4" fmla="*/ 20374 w 350596"/>
                  <a:gd name="connsiteY4" fmla="*/ 52325 h 234833"/>
                  <a:gd name="connsiteX5" fmla="*/ 2481 w 350596"/>
                  <a:gd name="connsiteY5" fmla="*/ 18158 h 234833"/>
                  <a:gd name="connsiteX6" fmla="*/ 13263 w 350596"/>
                  <a:gd name="connsiteY6" fmla="*/ 2481 h 234833"/>
                  <a:gd name="connsiteX7" fmla="*/ 20374 w 350596"/>
                  <a:gd name="connsiteY7" fmla="*/ 4631 h 234833"/>
                  <a:gd name="connsiteX8" fmla="*/ 330883 w 350596"/>
                  <a:gd name="connsiteY8" fmla="*/ 183898 h 23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0596" h="234833">
                    <a:moveTo>
                      <a:pt x="330883" y="183898"/>
                    </a:moveTo>
                    <a:cubicBezTo>
                      <a:pt x="340773" y="189587"/>
                      <a:pt x="348777" y="204901"/>
                      <a:pt x="348777" y="218098"/>
                    </a:cubicBezTo>
                    <a:cubicBezTo>
                      <a:pt x="348777" y="227888"/>
                      <a:pt x="344345" y="233775"/>
                      <a:pt x="337995" y="233775"/>
                    </a:cubicBezTo>
                    <a:cubicBezTo>
                      <a:pt x="335812" y="233775"/>
                      <a:pt x="333397" y="233081"/>
                      <a:pt x="330883" y="231625"/>
                    </a:cubicBezTo>
                    <a:lnTo>
                      <a:pt x="20374" y="52325"/>
                    </a:lnTo>
                    <a:cubicBezTo>
                      <a:pt x="10485" y="46636"/>
                      <a:pt x="2481" y="31322"/>
                      <a:pt x="2481" y="18158"/>
                    </a:cubicBezTo>
                    <a:cubicBezTo>
                      <a:pt x="2481" y="8335"/>
                      <a:pt x="6913" y="2481"/>
                      <a:pt x="13263" y="2481"/>
                    </a:cubicBezTo>
                    <a:cubicBezTo>
                      <a:pt x="15446" y="2481"/>
                      <a:pt x="17860" y="3175"/>
                      <a:pt x="20374" y="4631"/>
                    </a:cubicBezTo>
                    <a:lnTo>
                      <a:pt x="330883" y="183898"/>
                    </a:lnTo>
                    <a:close/>
                  </a:path>
                </a:pathLst>
              </a:custGeom>
              <a:solidFill>
                <a:srgbClr val="7740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12" name="Freeform: Shape 611">
                <a:extLst>
                  <a:ext uri="{FF2B5EF4-FFF2-40B4-BE49-F238E27FC236}">
                    <a16:creationId xmlns:a16="http://schemas.microsoft.com/office/drawing/2014/main" id="{054F704E-FD75-452D-8786-E6CF8DFF9982}"/>
                  </a:ext>
                </a:extLst>
              </p:cNvPr>
              <p:cNvSpPr/>
              <p:nvPr/>
            </p:nvSpPr>
            <p:spPr>
              <a:xfrm>
                <a:off x="1787347" y="4563873"/>
                <a:ext cx="350596" cy="234833"/>
              </a:xfrm>
              <a:custGeom>
                <a:avLst/>
                <a:gdLst>
                  <a:gd name="connsiteX0" fmla="*/ 330883 w 350596"/>
                  <a:gd name="connsiteY0" fmla="*/ 183898 h 234833"/>
                  <a:gd name="connsiteX1" fmla="*/ 348777 w 350596"/>
                  <a:gd name="connsiteY1" fmla="*/ 218098 h 234833"/>
                  <a:gd name="connsiteX2" fmla="*/ 337995 w 350596"/>
                  <a:gd name="connsiteY2" fmla="*/ 233775 h 234833"/>
                  <a:gd name="connsiteX3" fmla="*/ 330883 w 350596"/>
                  <a:gd name="connsiteY3" fmla="*/ 231625 h 234833"/>
                  <a:gd name="connsiteX4" fmla="*/ 20374 w 350596"/>
                  <a:gd name="connsiteY4" fmla="*/ 52325 h 234833"/>
                  <a:gd name="connsiteX5" fmla="*/ 2481 w 350596"/>
                  <a:gd name="connsiteY5" fmla="*/ 18158 h 234833"/>
                  <a:gd name="connsiteX6" fmla="*/ 13263 w 350596"/>
                  <a:gd name="connsiteY6" fmla="*/ 2481 h 234833"/>
                  <a:gd name="connsiteX7" fmla="*/ 20374 w 350596"/>
                  <a:gd name="connsiteY7" fmla="*/ 4631 h 234833"/>
                  <a:gd name="connsiteX8" fmla="*/ 330883 w 350596"/>
                  <a:gd name="connsiteY8" fmla="*/ 183898 h 234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50596" h="234833">
                    <a:moveTo>
                      <a:pt x="330883" y="183898"/>
                    </a:moveTo>
                    <a:cubicBezTo>
                      <a:pt x="340773" y="189586"/>
                      <a:pt x="348777" y="204900"/>
                      <a:pt x="348777" y="218098"/>
                    </a:cubicBezTo>
                    <a:cubicBezTo>
                      <a:pt x="348777" y="227888"/>
                      <a:pt x="344345" y="233775"/>
                      <a:pt x="337995" y="233775"/>
                    </a:cubicBezTo>
                    <a:cubicBezTo>
                      <a:pt x="335812" y="233775"/>
                      <a:pt x="333397" y="233080"/>
                      <a:pt x="330883" y="231625"/>
                    </a:cubicBezTo>
                    <a:lnTo>
                      <a:pt x="20374" y="52325"/>
                    </a:lnTo>
                    <a:cubicBezTo>
                      <a:pt x="10485" y="46636"/>
                      <a:pt x="2481" y="31322"/>
                      <a:pt x="2481" y="18158"/>
                    </a:cubicBezTo>
                    <a:cubicBezTo>
                      <a:pt x="2481" y="8335"/>
                      <a:pt x="6913" y="2481"/>
                      <a:pt x="13263" y="2481"/>
                    </a:cubicBezTo>
                    <a:cubicBezTo>
                      <a:pt x="15446" y="2481"/>
                      <a:pt x="17860" y="3175"/>
                      <a:pt x="20374" y="4631"/>
                    </a:cubicBezTo>
                    <a:lnTo>
                      <a:pt x="330883" y="183898"/>
                    </a:lnTo>
                    <a:close/>
                  </a:path>
                </a:pathLst>
              </a:custGeom>
              <a:solidFill>
                <a:srgbClr val="7740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13" name="Freeform: Shape 612">
                <a:extLst>
                  <a:ext uri="{FF2B5EF4-FFF2-40B4-BE49-F238E27FC236}">
                    <a16:creationId xmlns:a16="http://schemas.microsoft.com/office/drawing/2014/main" id="{45E92274-2E92-4D70-8D82-B72CCFC2133D}"/>
                  </a:ext>
                </a:extLst>
              </p:cNvPr>
              <p:cNvSpPr/>
              <p:nvPr/>
            </p:nvSpPr>
            <p:spPr>
              <a:xfrm>
                <a:off x="1789232" y="4151592"/>
                <a:ext cx="145531" cy="175298"/>
              </a:xfrm>
              <a:custGeom>
                <a:avLst/>
                <a:gdLst>
                  <a:gd name="connsiteX0" fmla="*/ 73890 w 145530"/>
                  <a:gd name="connsiteY0" fmla="*/ 2481 h 175298"/>
                  <a:gd name="connsiteX1" fmla="*/ 145299 w 145530"/>
                  <a:gd name="connsiteY1" fmla="*/ 175265 h 175298"/>
                  <a:gd name="connsiteX2" fmla="*/ 2481 w 145530"/>
                  <a:gd name="connsiteY2" fmla="*/ 92809 h 175298"/>
                  <a:gd name="connsiteX3" fmla="*/ 73890 w 145530"/>
                  <a:gd name="connsiteY3" fmla="*/ 2481 h 175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5530" h="175298">
                    <a:moveTo>
                      <a:pt x="73890" y="2481"/>
                    </a:moveTo>
                    <a:lnTo>
                      <a:pt x="145299" y="175265"/>
                    </a:lnTo>
                    <a:lnTo>
                      <a:pt x="2481" y="92809"/>
                    </a:lnTo>
                    <a:lnTo>
                      <a:pt x="73890" y="2481"/>
                    </a:lnTo>
                    <a:close/>
                  </a:path>
                </a:pathLst>
              </a:custGeom>
              <a:solidFill>
                <a:srgbClr val="7740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14" name="Freeform: Shape 613">
                <a:extLst>
                  <a:ext uri="{FF2B5EF4-FFF2-40B4-BE49-F238E27FC236}">
                    <a16:creationId xmlns:a16="http://schemas.microsoft.com/office/drawing/2014/main" id="{CA0080C5-44EB-4BC1-83AF-54D62749ACCB}"/>
                  </a:ext>
                </a:extLst>
              </p:cNvPr>
              <p:cNvSpPr/>
              <p:nvPr/>
            </p:nvSpPr>
            <p:spPr>
              <a:xfrm>
                <a:off x="1691793" y="3953790"/>
                <a:ext cx="532510" cy="1081557"/>
              </a:xfrm>
              <a:custGeom>
                <a:avLst/>
                <a:gdLst>
                  <a:gd name="connsiteX0" fmla="*/ 515740 w 532509"/>
                  <a:gd name="connsiteY0" fmla="*/ 1080874 h 1081556"/>
                  <a:gd name="connsiteX1" fmla="*/ 505024 w 532509"/>
                  <a:gd name="connsiteY1" fmla="*/ 1077732 h 1081556"/>
                  <a:gd name="connsiteX2" fmla="*/ 505024 w 532509"/>
                  <a:gd name="connsiteY2" fmla="*/ 1077732 h 1081556"/>
                  <a:gd name="connsiteX3" fmla="*/ 25600 w 532509"/>
                  <a:gd name="connsiteY3" fmla="*/ 800926 h 1081556"/>
                  <a:gd name="connsiteX4" fmla="*/ 2481 w 532509"/>
                  <a:gd name="connsiteY4" fmla="*/ 757168 h 1081556"/>
                  <a:gd name="connsiteX5" fmla="*/ 2481 w 532509"/>
                  <a:gd name="connsiteY5" fmla="*/ 25580 h 1081556"/>
                  <a:gd name="connsiteX6" fmla="*/ 12105 w 532509"/>
                  <a:gd name="connsiteY6" fmla="*/ 4544 h 1081556"/>
                  <a:gd name="connsiteX7" fmla="*/ 30561 w 532509"/>
                  <a:gd name="connsiteY7" fmla="*/ 5635 h 1081556"/>
                  <a:gd name="connsiteX8" fmla="*/ 509985 w 532509"/>
                  <a:gd name="connsiteY8" fmla="*/ 282441 h 1081556"/>
                  <a:gd name="connsiteX9" fmla="*/ 533138 w 532509"/>
                  <a:gd name="connsiteY9" fmla="*/ 326232 h 1081556"/>
                  <a:gd name="connsiteX10" fmla="*/ 533138 w 532509"/>
                  <a:gd name="connsiteY10" fmla="*/ 1057821 h 1081556"/>
                  <a:gd name="connsiteX11" fmla="*/ 523513 w 532509"/>
                  <a:gd name="connsiteY11" fmla="*/ 1078824 h 1081556"/>
                  <a:gd name="connsiteX12" fmla="*/ 515707 w 532509"/>
                  <a:gd name="connsiteY12" fmla="*/ 1080907 h 1081556"/>
                  <a:gd name="connsiteX13" fmla="*/ 509985 w 532509"/>
                  <a:gd name="connsiteY13" fmla="*/ 1069133 h 1081556"/>
                  <a:gd name="connsiteX14" fmla="*/ 518552 w 532509"/>
                  <a:gd name="connsiteY14" fmla="*/ 1070224 h 1081556"/>
                  <a:gd name="connsiteX15" fmla="*/ 523215 w 532509"/>
                  <a:gd name="connsiteY15" fmla="*/ 1057821 h 1081556"/>
                  <a:gd name="connsiteX16" fmla="*/ 523215 w 532509"/>
                  <a:gd name="connsiteY16" fmla="*/ 326232 h 1081556"/>
                  <a:gd name="connsiteX17" fmla="*/ 505024 w 532509"/>
                  <a:gd name="connsiteY17" fmla="*/ 291041 h 1081556"/>
                  <a:gd name="connsiteX18" fmla="*/ 25600 w 532509"/>
                  <a:gd name="connsiteY18" fmla="*/ 14235 h 1081556"/>
                  <a:gd name="connsiteX19" fmla="*/ 17067 w 532509"/>
                  <a:gd name="connsiteY19" fmla="*/ 13143 h 1081556"/>
                  <a:gd name="connsiteX20" fmla="*/ 12403 w 532509"/>
                  <a:gd name="connsiteY20" fmla="*/ 25580 h 1081556"/>
                  <a:gd name="connsiteX21" fmla="*/ 12403 w 532509"/>
                  <a:gd name="connsiteY21" fmla="*/ 757168 h 1081556"/>
                  <a:gd name="connsiteX22" fmla="*/ 30561 w 532509"/>
                  <a:gd name="connsiteY22" fmla="*/ 792327 h 1081556"/>
                  <a:gd name="connsiteX23" fmla="*/ 509985 w 532509"/>
                  <a:gd name="connsiteY23" fmla="*/ 1069133 h 10815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32509" h="1081556">
                    <a:moveTo>
                      <a:pt x="515740" y="1080874"/>
                    </a:moveTo>
                    <a:cubicBezTo>
                      <a:pt x="512301" y="1080874"/>
                      <a:pt x="508662" y="1079816"/>
                      <a:pt x="505024" y="1077732"/>
                    </a:cubicBezTo>
                    <a:lnTo>
                      <a:pt x="505024" y="1077732"/>
                    </a:lnTo>
                    <a:lnTo>
                      <a:pt x="25600" y="800926"/>
                    </a:lnTo>
                    <a:cubicBezTo>
                      <a:pt x="12635" y="793452"/>
                      <a:pt x="2481" y="774235"/>
                      <a:pt x="2481" y="757168"/>
                    </a:cubicBezTo>
                    <a:lnTo>
                      <a:pt x="2481" y="25580"/>
                    </a:lnTo>
                    <a:cubicBezTo>
                      <a:pt x="2481" y="15756"/>
                      <a:pt x="5987" y="8083"/>
                      <a:pt x="12105" y="4544"/>
                    </a:cubicBezTo>
                    <a:cubicBezTo>
                      <a:pt x="17464" y="1468"/>
                      <a:pt x="24013" y="1831"/>
                      <a:pt x="30561" y="5635"/>
                    </a:cubicBezTo>
                    <a:lnTo>
                      <a:pt x="509985" y="282441"/>
                    </a:lnTo>
                    <a:cubicBezTo>
                      <a:pt x="522951" y="289916"/>
                      <a:pt x="533138" y="309166"/>
                      <a:pt x="533138" y="326232"/>
                    </a:cubicBezTo>
                    <a:lnTo>
                      <a:pt x="533138" y="1057821"/>
                    </a:lnTo>
                    <a:cubicBezTo>
                      <a:pt x="533138" y="1067644"/>
                      <a:pt x="529632" y="1075285"/>
                      <a:pt x="523513" y="1078824"/>
                    </a:cubicBezTo>
                    <a:cubicBezTo>
                      <a:pt x="521132" y="1080213"/>
                      <a:pt x="518486" y="1080907"/>
                      <a:pt x="515707" y="1080907"/>
                    </a:cubicBezTo>
                    <a:close/>
                    <a:moveTo>
                      <a:pt x="509985" y="1069133"/>
                    </a:moveTo>
                    <a:cubicBezTo>
                      <a:pt x="512367" y="1070522"/>
                      <a:pt x="515807" y="1071812"/>
                      <a:pt x="518552" y="1070224"/>
                    </a:cubicBezTo>
                    <a:cubicBezTo>
                      <a:pt x="521462" y="1068537"/>
                      <a:pt x="523215" y="1063907"/>
                      <a:pt x="523215" y="1057821"/>
                    </a:cubicBezTo>
                    <a:lnTo>
                      <a:pt x="523215" y="326232"/>
                    </a:lnTo>
                    <a:cubicBezTo>
                      <a:pt x="523215" y="312837"/>
                      <a:pt x="514880" y="296729"/>
                      <a:pt x="505024" y="291041"/>
                    </a:cubicBezTo>
                    <a:lnTo>
                      <a:pt x="25600" y="14235"/>
                    </a:lnTo>
                    <a:cubicBezTo>
                      <a:pt x="23219" y="12879"/>
                      <a:pt x="19812" y="11556"/>
                      <a:pt x="17067" y="13143"/>
                    </a:cubicBezTo>
                    <a:cubicBezTo>
                      <a:pt x="14156" y="14830"/>
                      <a:pt x="12403" y="19494"/>
                      <a:pt x="12403" y="25580"/>
                    </a:cubicBezTo>
                    <a:lnTo>
                      <a:pt x="12403" y="757168"/>
                    </a:lnTo>
                    <a:cubicBezTo>
                      <a:pt x="12403" y="770564"/>
                      <a:pt x="20705" y="786671"/>
                      <a:pt x="30561" y="792327"/>
                    </a:cubicBezTo>
                    <a:lnTo>
                      <a:pt x="509985" y="1069133"/>
                    </a:ln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15" name="Freeform: Shape 614">
                <a:extLst>
                  <a:ext uri="{FF2B5EF4-FFF2-40B4-BE49-F238E27FC236}">
                    <a16:creationId xmlns:a16="http://schemas.microsoft.com/office/drawing/2014/main" id="{A81B6FAD-506E-4928-AEBF-529AA2B35086}"/>
                  </a:ext>
                </a:extLst>
              </p:cNvPr>
              <p:cNvSpPr/>
              <p:nvPr/>
            </p:nvSpPr>
            <p:spPr>
              <a:xfrm>
                <a:off x="1784285" y="4146641"/>
                <a:ext cx="155453" cy="185221"/>
              </a:xfrm>
              <a:custGeom>
                <a:avLst/>
                <a:gdLst>
                  <a:gd name="connsiteX0" fmla="*/ 150246 w 155453"/>
                  <a:gd name="connsiteY0" fmla="*/ 185177 h 185220"/>
                  <a:gd name="connsiteX1" fmla="*/ 147765 w 155453"/>
                  <a:gd name="connsiteY1" fmla="*/ 184515 h 185220"/>
                  <a:gd name="connsiteX2" fmla="*/ 4947 w 155453"/>
                  <a:gd name="connsiteY2" fmla="*/ 102059 h 185220"/>
                  <a:gd name="connsiteX3" fmla="*/ 2565 w 155453"/>
                  <a:gd name="connsiteY3" fmla="*/ 98686 h 185220"/>
                  <a:gd name="connsiteX4" fmla="*/ 3557 w 155453"/>
                  <a:gd name="connsiteY4" fmla="*/ 94683 h 185220"/>
                  <a:gd name="connsiteX5" fmla="*/ 74967 w 155453"/>
                  <a:gd name="connsiteY5" fmla="*/ 4355 h 185220"/>
                  <a:gd name="connsiteX6" fmla="*/ 79531 w 155453"/>
                  <a:gd name="connsiteY6" fmla="*/ 2536 h 185220"/>
                  <a:gd name="connsiteX7" fmla="*/ 83434 w 155453"/>
                  <a:gd name="connsiteY7" fmla="*/ 5546 h 185220"/>
                  <a:gd name="connsiteX8" fmla="*/ 154843 w 155453"/>
                  <a:gd name="connsiteY8" fmla="*/ 178330 h 185220"/>
                  <a:gd name="connsiteX9" fmla="*/ 153520 w 155453"/>
                  <a:gd name="connsiteY9" fmla="*/ 183953 h 185220"/>
                  <a:gd name="connsiteX10" fmla="*/ 150246 w 155453"/>
                  <a:gd name="connsiteY10" fmla="*/ 185177 h 185220"/>
                  <a:gd name="connsiteX11" fmla="*/ 14869 w 155453"/>
                  <a:gd name="connsiteY11" fmla="*/ 96337 h 185220"/>
                  <a:gd name="connsiteX12" fmla="*/ 140092 w 155453"/>
                  <a:gd name="connsiteY12" fmla="*/ 168639 h 185220"/>
                  <a:gd name="connsiteX13" fmla="*/ 77480 w 155453"/>
                  <a:gd name="connsiteY13" fmla="*/ 17155 h 185220"/>
                  <a:gd name="connsiteX14" fmla="*/ 14869 w 155453"/>
                  <a:gd name="connsiteY14" fmla="*/ 96337 h 18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5453" h="185220">
                    <a:moveTo>
                      <a:pt x="150246" y="185177"/>
                    </a:moveTo>
                    <a:cubicBezTo>
                      <a:pt x="149386" y="185177"/>
                      <a:pt x="148526" y="184945"/>
                      <a:pt x="147765" y="184515"/>
                    </a:cubicBezTo>
                    <a:lnTo>
                      <a:pt x="4947" y="102059"/>
                    </a:lnTo>
                    <a:cubicBezTo>
                      <a:pt x="3690" y="101331"/>
                      <a:pt x="2830" y="100108"/>
                      <a:pt x="2565" y="98686"/>
                    </a:cubicBezTo>
                    <a:cubicBezTo>
                      <a:pt x="2300" y="97263"/>
                      <a:pt x="2664" y="95808"/>
                      <a:pt x="3557" y="94683"/>
                    </a:cubicBezTo>
                    <a:lnTo>
                      <a:pt x="74967" y="4355"/>
                    </a:lnTo>
                    <a:cubicBezTo>
                      <a:pt x="76058" y="2966"/>
                      <a:pt x="77811" y="2272"/>
                      <a:pt x="79531" y="2536"/>
                    </a:cubicBezTo>
                    <a:cubicBezTo>
                      <a:pt x="81284" y="2768"/>
                      <a:pt x="82772" y="3925"/>
                      <a:pt x="83434" y="5546"/>
                    </a:cubicBezTo>
                    <a:lnTo>
                      <a:pt x="154843" y="178330"/>
                    </a:lnTo>
                    <a:cubicBezTo>
                      <a:pt x="155670" y="180282"/>
                      <a:pt x="155141" y="182564"/>
                      <a:pt x="153520" y="183953"/>
                    </a:cubicBezTo>
                    <a:cubicBezTo>
                      <a:pt x="152594" y="184780"/>
                      <a:pt x="151436" y="185177"/>
                      <a:pt x="150246" y="185177"/>
                    </a:cubicBezTo>
                    <a:close/>
                    <a:moveTo>
                      <a:pt x="14869" y="96337"/>
                    </a:moveTo>
                    <a:lnTo>
                      <a:pt x="140092" y="168639"/>
                    </a:lnTo>
                    <a:lnTo>
                      <a:pt x="77480" y="17155"/>
                    </a:lnTo>
                    <a:lnTo>
                      <a:pt x="14869" y="96337"/>
                    </a:ln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16" name="Freeform: Shape 615">
                <a:extLst>
                  <a:ext uri="{FF2B5EF4-FFF2-40B4-BE49-F238E27FC236}">
                    <a16:creationId xmlns:a16="http://schemas.microsoft.com/office/drawing/2014/main" id="{4DD4A9E4-22B6-46DC-85CB-9F122223D676}"/>
                  </a:ext>
                </a:extLst>
              </p:cNvPr>
              <p:cNvSpPr/>
              <p:nvPr/>
            </p:nvSpPr>
            <p:spPr>
              <a:xfrm>
                <a:off x="1782385" y="4343659"/>
                <a:ext cx="360519" cy="244756"/>
              </a:xfrm>
              <a:custGeom>
                <a:avLst/>
                <a:gdLst>
                  <a:gd name="connsiteX0" fmla="*/ 342956 w 360518"/>
                  <a:gd name="connsiteY0" fmla="*/ 243697 h 244755"/>
                  <a:gd name="connsiteX1" fmla="*/ 333364 w 360518"/>
                  <a:gd name="connsiteY1" fmla="*/ 240886 h 244755"/>
                  <a:gd name="connsiteX2" fmla="*/ 22855 w 360518"/>
                  <a:gd name="connsiteY2" fmla="*/ 61619 h 244755"/>
                  <a:gd name="connsiteX3" fmla="*/ 2481 w 360518"/>
                  <a:gd name="connsiteY3" fmla="*/ 23119 h 244755"/>
                  <a:gd name="connsiteX4" fmla="*/ 18224 w 360518"/>
                  <a:gd name="connsiteY4" fmla="*/ 2481 h 244755"/>
                  <a:gd name="connsiteX5" fmla="*/ 27816 w 360518"/>
                  <a:gd name="connsiteY5" fmla="*/ 5292 h 244755"/>
                  <a:gd name="connsiteX6" fmla="*/ 338325 w 360518"/>
                  <a:gd name="connsiteY6" fmla="*/ 184559 h 244755"/>
                  <a:gd name="connsiteX7" fmla="*/ 358700 w 360518"/>
                  <a:gd name="connsiteY7" fmla="*/ 223058 h 244755"/>
                  <a:gd name="connsiteX8" fmla="*/ 342956 w 360518"/>
                  <a:gd name="connsiteY8" fmla="*/ 243697 h 244755"/>
                  <a:gd name="connsiteX9" fmla="*/ 18224 w 360518"/>
                  <a:gd name="connsiteY9" fmla="*/ 12403 h 244755"/>
                  <a:gd name="connsiteX10" fmla="*/ 12403 w 360518"/>
                  <a:gd name="connsiteY10" fmla="*/ 23119 h 244755"/>
                  <a:gd name="connsiteX11" fmla="*/ 27816 w 360518"/>
                  <a:gd name="connsiteY11" fmla="*/ 53019 h 244755"/>
                  <a:gd name="connsiteX12" fmla="*/ 338325 w 360518"/>
                  <a:gd name="connsiteY12" fmla="*/ 232287 h 244755"/>
                  <a:gd name="connsiteX13" fmla="*/ 338325 w 360518"/>
                  <a:gd name="connsiteY13" fmla="*/ 232287 h 244755"/>
                  <a:gd name="connsiteX14" fmla="*/ 342956 w 360518"/>
                  <a:gd name="connsiteY14" fmla="*/ 233775 h 244755"/>
                  <a:gd name="connsiteX15" fmla="*/ 348777 w 360518"/>
                  <a:gd name="connsiteY15" fmla="*/ 223058 h 244755"/>
                  <a:gd name="connsiteX16" fmla="*/ 333364 w 360518"/>
                  <a:gd name="connsiteY16" fmla="*/ 193158 h 244755"/>
                  <a:gd name="connsiteX17" fmla="*/ 22855 w 360518"/>
                  <a:gd name="connsiteY17" fmla="*/ 13891 h 244755"/>
                  <a:gd name="connsiteX18" fmla="*/ 18224 w 360518"/>
                  <a:gd name="connsiteY18" fmla="*/ 12403 h 244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60518" h="244755">
                    <a:moveTo>
                      <a:pt x="342956" y="243697"/>
                    </a:moveTo>
                    <a:cubicBezTo>
                      <a:pt x="339814" y="243697"/>
                      <a:pt x="336605" y="242738"/>
                      <a:pt x="333364" y="240886"/>
                    </a:cubicBezTo>
                    <a:lnTo>
                      <a:pt x="22855" y="61619"/>
                    </a:lnTo>
                    <a:cubicBezTo>
                      <a:pt x="11444" y="55004"/>
                      <a:pt x="2481" y="38103"/>
                      <a:pt x="2481" y="23119"/>
                    </a:cubicBezTo>
                    <a:cubicBezTo>
                      <a:pt x="2481" y="8136"/>
                      <a:pt x="10386" y="2481"/>
                      <a:pt x="18224" y="2481"/>
                    </a:cubicBezTo>
                    <a:cubicBezTo>
                      <a:pt x="21366" y="2481"/>
                      <a:pt x="24608" y="3440"/>
                      <a:pt x="27816" y="5292"/>
                    </a:cubicBezTo>
                    <a:lnTo>
                      <a:pt x="338325" y="184559"/>
                    </a:lnTo>
                    <a:cubicBezTo>
                      <a:pt x="349736" y="191141"/>
                      <a:pt x="358700" y="208042"/>
                      <a:pt x="358700" y="223058"/>
                    </a:cubicBezTo>
                    <a:cubicBezTo>
                      <a:pt x="358700" y="238075"/>
                      <a:pt x="350795" y="243697"/>
                      <a:pt x="342956" y="243697"/>
                    </a:cubicBezTo>
                    <a:close/>
                    <a:moveTo>
                      <a:pt x="18224" y="12403"/>
                    </a:moveTo>
                    <a:cubicBezTo>
                      <a:pt x="13924" y="12403"/>
                      <a:pt x="12403" y="18191"/>
                      <a:pt x="12403" y="23119"/>
                    </a:cubicBezTo>
                    <a:cubicBezTo>
                      <a:pt x="12403" y="34497"/>
                      <a:pt x="19448" y="48190"/>
                      <a:pt x="27816" y="53019"/>
                    </a:cubicBezTo>
                    <a:lnTo>
                      <a:pt x="338325" y="232287"/>
                    </a:lnTo>
                    <a:lnTo>
                      <a:pt x="338325" y="232287"/>
                    </a:lnTo>
                    <a:cubicBezTo>
                      <a:pt x="340012" y="233246"/>
                      <a:pt x="341600" y="233775"/>
                      <a:pt x="342956" y="233775"/>
                    </a:cubicBezTo>
                    <a:cubicBezTo>
                      <a:pt x="347256" y="233775"/>
                      <a:pt x="348777" y="227987"/>
                      <a:pt x="348777" y="223058"/>
                    </a:cubicBezTo>
                    <a:cubicBezTo>
                      <a:pt x="348777" y="211648"/>
                      <a:pt x="341732" y="197955"/>
                      <a:pt x="333364" y="193158"/>
                    </a:cubicBezTo>
                    <a:lnTo>
                      <a:pt x="22855" y="13891"/>
                    </a:lnTo>
                    <a:cubicBezTo>
                      <a:pt x="21168" y="12932"/>
                      <a:pt x="19580" y="12403"/>
                      <a:pt x="18224" y="12403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17" name="Freeform: Shape 616">
                <a:extLst>
                  <a:ext uri="{FF2B5EF4-FFF2-40B4-BE49-F238E27FC236}">
                    <a16:creationId xmlns:a16="http://schemas.microsoft.com/office/drawing/2014/main" id="{C88E6504-2A38-4DF9-946C-596F73032431}"/>
                  </a:ext>
                </a:extLst>
              </p:cNvPr>
              <p:cNvSpPr/>
              <p:nvPr/>
            </p:nvSpPr>
            <p:spPr>
              <a:xfrm>
                <a:off x="1782385" y="4451285"/>
                <a:ext cx="360519" cy="244756"/>
              </a:xfrm>
              <a:custGeom>
                <a:avLst/>
                <a:gdLst>
                  <a:gd name="connsiteX0" fmla="*/ 342956 w 360518"/>
                  <a:gd name="connsiteY0" fmla="*/ 243698 h 244755"/>
                  <a:gd name="connsiteX1" fmla="*/ 333364 w 360518"/>
                  <a:gd name="connsiteY1" fmla="*/ 240886 h 244755"/>
                  <a:gd name="connsiteX2" fmla="*/ 22855 w 360518"/>
                  <a:gd name="connsiteY2" fmla="*/ 61586 h 244755"/>
                  <a:gd name="connsiteX3" fmla="*/ 2481 w 360518"/>
                  <a:gd name="connsiteY3" fmla="*/ 23119 h 244755"/>
                  <a:gd name="connsiteX4" fmla="*/ 18224 w 360518"/>
                  <a:gd name="connsiteY4" fmla="*/ 2481 h 244755"/>
                  <a:gd name="connsiteX5" fmla="*/ 27816 w 360518"/>
                  <a:gd name="connsiteY5" fmla="*/ 5292 h 244755"/>
                  <a:gd name="connsiteX6" fmla="*/ 338325 w 360518"/>
                  <a:gd name="connsiteY6" fmla="*/ 184559 h 244755"/>
                  <a:gd name="connsiteX7" fmla="*/ 358700 w 360518"/>
                  <a:gd name="connsiteY7" fmla="*/ 223059 h 244755"/>
                  <a:gd name="connsiteX8" fmla="*/ 342956 w 360518"/>
                  <a:gd name="connsiteY8" fmla="*/ 243698 h 244755"/>
                  <a:gd name="connsiteX9" fmla="*/ 18224 w 360518"/>
                  <a:gd name="connsiteY9" fmla="*/ 12403 h 244755"/>
                  <a:gd name="connsiteX10" fmla="*/ 12403 w 360518"/>
                  <a:gd name="connsiteY10" fmla="*/ 23119 h 244755"/>
                  <a:gd name="connsiteX11" fmla="*/ 27816 w 360518"/>
                  <a:gd name="connsiteY11" fmla="*/ 52986 h 244755"/>
                  <a:gd name="connsiteX12" fmla="*/ 338325 w 360518"/>
                  <a:gd name="connsiteY12" fmla="*/ 232287 h 244755"/>
                  <a:gd name="connsiteX13" fmla="*/ 338325 w 360518"/>
                  <a:gd name="connsiteY13" fmla="*/ 232287 h 244755"/>
                  <a:gd name="connsiteX14" fmla="*/ 342956 w 360518"/>
                  <a:gd name="connsiteY14" fmla="*/ 233775 h 244755"/>
                  <a:gd name="connsiteX15" fmla="*/ 348777 w 360518"/>
                  <a:gd name="connsiteY15" fmla="*/ 223059 h 244755"/>
                  <a:gd name="connsiteX16" fmla="*/ 333364 w 360518"/>
                  <a:gd name="connsiteY16" fmla="*/ 193159 h 244755"/>
                  <a:gd name="connsiteX17" fmla="*/ 22855 w 360518"/>
                  <a:gd name="connsiteY17" fmla="*/ 13892 h 244755"/>
                  <a:gd name="connsiteX18" fmla="*/ 18224 w 360518"/>
                  <a:gd name="connsiteY18" fmla="*/ 12403 h 244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60518" h="244755">
                    <a:moveTo>
                      <a:pt x="342956" y="243698"/>
                    </a:moveTo>
                    <a:cubicBezTo>
                      <a:pt x="339814" y="243698"/>
                      <a:pt x="336605" y="242738"/>
                      <a:pt x="333364" y="240886"/>
                    </a:cubicBezTo>
                    <a:lnTo>
                      <a:pt x="22855" y="61586"/>
                    </a:lnTo>
                    <a:cubicBezTo>
                      <a:pt x="11444" y="55004"/>
                      <a:pt x="2481" y="38136"/>
                      <a:pt x="2481" y="23119"/>
                    </a:cubicBezTo>
                    <a:cubicBezTo>
                      <a:pt x="2481" y="8104"/>
                      <a:pt x="10386" y="2481"/>
                      <a:pt x="18224" y="2481"/>
                    </a:cubicBezTo>
                    <a:cubicBezTo>
                      <a:pt x="21366" y="2481"/>
                      <a:pt x="24608" y="3440"/>
                      <a:pt x="27816" y="5292"/>
                    </a:cubicBezTo>
                    <a:lnTo>
                      <a:pt x="338325" y="184559"/>
                    </a:lnTo>
                    <a:cubicBezTo>
                      <a:pt x="349736" y="191141"/>
                      <a:pt x="358700" y="208043"/>
                      <a:pt x="358700" y="223059"/>
                    </a:cubicBezTo>
                    <a:cubicBezTo>
                      <a:pt x="358700" y="238075"/>
                      <a:pt x="350795" y="243698"/>
                      <a:pt x="342956" y="243698"/>
                    </a:cubicBezTo>
                    <a:close/>
                    <a:moveTo>
                      <a:pt x="18224" y="12403"/>
                    </a:moveTo>
                    <a:cubicBezTo>
                      <a:pt x="13924" y="12403"/>
                      <a:pt x="12403" y="18191"/>
                      <a:pt x="12403" y="23119"/>
                    </a:cubicBezTo>
                    <a:cubicBezTo>
                      <a:pt x="12403" y="34498"/>
                      <a:pt x="19448" y="48191"/>
                      <a:pt x="27816" y="52986"/>
                    </a:cubicBezTo>
                    <a:lnTo>
                      <a:pt x="338325" y="232287"/>
                    </a:lnTo>
                    <a:lnTo>
                      <a:pt x="338325" y="232287"/>
                    </a:lnTo>
                    <a:cubicBezTo>
                      <a:pt x="340012" y="233246"/>
                      <a:pt x="341600" y="233775"/>
                      <a:pt x="342956" y="233775"/>
                    </a:cubicBezTo>
                    <a:cubicBezTo>
                      <a:pt x="347256" y="233775"/>
                      <a:pt x="348777" y="227987"/>
                      <a:pt x="348777" y="223059"/>
                    </a:cubicBezTo>
                    <a:cubicBezTo>
                      <a:pt x="348777" y="211648"/>
                      <a:pt x="341732" y="197955"/>
                      <a:pt x="333364" y="193159"/>
                    </a:cubicBezTo>
                    <a:lnTo>
                      <a:pt x="22855" y="13892"/>
                    </a:lnTo>
                    <a:cubicBezTo>
                      <a:pt x="21168" y="12932"/>
                      <a:pt x="19580" y="12403"/>
                      <a:pt x="18224" y="12403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18" name="Freeform: Shape 617">
                <a:extLst>
                  <a:ext uri="{FF2B5EF4-FFF2-40B4-BE49-F238E27FC236}">
                    <a16:creationId xmlns:a16="http://schemas.microsoft.com/office/drawing/2014/main" id="{B4D8E203-5D45-4DFB-83A8-7A9B1F928AB8}"/>
                  </a:ext>
                </a:extLst>
              </p:cNvPr>
              <p:cNvSpPr/>
              <p:nvPr/>
            </p:nvSpPr>
            <p:spPr>
              <a:xfrm>
                <a:off x="1782385" y="4558912"/>
                <a:ext cx="360519" cy="244756"/>
              </a:xfrm>
              <a:custGeom>
                <a:avLst/>
                <a:gdLst>
                  <a:gd name="connsiteX0" fmla="*/ 342956 w 360518"/>
                  <a:gd name="connsiteY0" fmla="*/ 243698 h 244755"/>
                  <a:gd name="connsiteX1" fmla="*/ 333364 w 360518"/>
                  <a:gd name="connsiteY1" fmla="*/ 240886 h 244755"/>
                  <a:gd name="connsiteX2" fmla="*/ 22855 w 360518"/>
                  <a:gd name="connsiteY2" fmla="*/ 61586 h 244755"/>
                  <a:gd name="connsiteX3" fmla="*/ 2481 w 360518"/>
                  <a:gd name="connsiteY3" fmla="*/ 23119 h 244755"/>
                  <a:gd name="connsiteX4" fmla="*/ 18224 w 360518"/>
                  <a:gd name="connsiteY4" fmla="*/ 2481 h 244755"/>
                  <a:gd name="connsiteX5" fmla="*/ 27816 w 360518"/>
                  <a:gd name="connsiteY5" fmla="*/ 5292 h 244755"/>
                  <a:gd name="connsiteX6" fmla="*/ 338325 w 360518"/>
                  <a:gd name="connsiteY6" fmla="*/ 184559 h 244755"/>
                  <a:gd name="connsiteX7" fmla="*/ 358700 w 360518"/>
                  <a:gd name="connsiteY7" fmla="*/ 223059 h 244755"/>
                  <a:gd name="connsiteX8" fmla="*/ 342956 w 360518"/>
                  <a:gd name="connsiteY8" fmla="*/ 243698 h 244755"/>
                  <a:gd name="connsiteX9" fmla="*/ 18224 w 360518"/>
                  <a:gd name="connsiteY9" fmla="*/ 12403 h 244755"/>
                  <a:gd name="connsiteX10" fmla="*/ 12403 w 360518"/>
                  <a:gd name="connsiteY10" fmla="*/ 23119 h 244755"/>
                  <a:gd name="connsiteX11" fmla="*/ 27816 w 360518"/>
                  <a:gd name="connsiteY11" fmla="*/ 52986 h 244755"/>
                  <a:gd name="connsiteX12" fmla="*/ 338325 w 360518"/>
                  <a:gd name="connsiteY12" fmla="*/ 232287 h 244755"/>
                  <a:gd name="connsiteX13" fmla="*/ 338325 w 360518"/>
                  <a:gd name="connsiteY13" fmla="*/ 232287 h 244755"/>
                  <a:gd name="connsiteX14" fmla="*/ 342956 w 360518"/>
                  <a:gd name="connsiteY14" fmla="*/ 233775 h 244755"/>
                  <a:gd name="connsiteX15" fmla="*/ 348777 w 360518"/>
                  <a:gd name="connsiteY15" fmla="*/ 223059 h 244755"/>
                  <a:gd name="connsiteX16" fmla="*/ 333364 w 360518"/>
                  <a:gd name="connsiteY16" fmla="*/ 193159 h 244755"/>
                  <a:gd name="connsiteX17" fmla="*/ 22855 w 360518"/>
                  <a:gd name="connsiteY17" fmla="*/ 13891 h 244755"/>
                  <a:gd name="connsiteX18" fmla="*/ 18224 w 360518"/>
                  <a:gd name="connsiteY18" fmla="*/ 12403 h 244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60518" h="244755">
                    <a:moveTo>
                      <a:pt x="342956" y="243698"/>
                    </a:moveTo>
                    <a:cubicBezTo>
                      <a:pt x="339814" y="243698"/>
                      <a:pt x="336605" y="242738"/>
                      <a:pt x="333364" y="240886"/>
                    </a:cubicBezTo>
                    <a:lnTo>
                      <a:pt x="22855" y="61586"/>
                    </a:lnTo>
                    <a:cubicBezTo>
                      <a:pt x="11444" y="55004"/>
                      <a:pt x="2481" y="38136"/>
                      <a:pt x="2481" y="23119"/>
                    </a:cubicBezTo>
                    <a:cubicBezTo>
                      <a:pt x="2481" y="8103"/>
                      <a:pt x="10386" y="2481"/>
                      <a:pt x="18224" y="2481"/>
                    </a:cubicBezTo>
                    <a:cubicBezTo>
                      <a:pt x="21366" y="2481"/>
                      <a:pt x="24608" y="3440"/>
                      <a:pt x="27816" y="5292"/>
                    </a:cubicBezTo>
                    <a:lnTo>
                      <a:pt x="338325" y="184559"/>
                    </a:lnTo>
                    <a:cubicBezTo>
                      <a:pt x="349736" y="191141"/>
                      <a:pt x="358700" y="208043"/>
                      <a:pt x="358700" y="223059"/>
                    </a:cubicBezTo>
                    <a:cubicBezTo>
                      <a:pt x="358700" y="238075"/>
                      <a:pt x="350795" y="243698"/>
                      <a:pt x="342956" y="243698"/>
                    </a:cubicBezTo>
                    <a:close/>
                    <a:moveTo>
                      <a:pt x="18224" y="12403"/>
                    </a:moveTo>
                    <a:cubicBezTo>
                      <a:pt x="13924" y="12403"/>
                      <a:pt x="12403" y="18191"/>
                      <a:pt x="12403" y="23119"/>
                    </a:cubicBezTo>
                    <a:cubicBezTo>
                      <a:pt x="12403" y="34498"/>
                      <a:pt x="19448" y="48190"/>
                      <a:pt x="27816" y="52986"/>
                    </a:cubicBezTo>
                    <a:lnTo>
                      <a:pt x="338325" y="232287"/>
                    </a:lnTo>
                    <a:lnTo>
                      <a:pt x="338325" y="232287"/>
                    </a:lnTo>
                    <a:cubicBezTo>
                      <a:pt x="340012" y="233246"/>
                      <a:pt x="341600" y="233775"/>
                      <a:pt x="342956" y="233775"/>
                    </a:cubicBezTo>
                    <a:cubicBezTo>
                      <a:pt x="347256" y="233775"/>
                      <a:pt x="348777" y="227987"/>
                      <a:pt x="348777" y="223059"/>
                    </a:cubicBezTo>
                    <a:cubicBezTo>
                      <a:pt x="348777" y="211648"/>
                      <a:pt x="341732" y="197955"/>
                      <a:pt x="333364" y="193159"/>
                    </a:cubicBezTo>
                    <a:lnTo>
                      <a:pt x="22855" y="13891"/>
                    </a:lnTo>
                    <a:cubicBezTo>
                      <a:pt x="21168" y="12932"/>
                      <a:pt x="19580" y="12403"/>
                      <a:pt x="18224" y="12403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19" name="Freeform: Shape 618">
                <a:extLst>
                  <a:ext uri="{FF2B5EF4-FFF2-40B4-BE49-F238E27FC236}">
                    <a16:creationId xmlns:a16="http://schemas.microsoft.com/office/drawing/2014/main" id="{12F2C7C4-D498-48CB-8387-69AC576C6E3B}"/>
                  </a:ext>
                </a:extLst>
              </p:cNvPr>
              <p:cNvSpPr/>
              <p:nvPr/>
            </p:nvSpPr>
            <p:spPr>
              <a:xfrm>
                <a:off x="1989437" y="4241756"/>
                <a:ext cx="132301" cy="82688"/>
              </a:xfrm>
              <a:custGeom>
                <a:avLst/>
                <a:gdLst>
                  <a:gd name="connsiteX0" fmla="*/ 126908 w 132300"/>
                  <a:gd name="connsiteY0" fmla="*/ 81397 h 82687"/>
                  <a:gd name="connsiteX1" fmla="*/ 124427 w 132300"/>
                  <a:gd name="connsiteY1" fmla="*/ 80735 h 82687"/>
                  <a:gd name="connsiteX2" fmla="*/ 4960 w 132300"/>
                  <a:gd name="connsiteY2" fmla="*/ 11741 h 82687"/>
                  <a:gd name="connsiteX3" fmla="*/ 3141 w 132300"/>
                  <a:gd name="connsiteY3" fmla="*/ 4960 h 82687"/>
                  <a:gd name="connsiteX4" fmla="*/ 9921 w 132300"/>
                  <a:gd name="connsiteY4" fmla="*/ 3141 h 82687"/>
                  <a:gd name="connsiteX5" fmla="*/ 129389 w 132300"/>
                  <a:gd name="connsiteY5" fmla="*/ 72136 h 82687"/>
                  <a:gd name="connsiteX6" fmla="*/ 131208 w 132300"/>
                  <a:gd name="connsiteY6" fmla="*/ 78916 h 82687"/>
                  <a:gd name="connsiteX7" fmla="*/ 126908 w 132300"/>
                  <a:gd name="connsiteY7" fmla="*/ 81397 h 8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300" h="82687">
                    <a:moveTo>
                      <a:pt x="126908" y="81397"/>
                    </a:moveTo>
                    <a:cubicBezTo>
                      <a:pt x="126081" y="81397"/>
                      <a:pt x="125221" y="81198"/>
                      <a:pt x="124427" y="80735"/>
                    </a:cubicBezTo>
                    <a:lnTo>
                      <a:pt x="4960" y="11741"/>
                    </a:lnTo>
                    <a:cubicBezTo>
                      <a:pt x="2579" y="10384"/>
                      <a:pt x="1785" y="7341"/>
                      <a:pt x="3141" y="4960"/>
                    </a:cubicBezTo>
                    <a:cubicBezTo>
                      <a:pt x="4497" y="2579"/>
                      <a:pt x="7540" y="1785"/>
                      <a:pt x="9921" y="3141"/>
                    </a:cubicBezTo>
                    <a:lnTo>
                      <a:pt x="129389" y="72136"/>
                    </a:lnTo>
                    <a:cubicBezTo>
                      <a:pt x="131770" y="73492"/>
                      <a:pt x="132564" y="76535"/>
                      <a:pt x="131208" y="78916"/>
                    </a:cubicBezTo>
                    <a:cubicBezTo>
                      <a:pt x="130282" y="80503"/>
                      <a:pt x="128628" y="81397"/>
                      <a:pt x="126908" y="81397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20" name="Freeform: Shape 619">
                <a:extLst>
                  <a:ext uri="{FF2B5EF4-FFF2-40B4-BE49-F238E27FC236}">
                    <a16:creationId xmlns:a16="http://schemas.microsoft.com/office/drawing/2014/main" id="{756487E7-AF69-4AC8-B6EB-7A56542503CF}"/>
                  </a:ext>
                </a:extLst>
              </p:cNvPr>
              <p:cNvSpPr/>
              <p:nvPr/>
            </p:nvSpPr>
            <p:spPr>
              <a:xfrm>
                <a:off x="1989437" y="4279660"/>
                <a:ext cx="132301" cy="82688"/>
              </a:xfrm>
              <a:custGeom>
                <a:avLst/>
                <a:gdLst>
                  <a:gd name="connsiteX0" fmla="*/ 126908 w 132300"/>
                  <a:gd name="connsiteY0" fmla="*/ 81364 h 82687"/>
                  <a:gd name="connsiteX1" fmla="*/ 124427 w 132300"/>
                  <a:gd name="connsiteY1" fmla="*/ 80702 h 82687"/>
                  <a:gd name="connsiteX2" fmla="*/ 4960 w 132300"/>
                  <a:gd name="connsiteY2" fmla="*/ 11741 h 82687"/>
                  <a:gd name="connsiteX3" fmla="*/ 3141 w 132300"/>
                  <a:gd name="connsiteY3" fmla="*/ 4960 h 82687"/>
                  <a:gd name="connsiteX4" fmla="*/ 9921 w 132300"/>
                  <a:gd name="connsiteY4" fmla="*/ 3141 h 82687"/>
                  <a:gd name="connsiteX5" fmla="*/ 129389 w 132300"/>
                  <a:gd name="connsiteY5" fmla="*/ 72103 h 82687"/>
                  <a:gd name="connsiteX6" fmla="*/ 131208 w 132300"/>
                  <a:gd name="connsiteY6" fmla="*/ 78883 h 82687"/>
                  <a:gd name="connsiteX7" fmla="*/ 126908 w 132300"/>
                  <a:gd name="connsiteY7" fmla="*/ 81364 h 8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300" h="82687">
                    <a:moveTo>
                      <a:pt x="126908" y="81364"/>
                    </a:moveTo>
                    <a:cubicBezTo>
                      <a:pt x="126081" y="81364"/>
                      <a:pt x="125221" y="81165"/>
                      <a:pt x="124427" y="80702"/>
                    </a:cubicBezTo>
                    <a:lnTo>
                      <a:pt x="4960" y="11741"/>
                    </a:lnTo>
                    <a:cubicBezTo>
                      <a:pt x="2579" y="10384"/>
                      <a:pt x="1785" y="7342"/>
                      <a:pt x="3141" y="4960"/>
                    </a:cubicBezTo>
                    <a:cubicBezTo>
                      <a:pt x="4497" y="2579"/>
                      <a:pt x="7540" y="1785"/>
                      <a:pt x="9921" y="3141"/>
                    </a:cubicBezTo>
                    <a:lnTo>
                      <a:pt x="129389" y="72103"/>
                    </a:lnTo>
                    <a:cubicBezTo>
                      <a:pt x="131770" y="73459"/>
                      <a:pt x="132564" y="76501"/>
                      <a:pt x="131208" y="78883"/>
                    </a:cubicBezTo>
                    <a:cubicBezTo>
                      <a:pt x="130282" y="80471"/>
                      <a:pt x="128628" y="81364"/>
                      <a:pt x="126908" y="81364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21" name="Freeform: Shape 620">
                <a:extLst>
                  <a:ext uri="{FF2B5EF4-FFF2-40B4-BE49-F238E27FC236}">
                    <a16:creationId xmlns:a16="http://schemas.microsoft.com/office/drawing/2014/main" id="{C0DB37F3-7F6A-42C0-B1E6-C09F5B4B5C19}"/>
                  </a:ext>
                </a:extLst>
              </p:cNvPr>
              <p:cNvSpPr/>
              <p:nvPr/>
            </p:nvSpPr>
            <p:spPr>
              <a:xfrm>
                <a:off x="1989437" y="4317531"/>
                <a:ext cx="132301" cy="82688"/>
              </a:xfrm>
              <a:custGeom>
                <a:avLst/>
                <a:gdLst>
                  <a:gd name="connsiteX0" fmla="*/ 126908 w 132300"/>
                  <a:gd name="connsiteY0" fmla="*/ 81364 h 82687"/>
                  <a:gd name="connsiteX1" fmla="*/ 124427 w 132300"/>
                  <a:gd name="connsiteY1" fmla="*/ 80702 h 82687"/>
                  <a:gd name="connsiteX2" fmla="*/ 4960 w 132300"/>
                  <a:gd name="connsiteY2" fmla="*/ 11740 h 82687"/>
                  <a:gd name="connsiteX3" fmla="*/ 3141 w 132300"/>
                  <a:gd name="connsiteY3" fmla="*/ 4960 h 82687"/>
                  <a:gd name="connsiteX4" fmla="*/ 9921 w 132300"/>
                  <a:gd name="connsiteY4" fmla="*/ 3141 h 82687"/>
                  <a:gd name="connsiteX5" fmla="*/ 129389 w 132300"/>
                  <a:gd name="connsiteY5" fmla="*/ 72102 h 82687"/>
                  <a:gd name="connsiteX6" fmla="*/ 131208 w 132300"/>
                  <a:gd name="connsiteY6" fmla="*/ 78883 h 82687"/>
                  <a:gd name="connsiteX7" fmla="*/ 126908 w 132300"/>
                  <a:gd name="connsiteY7" fmla="*/ 81364 h 8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300" h="82687">
                    <a:moveTo>
                      <a:pt x="126908" y="81364"/>
                    </a:moveTo>
                    <a:cubicBezTo>
                      <a:pt x="126081" y="81364"/>
                      <a:pt x="125221" y="81165"/>
                      <a:pt x="124427" y="80702"/>
                    </a:cubicBezTo>
                    <a:lnTo>
                      <a:pt x="4960" y="11740"/>
                    </a:lnTo>
                    <a:cubicBezTo>
                      <a:pt x="2579" y="10384"/>
                      <a:pt x="1785" y="7341"/>
                      <a:pt x="3141" y="4960"/>
                    </a:cubicBezTo>
                    <a:cubicBezTo>
                      <a:pt x="4497" y="2579"/>
                      <a:pt x="7540" y="1785"/>
                      <a:pt x="9921" y="3141"/>
                    </a:cubicBezTo>
                    <a:lnTo>
                      <a:pt x="129389" y="72102"/>
                    </a:lnTo>
                    <a:cubicBezTo>
                      <a:pt x="131770" y="73459"/>
                      <a:pt x="132564" y="76502"/>
                      <a:pt x="131208" y="78883"/>
                    </a:cubicBezTo>
                    <a:cubicBezTo>
                      <a:pt x="130282" y="80470"/>
                      <a:pt x="128628" y="81364"/>
                      <a:pt x="126908" y="81364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  <p:sp>
            <p:nvSpPr>
              <p:cNvPr id="622" name="Freeform: Shape 621">
                <a:extLst>
                  <a:ext uri="{FF2B5EF4-FFF2-40B4-BE49-F238E27FC236}">
                    <a16:creationId xmlns:a16="http://schemas.microsoft.com/office/drawing/2014/main" id="{D62E07EC-AD7C-40DB-B4FE-809E7466C9DF}"/>
                  </a:ext>
                </a:extLst>
              </p:cNvPr>
              <p:cNvSpPr/>
              <p:nvPr/>
            </p:nvSpPr>
            <p:spPr>
              <a:xfrm>
                <a:off x="1989437" y="4355402"/>
                <a:ext cx="132301" cy="82688"/>
              </a:xfrm>
              <a:custGeom>
                <a:avLst/>
                <a:gdLst>
                  <a:gd name="connsiteX0" fmla="*/ 126908 w 132300"/>
                  <a:gd name="connsiteY0" fmla="*/ 81397 h 82687"/>
                  <a:gd name="connsiteX1" fmla="*/ 124427 w 132300"/>
                  <a:gd name="connsiteY1" fmla="*/ 80735 h 82687"/>
                  <a:gd name="connsiteX2" fmla="*/ 4960 w 132300"/>
                  <a:gd name="connsiteY2" fmla="*/ 11741 h 82687"/>
                  <a:gd name="connsiteX3" fmla="*/ 3141 w 132300"/>
                  <a:gd name="connsiteY3" fmla="*/ 4960 h 82687"/>
                  <a:gd name="connsiteX4" fmla="*/ 9921 w 132300"/>
                  <a:gd name="connsiteY4" fmla="*/ 3141 h 82687"/>
                  <a:gd name="connsiteX5" fmla="*/ 129389 w 132300"/>
                  <a:gd name="connsiteY5" fmla="*/ 72136 h 82687"/>
                  <a:gd name="connsiteX6" fmla="*/ 131208 w 132300"/>
                  <a:gd name="connsiteY6" fmla="*/ 78916 h 82687"/>
                  <a:gd name="connsiteX7" fmla="*/ 126908 w 132300"/>
                  <a:gd name="connsiteY7" fmla="*/ 81397 h 8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2300" h="82687">
                    <a:moveTo>
                      <a:pt x="126908" y="81397"/>
                    </a:moveTo>
                    <a:cubicBezTo>
                      <a:pt x="126081" y="81397"/>
                      <a:pt x="125221" y="81198"/>
                      <a:pt x="124427" y="80735"/>
                    </a:cubicBezTo>
                    <a:lnTo>
                      <a:pt x="4960" y="11741"/>
                    </a:lnTo>
                    <a:cubicBezTo>
                      <a:pt x="2579" y="10384"/>
                      <a:pt x="1785" y="7342"/>
                      <a:pt x="3141" y="4960"/>
                    </a:cubicBezTo>
                    <a:cubicBezTo>
                      <a:pt x="4497" y="2579"/>
                      <a:pt x="7540" y="1785"/>
                      <a:pt x="9921" y="3141"/>
                    </a:cubicBezTo>
                    <a:lnTo>
                      <a:pt x="129389" y="72136"/>
                    </a:lnTo>
                    <a:cubicBezTo>
                      <a:pt x="131770" y="73492"/>
                      <a:pt x="132564" y="76535"/>
                      <a:pt x="131208" y="78916"/>
                    </a:cubicBezTo>
                    <a:cubicBezTo>
                      <a:pt x="130282" y="80504"/>
                      <a:pt x="128628" y="81397"/>
                      <a:pt x="126908" y="81397"/>
                    </a:cubicBezTo>
                    <a:close/>
                  </a:path>
                </a:pathLst>
              </a:custGeom>
              <a:solidFill>
                <a:srgbClr val="373A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 dirty="0"/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5962E49-87AC-40C4-B040-4F57DFDCF541}"/>
              </a:ext>
            </a:extLst>
          </p:cNvPr>
          <p:cNvGrpSpPr/>
          <p:nvPr/>
        </p:nvGrpSpPr>
        <p:grpSpPr>
          <a:xfrm>
            <a:off x="811163" y="2566877"/>
            <a:ext cx="2211764" cy="464682"/>
            <a:chOff x="355600" y="2547449"/>
            <a:chExt cx="2211764" cy="464682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99B0A22-D838-4263-8A2F-0357A5EB64BD}"/>
                </a:ext>
              </a:extLst>
            </p:cNvPr>
            <p:cNvSpPr/>
            <p:nvPr/>
          </p:nvSpPr>
          <p:spPr>
            <a:xfrm rot="5400000">
              <a:off x="1229141" y="1673908"/>
              <a:ext cx="464682" cy="221176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3" name="Rectangle: Rounded Corners 962">
              <a:extLst>
                <a:ext uri="{FF2B5EF4-FFF2-40B4-BE49-F238E27FC236}">
                  <a16:creationId xmlns:a16="http://schemas.microsoft.com/office/drawing/2014/main" id="{67892DF5-E556-4DFE-AD31-38DEB8F30BEE}"/>
                </a:ext>
              </a:extLst>
            </p:cNvPr>
            <p:cNvSpPr/>
            <p:nvPr/>
          </p:nvSpPr>
          <p:spPr>
            <a:xfrm rot="5400000">
              <a:off x="1081375" y="1821674"/>
              <a:ext cx="464682" cy="1916232"/>
            </a:xfrm>
            <a:prstGeom prst="roundRect">
              <a:avLst>
                <a:gd name="adj" fmla="val 50000"/>
              </a:avLst>
            </a:prstGeom>
            <a:solidFill>
              <a:srgbClr val="49A9F6"/>
            </a:solidFill>
            <a:ln>
              <a:noFill/>
            </a:ln>
            <a:effectLst>
              <a:innerShdw blurRad="63500" dist="50800" dir="81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86A7BA0-80F4-4365-A611-5024199F72D4}"/>
              </a:ext>
            </a:extLst>
          </p:cNvPr>
          <p:cNvGrpSpPr/>
          <p:nvPr/>
        </p:nvGrpSpPr>
        <p:grpSpPr>
          <a:xfrm>
            <a:off x="811163" y="3355786"/>
            <a:ext cx="2211765" cy="464684"/>
            <a:chOff x="355599" y="3310635"/>
            <a:chExt cx="2211765" cy="464684"/>
          </a:xfrm>
        </p:grpSpPr>
        <p:sp>
          <p:nvSpPr>
            <p:cNvPr id="964" name="Rectangle: Rounded Corners 963">
              <a:extLst>
                <a:ext uri="{FF2B5EF4-FFF2-40B4-BE49-F238E27FC236}">
                  <a16:creationId xmlns:a16="http://schemas.microsoft.com/office/drawing/2014/main" id="{0F616FBC-BB01-4C12-AD6B-CB5CF548CF7F}"/>
                </a:ext>
              </a:extLst>
            </p:cNvPr>
            <p:cNvSpPr/>
            <p:nvPr/>
          </p:nvSpPr>
          <p:spPr>
            <a:xfrm rot="5400000">
              <a:off x="1229141" y="2437094"/>
              <a:ext cx="464682" cy="221176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5" name="Rectangle: Rounded Corners 964">
              <a:extLst>
                <a:ext uri="{FF2B5EF4-FFF2-40B4-BE49-F238E27FC236}">
                  <a16:creationId xmlns:a16="http://schemas.microsoft.com/office/drawing/2014/main" id="{7698B19C-825F-4ABE-89C3-21B2A4055AD0}"/>
                </a:ext>
              </a:extLst>
            </p:cNvPr>
            <p:cNvSpPr/>
            <p:nvPr/>
          </p:nvSpPr>
          <p:spPr>
            <a:xfrm rot="5400000">
              <a:off x="718938" y="2947298"/>
              <a:ext cx="464682" cy="1191360"/>
            </a:xfrm>
            <a:prstGeom prst="roundRect">
              <a:avLst>
                <a:gd name="adj" fmla="val 50000"/>
              </a:avLst>
            </a:prstGeom>
            <a:solidFill>
              <a:srgbClr val="004BD2"/>
            </a:solidFill>
            <a:ln>
              <a:noFill/>
            </a:ln>
            <a:effectLst>
              <a:innerShdw blurRad="63500" dist="50800" dir="81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3ACE9D9-A894-4A0E-BD33-3ADB28194DE8}"/>
              </a:ext>
            </a:extLst>
          </p:cNvPr>
          <p:cNvGrpSpPr/>
          <p:nvPr/>
        </p:nvGrpSpPr>
        <p:grpSpPr>
          <a:xfrm>
            <a:off x="811163" y="4144695"/>
            <a:ext cx="2211765" cy="464682"/>
            <a:chOff x="355599" y="4125267"/>
            <a:chExt cx="2211765" cy="464682"/>
          </a:xfrm>
        </p:grpSpPr>
        <p:sp>
          <p:nvSpPr>
            <p:cNvPr id="966" name="Rectangle: Rounded Corners 965">
              <a:extLst>
                <a:ext uri="{FF2B5EF4-FFF2-40B4-BE49-F238E27FC236}">
                  <a16:creationId xmlns:a16="http://schemas.microsoft.com/office/drawing/2014/main" id="{D8318AC4-474B-46B4-AB5C-3A81FEDA761A}"/>
                </a:ext>
              </a:extLst>
            </p:cNvPr>
            <p:cNvSpPr/>
            <p:nvPr/>
          </p:nvSpPr>
          <p:spPr>
            <a:xfrm rot="5400000">
              <a:off x="1229141" y="3251726"/>
              <a:ext cx="464682" cy="221176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7" name="Rectangle: Rounded Corners 966">
              <a:extLst>
                <a:ext uri="{FF2B5EF4-FFF2-40B4-BE49-F238E27FC236}">
                  <a16:creationId xmlns:a16="http://schemas.microsoft.com/office/drawing/2014/main" id="{A748C94E-2ED7-44FF-B0F3-14F08F8CFEF3}"/>
                </a:ext>
              </a:extLst>
            </p:cNvPr>
            <p:cNvSpPr/>
            <p:nvPr/>
          </p:nvSpPr>
          <p:spPr>
            <a:xfrm rot="5400000">
              <a:off x="431752" y="4049114"/>
              <a:ext cx="464682" cy="616987"/>
            </a:xfrm>
            <a:prstGeom prst="roundRect">
              <a:avLst>
                <a:gd name="adj" fmla="val 50000"/>
              </a:avLst>
            </a:prstGeom>
            <a:solidFill>
              <a:schemeClr val="accent3"/>
            </a:solidFill>
            <a:ln>
              <a:noFill/>
            </a:ln>
            <a:effectLst>
              <a:innerShdw blurRad="63500" dist="50800" dir="81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68" name="Rectangle 967">
            <a:extLst>
              <a:ext uri="{FF2B5EF4-FFF2-40B4-BE49-F238E27FC236}">
                <a16:creationId xmlns:a16="http://schemas.microsoft.com/office/drawing/2014/main" id="{3A52C3D3-EC25-4AC3-9B63-B3A0072DC99F}"/>
              </a:ext>
            </a:extLst>
          </p:cNvPr>
          <p:cNvSpPr/>
          <p:nvPr/>
        </p:nvSpPr>
        <p:spPr>
          <a:xfrm>
            <a:off x="3158700" y="2486477"/>
            <a:ext cx="861633" cy="333903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2400" spc="-244" dirty="0">
                <a:solidFill>
                  <a:srgbClr val="49A9F6"/>
                </a:solidFill>
                <a:latin typeface="Arial" panose="020B0604020202020204" pitchFamily="34" charset="0"/>
              </a:rPr>
              <a:t>$337,000</a:t>
            </a:r>
          </a:p>
        </p:txBody>
      </p:sp>
      <p:sp>
        <p:nvSpPr>
          <p:cNvPr id="969" name="Rectangle: Rounded Corners 968">
            <a:extLst>
              <a:ext uri="{FF2B5EF4-FFF2-40B4-BE49-F238E27FC236}">
                <a16:creationId xmlns:a16="http://schemas.microsoft.com/office/drawing/2014/main" id="{434628F2-976B-4243-BD28-701A2C205244}"/>
              </a:ext>
            </a:extLst>
          </p:cNvPr>
          <p:cNvSpPr/>
          <p:nvPr/>
        </p:nvSpPr>
        <p:spPr>
          <a:xfrm>
            <a:off x="3154044" y="2853956"/>
            <a:ext cx="2374012" cy="26267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44371" bIns="44371" rtlCol="0" anchor="t">
            <a:noAutofit/>
          </a:bodyPr>
          <a:lstStyle/>
          <a:p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улкдорлар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/</a:t>
            </a:r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аҳбарлар</a:t>
            </a:r>
            <a:endParaRPr lang="ru-RU" sz="1200" b="1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970" name="Rectangle 969">
            <a:extLst>
              <a:ext uri="{FF2B5EF4-FFF2-40B4-BE49-F238E27FC236}">
                <a16:creationId xmlns:a16="http://schemas.microsoft.com/office/drawing/2014/main" id="{73890791-92D5-434D-82C8-C87A3C98ABFD}"/>
              </a:ext>
            </a:extLst>
          </p:cNvPr>
          <p:cNvSpPr/>
          <p:nvPr/>
        </p:nvSpPr>
        <p:spPr>
          <a:xfrm>
            <a:off x="3158700" y="3246902"/>
            <a:ext cx="861633" cy="333903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2400" spc="-244" dirty="0">
                <a:solidFill>
                  <a:srgbClr val="49A9F6"/>
                </a:solidFill>
                <a:latin typeface="Arial" panose="020B0604020202020204" pitchFamily="34" charset="0"/>
              </a:rPr>
              <a:t>$125,000</a:t>
            </a:r>
          </a:p>
        </p:txBody>
      </p:sp>
      <p:sp>
        <p:nvSpPr>
          <p:cNvPr id="971" name="Rectangle: Rounded Corners 970">
            <a:extLst>
              <a:ext uri="{FF2B5EF4-FFF2-40B4-BE49-F238E27FC236}">
                <a16:creationId xmlns:a16="http://schemas.microsoft.com/office/drawing/2014/main" id="{64054189-8C22-47A2-BC92-157A84BAE0E8}"/>
              </a:ext>
            </a:extLst>
          </p:cNvPr>
          <p:cNvSpPr/>
          <p:nvPr/>
        </p:nvSpPr>
        <p:spPr>
          <a:xfrm>
            <a:off x="3154044" y="3614381"/>
            <a:ext cx="2374012" cy="26267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44371" bIns="44371" rtlCol="0" anchor="t">
            <a:noAutofit/>
          </a:bodyPr>
          <a:lstStyle/>
          <a:p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енежерлар</a:t>
            </a:r>
            <a:endParaRPr lang="ru-RU" sz="1200" b="1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972" name="Rectangle 971">
            <a:extLst>
              <a:ext uri="{FF2B5EF4-FFF2-40B4-BE49-F238E27FC236}">
                <a16:creationId xmlns:a16="http://schemas.microsoft.com/office/drawing/2014/main" id="{470B31EE-0B52-4FC2-988E-B26879991417}"/>
              </a:ext>
            </a:extLst>
          </p:cNvPr>
          <p:cNvSpPr/>
          <p:nvPr/>
        </p:nvSpPr>
        <p:spPr>
          <a:xfrm>
            <a:off x="3158700" y="4077550"/>
            <a:ext cx="861633" cy="333903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2400" spc="-244" dirty="0">
                <a:solidFill>
                  <a:srgbClr val="49A9F6"/>
                </a:solidFill>
                <a:latin typeface="Arial" panose="020B0604020202020204" pitchFamily="34" charset="0"/>
              </a:rPr>
              <a:t>$50,000</a:t>
            </a:r>
          </a:p>
        </p:txBody>
      </p:sp>
      <p:sp>
        <p:nvSpPr>
          <p:cNvPr id="973" name="Rectangle: Rounded Corners 972">
            <a:extLst>
              <a:ext uri="{FF2B5EF4-FFF2-40B4-BE49-F238E27FC236}">
                <a16:creationId xmlns:a16="http://schemas.microsoft.com/office/drawing/2014/main" id="{3B46B7BE-11E8-4EDC-B3DC-18592952CDC3}"/>
              </a:ext>
            </a:extLst>
          </p:cNvPr>
          <p:cNvSpPr/>
          <p:nvPr/>
        </p:nvSpPr>
        <p:spPr>
          <a:xfrm>
            <a:off x="3154044" y="4445029"/>
            <a:ext cx="2374012" cy="262671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4371" rIns="44371" bIns="44371" rtlCol="0" anchor="t">
            <a:noAutofit/>
          </a:bodyPr>
          <a:lstStyle/>
          <a:p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ддий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одимлар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267059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267647F4-F491-49FF-8CBB-6DBF244A021E}"/>
              </a:ext>
            </a:extLst>
          </p:cNvPr>
          <p:cNvSpPr txBox="1">
            <a:spLocks/>
          </p:cNvSpPr>
          <p:nvPr/>
        </p:nvSpPr>
        <p:spPr>
          <a:xfrm>
            <a:off x="1631950" y="129973"/>
            <a:ext cx="8591450" cy="35031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2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2BA43EC-83B3-4F8A-8AF2-C51C7F1DD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Фирибгарлик</a:t>
            </a:r>
            <a:r>
              <a:rPr lang="ru-RU" dirty="0"/>
              <a:t> </a:t>
            </a:r>
            <a:r>
              <a:rPr lang="ru-RU" dirty="0" err="1"/>
              <a:t>бўйича</a:t>
            </a:r>
            <a:r>
              <a:rPr lang="ru-RU" dirty="0"/>
              <a:t> </a:t>
            </a:r>
            <a:r>
              <a:rPr lang="ru-RU" dirty="0" err="1"/>
              <a:t>сертификатланган</a:t>
            </a:r>
            <a:r>
              <a:rPr lang="ru-RU" dirty="0"/>
              <a:t> </a:t>
            </a:r>
            <a:r>
              <a:rPr lang="ru-RU" dirty="0" err="1"/>
              <a:t>экспертлар</a:t>
            </a:r>
            <a:r>
              <a:rPr lang="ru-RU" dirty="0"/>
              <a:t> </a:t>
            </a:r>
            <a:r>
              <a:rPr lang="ru-RU" dirty="0" err="1"/>
              <a:t>Ассоциациясининг</a:t>
            </a:r>
            <a:r>
              <a:rPr lang="ru-RU" dirty="0"/>
              <a:t> </a:t>
            </a:r>
            <a:r>
              <a:rPr lang="ru-RU" dirty="0" err="1"/>
              <a:t>ҳисоботи</a:t>
            </a:r>
            <a:r>
              <a:rPr lang="ru-RU" dirty="0"/>
              <a:t> (ACFE)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E34950-0774-41C1-977E-9951D78162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78BDECD-9314-4BBF-9650-AB38158D4EBD}"/>
              </a:ext>
            </a:extLst>
          </p:cNvPr>
          <p:cNvSpPr txBox="1">
            <a:spLocks/>
          </p:cNvSpPr>
          <p:nvPr/>
        </p:nvSpPr>
        <p:spPr>
          <a:xfrm>
            <a:off x="3732296" y="1891230"/>
            <a:ext cx="7913077" cy="2678182"/>
          </a:xfrm>
          <a:prstGeom prst="rect">
            <a:avLst/>
          </a:prstGeom>
        </p:spPr>
        <p:txBody>
          <a:bodyPr l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400" dirty="0"/>
              <a:t>Профессионал </a:t>
            </a:r>
            <a:r>
              <a:rPr lang="ru-RU" sz="1400" dirty="0" err="1"/>
              <a:t>фирибгарликнинг</a:t>
            </a:r>
            <a:r>
              <a:rPr lang="ru-RU" sz="1400" dirty="0"/>
              <a:t> </a:t>
            </a:r>
            <a:r>
              <a:rPr lang="ru-RU" sz="1400" dirty="0" err="1"/>
              <a:t>асосий</a:t>
            </a:r>
            <a:r>
              <a:rPr lang="ru-RU" sz="1400" dirty="0"/>
              <a:t> </a:t>
            </a:r>
            <a:r>
              <a:rPr lang="ru-RU" sz="1400" dirty="0" err="1"/>
              <a:t>турларидан</a:t>
            </a:r>
            <a:r>
              <a:rPr lang="ru-RU" sz="1400" dirty="0"/>
              <a:t> </a:t>
            </a:r>
            <a:r>
              <a:rPr lang="ru-RU" sz="1400" dirty="0" err="1"/>
              <a:t>бири</a:t>
            </a:r>
            <a:r>
              <a:rPr lang="ru-RU" sz="1400" dirty="0"/>
              <a:t> </a:t>
            </a:r>
            <a:r>
              <a:rPr lang="ru-RU" sz="1600" b="1" dirty="0" err="1">
                <a:solidFill>
                  <a:srgbClr val="004BD2"/>
                </a:solidFill>
              </a:rPr>
              <a:t>коррупциядир</a:t>
            </a:r>
            <a:r>
              <a:rPr lang="ru-RU" sz="1400" dirty="0"/>
              <a:t>. Ушбу </a:t>
            </a:r>
            <a:r>
              <a:rPr lang="ru-RU" sz="1400" dirty="0" err="1"/>
              <a:t>тадқиқот</a:t>
            </a:r>
            <a:r>
              <a:rPr lang="ru-RU" sz="1400" dirty="0"/>
              <a:t> </a:t>
            </a:r>
            <a:r>
              <a:rPr lang="ru-RU" sz="1400" dirty="0" err="1"/>
              <a:t>доирасида</a:t>
            </a:r>
            <a:r>
              <a:rPr lang="ru-RU" sz="1400" dirty="0"/>
              <a:t> </a:t>
            </a:r>
            <a:r>
              <a:rPr lang="ru-RU" sz="1400" dirty="0" err="1"/>
              <a:t>кўриб</a:t>
            </a:r>
            <a:r>
              <a:rPr lang="ru-RU" sz="1400" dirty="0"/>
              <a:t> </a:t>
            </a:r>
            <a:r>
              <a:rPr lang="ru-RU" sz="1400" dirty="0" err="1"/>
              <a:t>чиқилган</a:t>
            </a:r>
            <a:r>
              <a:rPr lang="ru-RU" sz="1400" dirty="0"/>
              <a:t> </a:t>
            </a:r>
            <a:r>
              <a:rPr lang="ru-RU" sz="1400" dirty="0" err="1"/>
              <a:t>барча</a:t>
            </a:r>
            <a:r>
              <a:rPr lang="ru-RU" sz="1400" dirty="0"/>
              <a:t> </a:t>
            </a:r>
            <a:r>
              <a:rPr lang="ru-RU" sz="1400" dirty="0" err="1"/>
              <a:t>кейслар</a:t>
            </a:r>
            <a:r>
              <a:rPr lang="ru-RU" sz="1400" dirty="0"/>
              <a:t> (</a:t>
            </a:r>
            <a:r>
              <a:rPr lang="ru-RU" sz="1400" dirty="0" err="1"/>
              <a:t>ҳолатлар</a:t>
            </a:r>
            <a:r>
              <a:rPr lang="ru-RU" sz="1400" dirty="0"/>
              <a:t>)</a:t>
            </a:r>
            <a:r>
              <a:rPr lang="ru-RU" sz="1400" dirty="0" err="1"/>
              <a:t>нинг</a:t>
            </a:r>
            <a:r>
              <a:rPr lang="ru-RU" sz="1400" dirty="0"/>
              <a:t> </a:t>
            </a:r>
            <a:r>
              <a:rPr lang="ru-RU" sz="1600" b="1" dirty="0">
                <a:solidFill>
                  <a:srgbClr val="004BD2"/>
                </a:solidFill>
              </a:rPr>
              <a:t>50 </a:t>
            </a:r>
            <a:r>
              <a:rPr lang="ru-RU" sz="1600" b="1" dirty="0" err="1">
                <a:solidFill>
                  <a:srgbClr val="004BD2"/>
                </a:solidFill>
              </a:rPr>
              <a:t>фоизида</a:t>
            </a:r>
            <a:r>
              <a:rPr lang="ru-RU" sz="1600" b="1" dirty="0">
                <a:solidFill>
                  <a:srgbClr val="004BD2"/>
                </a:solidFill>
              </a:rPr>
              <a:t> </a:t>
            </a:r>
            <a:r>
              <a:rPr lang="ru-RU" sz="1600" dirty="0">
                <a:solidFill>
                  <a:srgbClr val="7740FF"/>
                </a:solidFill>
              </a:rPr>
              <a:t> </a:t>
            </a:r>
            <a:r>
              <a:rPr lang="ru-RU" sz="1400" dirty="0" err="1"/>
              <a:t>коррупцияга</a:t>
            </a:r>
            <a:r>
              <a:rPr lang="ru-RU" sz="1400" dirty="0"/>
              <a:t> </a:t>
            </a:r>
            <a:r>
              <a:rPr lang="ru-RU" sz="1400" dirty="0" err="1"/>
              <a:t>оид</a:t>
            </a:r>
            <a:r>
              <a:rPr lang="ru-RU" sz="1400" dirty="0"/>
              <a:t> </a:t>
            </a:r>
            <a:r>
              <a:rPr lang="ru-RU" sz="1400" dirty="0" err="1"/>
              <a:t>бузилишлар</a:t>
            </a:r>
            <a:r>
              <a:rPr lang="ru-RU" sz="1400" dirty="0"/>
              <a:t> </a:t>
            </a:r>
            <a:r>
              <a:rPr lang="ru-RU" sz="1400" dirty="0" err="1"/>
              <a:t>мавжуд</a:t>
            </a:r>
            <a:r>
              <a:rPr lang="ru-RU" sz="1400" dirty="0"/>
              <a:t> </a:t>
            </a:r>
            <a:r>
              <a:rPr lang="ru-RU" sz="1400" dirty="0" err="1"/>
              <a:t>бўлиб</a:t>
            </a:r>
            <a:r>
              <a:rPr lang="ru-RU" sz="1400" dirty="0"/>
              <a:t>, </a:t>
            </a:r>
            <a:r>
              <a:rPr lang="ru-RU" sz="1400" dirty="0" err="1"/>
              <a:t>ўртача</a:t>
            </a:r>
            <a:r>
              <a:rPr lang="ru-RU" sz="1400" dirty="0"/>
              <a:t> (медиана) </a:t>
            </a:r>
            <a:r>
              <a:rPr lang="ru-RU" sz="1400" dirty="0" err="1"/>
              <a:t>йўқотиш</a:t>
            </a:r>
            <a:r>
              <a:rPr lang="ru-RU" sz="1400" dirty="0"/>
              <a:t>  </a:t>
            </a:r>
            <a:r>
              <a:rPr lang="en-US" sz="1600" b="1" dirty="0">
                <a:solidFill>
                  <a:srgbClr val="004BD2"/>
                </a:solidFill>
              </a:rPr>
              <a:t>$</a:t>
            </a:r>
            <a:r>
              <a:rPr lang="ru-RU" sz="1600" b="1" dirty="0">
                <a:solidFill>
                  <a:srgbClr val="004BD2"/>
                </a:solidFill>
              </a:rPr>
              <a:t>150,000 АҚШ </a:t>
            </a:r>
            <a:r>
              <a:rPr lang="ru-RU" sz="1600" b="1" dirty="0" err="1">
                <a:solidFill>
                  <a:srgbClr val="004BD2"/>
                </a:solidFill>
              </a:rPr>
              <a:t>долларини</a:t>
            </a:r>
            <a:r>
              <a:rPr lang="ru-RU" sz="1600" b="1" dirty="0">
                <a:solidFill>
                  <a:srgbClr val="004BD2"/>
                </a:solidFill>
              </a:rPr>
              <a:t> </a:t>
            </a:r>
            <a:r>
              <a:rPr lang="ru-RU" sz="1600" b="1" dirty="0" err="1">
                <a:solidFill>
                  <a:srgbClr val="004BD2"/>
                </a:solidFill>
              </a:rPr>
              <a:t>ташкил</a:t>
            </a:r>
            <a:r>
              <a:rPr lang="ru-RU" sz="1600" b="1" dirty="0">
                <a:solidFill>
                  <a:srgbClr val="004BD2"/>
                </a:solidFill>
              </a:rPr>
              <a:t> </a:t>
            </a:r>
            <a:r>
              <a:rPr lang="ru-RU" sz="1600" b="1" dirty="0" err="1">
                <a:solidFill>
                  <a:srgbClr val="004BD2"/>
                </a:solidFill>
              </a:rPr>
              <a:t>этади</a:t>
            </a:r>
            <a:r>
              <a:rPr lang="ru-RU" sz="1600" b="1" dirty="0">
                <a:solidFill>
                  <a:srgbClr val="004BD2"/>
                </a:solidFill>
              </a:rPr>
              <a:t>.</a:t>
            </a:r>
            <a:endParaRPr lang="ru-RU" sz="1400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E0B3969-9CAB-4A8C-BD58-F02122976B17}"/>
              </a:ext>
            </a:extLst>
          </p:cNvPr>
          <p:cNvSpPr txBox="1">
            <a:spLocks/>
          </p:cNvSpPr>
          <p:nvPr/>
        </p:nvSpPr>
        <p:spPr>
          <a:xfrm>
            <a:off x="4525702" y="1486960"/>
            <a:ext cx="5112000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fontAlgn="base">
              <a:defRPr sz="1600" b="1">
                <a:solidFill>
                  <a:srgbClr val="49A9F6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>
                <a:solidFill>
                  <a:schemeClr val="tx2"/>
                </a:solidFill>
              </a:defRPr>
            </a:lvl2pPr>
            <a:lvl3pPr marL="21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>
                <a:solidFill>
                  <a:schemeClr val="tx2"/>
                </a:solidFill>
              </a:defRPr>
            </a:lvl3pPr>
            <a:lvl4pPr marL="360000" indent="-144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4pPr>
            <a:lvl5pPr marL="576000" indent="-216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baseline="0">
                <a:solidFill>
                  <a:schemeClr val="tx2"/>
                </a:solidFill>
              </a:defRPr>
            </a:lvl5pPr>
            <a:lvl6pPr marL="1098000" indent="-230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6pPr>
            <a:lvl7pPr marL="1371600" indent="-2844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>
                <a:solidFill>
                  <a:schemeClr val="tx2"/>
                </a:solidFill>
              </a:defRPr>
            </a:lvl7pPr>
            <a:lvl8pPr marL="16452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>
                <a:solidFill>
                  <a:schemeClr val="tx2"/>
                </a:solidFill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/>
              <a:t>Коррупция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BE783CB-5C88-441A-A47A-9EA135B2D927}"/>
              </a:ext>
            </a:extLst>
          </p:cNvPr>
          <p:cNvCxnSpPr>
            <a:cxnSpLocks/>
          </p:cNvCxnSpPr>
          <p:nvPr/>
        </p:nvCxnSpPr>
        <p:spPr>
          <a:xfrm>
            <a:off x="3761442" y="1844725"/>
            <a:ext cx="7883892" cy="0"/>
          </a:xfrm>
          <a:prstGeom prst="line">
            <a:avLst/>
          </a:prstGeom>
          <a:ln w="38100">
            <a:solidFill>
              <a:srgbClr val="49A9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6853E37-7C97-4281-8C06-266F42928BF2}"/>
              </a:ext>
            </a:extLst>
          </p:cNvPr>
          <p:cNvGrpSpPr/>
          <p:nvPr/>
        </p:nvGrpSpPr>
        <p:grpSpPr>
          <a:xfrm>
            <a:off x="3911486" y="1355394"/>
            <a:ext cx="546979" cy="465427"/>
            <a:chOff x="429763" y="3487298"/>
            <a:chExt cx="686523" cy="584166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1250B30-E60A-45CC-AD78-40F415FC524A}"/>
                </a:ext>
              </a:extLst>
            </p:cNvPr>
            <p:cNvSpPr/>
            <p:nvPr/>
          </p:nvSpPr>
          <p:spPr>
            <a:xfrm>
              <a:off x="481078" y="3890422"/>
              <a:ext cx="167299" cy="131449"/>
            </a:xfrm>
            <a:custGeom>
              <a:avLst/>
              <a:gdLst>
                <a:gd name="connsiteX0" fmla="*/ 164228 w 167298"/>
                <a:gd name="connsiteY0" fmla="*/ 119226 h 131449"/>
                <a:gd name="connsiteX1" fmla="*/ 69226 w 167298"/>
                <a:gd name="connsiteY1" fmla="*/ 92100 h 131449"/>
                <a:gd name="connsiteX2" fmla="*/ 9715 w 167298"/>
                <a:gd name="connsiteY2" fmla="*/ 9526 h 13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7298" h="131449">
                  <a:moveTo>
                    <a:pt x="164228" y="119226"/>
                  </a:moveTo>
                  <a:cubicBezTo>
                    <a:pt x="164228" y="119226"/>
                    <a:pt x="135548" y="139063"/>
                    <a:pt x="69226" y="92100"/>
                  </a:cubicBezTo>
                  <a:cubicBezTo>
                    <a:pt x="3023" y="45017"/>
                    <a:pt x="9715" y="9526"/>
                    <a:pt x="9715" y="9526"/>
                  </a:cubicBezTo>
                </a:path>
              </a:pathLst>
            </a:custGeom>
            <a:noFill/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000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42CAC330-C670-452A-9E72-6FABE65D9CCA}"/>
                </a:ext>
              </a:extLst>
            </p:cNvPr>
            <p:cNvSpPr/>
            <p:nvPr/>
          </p:nvSpPr>
          <p:spPr>
            <a:xfrm>
              <a:off x="429763" y="3890302"/>
              <a:ext cx="59750" cy="59750"/>
            </a:xfrm>
            <a:custGeom>
              <a:avLst/>
              <a:gdLst>
                <a:gd name="connsiteX0" fmla="*/ 61030 w 59749"/>
                <a:gd name="connsiteY0" fmla="*/ 9526 h 59749"/>
                <a:gd name="connsiteX1" fmla="*/ 9526 w 59749"/>
                <a:gd name="connsiteY1" fmla="*/ 54696 h 59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9749" h="59749">
                  <a:moveTo>
                    <a:pt x="61030" y="9526"/>
                  </a:moveTo>
                  <a:lnTo>
                    <a:pt x="9526" y="54696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000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88D5753-C2E6-4D56-9944-5688CE58A030}"/>
                </a:ext>
              </a:extLst>
            </p:cNvPr>
            <p:cNvSpPr/>
            <p:nvPr/>
          </p:nvSpPr>
          <p:spPr>
            <a:xfrm>
              <a:off x="610445" y="3999764"/>
              <a:ext cx="35850" cy="71700"/>
            </a:xfrm>
            <a:custGeom>
              <a:avLst/>
              <a:gdLst>
                <a:gd name="connsiteX0" fmla="*/ 35099 w 35849"/>
                <a:gd name="connsiteY0" fmla="*/ 9526 h 71699"/>
                <a:gd name="connsiteX1" fmla="*/ 9526 w 35849"/>
                <a:gd name="connsiteY1" fmla="*/ 72980 h 71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49" h="71699">
                  <a:moveTo>
                    <a:pt x="35099" y="9526"/>
                  </a:moveTo>
                  <a:lnTo>
                    <a:pt x="9526" y="72980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000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4AE1469-98E1-488D-BC76-16836FA6DAA2}"/>
                </a:ext>
              </a:extLst>
            </p:cNvPr>
            <p:cNvSpPr/>
            <p:nvPr/>
          </p:nvSpPr>
          <p:spPr>
            <a:xfrm>
              <a:off x="481386" y="3487298"/>
              <a:ext cx="477997" cy="525797"/>
            </a:xfrm>
            <a:custGeom>
              <a:avLst/>
              <a:gdLst>
                <a:gd name="connsiteX0" fmla="*/ 163919 w 477996"/>
                <a:gd name="connsiteY0" fmla="*/ 522350 h 525796"/>
                <a:gd name="connsiteX1" fmla="*/ 243625 w 477996"/>
                <a:gd name="connsiteY1" fmla="*/ 454833 h 525796"/>
                <a:gd name="connsiteX2" fmla="*/ 393118 w 477996"/>
                <a:gd name="connsiteY2" fmla="*/ 382775 h 525796"/>
                <a:gd name="connsiteX3" fmla="*/ 474617 w 477996"/>
                <a:gd name="connsiteY3" fmla="*/ 228741 h 525796"/>
                <a:gd name="connsiteX4" fmla="*/ 441994 w 477996"/>
                <a:gd name="connsiteY4" fmla="*/ 190621 h 525796"/>
                <a:gd name="connsiteX5" fmla="*/ 366231 w 477996"/>
                <a:gd name="connsiteY5" fmla="*/ 272955 h 525796"/>
                <a:gd name="connsiteX6" fmla="*/ 314607 w 477996"/>
                <a:gd name="connsiteY6" fmla="*/ 298887 h 525796"/>
                <a:gd name="connsiteX7" fmla="*/ 287481 w 477996"/>
                <a:gd name="connsiteY7" fmla="*/ 213445 h 525796"/>
                <a:gd name="connsiteX8" fmla="*/ 436258 w 477996"/>
                <a:gd name="connsiteY8" fmla="*/ 45907 h 525796"/>
                <a:gd name="connsiteX9" fmla="*/ 438170 w 477996"/>
                <a:gd name="connsiteY9" fmla="*/ 45668 h 525796"/>
                <a:gd name="connsiteX10" fmla="*/ 348426 w 477996"/>
                <a:gd name="connsiteY10" fmla="*/ 11491 h 525796"/>
                <a:gd name="connsiteX11" fmla="*/ 242071 w 477996"/>
                <a:gd name="connsiteY11" fmla="*/ 86178 h 525796"/>
                <a:gd name="connsiteX12" fmla="*/ 179573 w 477996"/>
                <a:gd name="connsiteY12" fmla="*/ 93468 h 525796"/>
                <a:gd name="connsiteX13" fmla="*/ 151491 w 477996"/>
                <a:gd name="connsiteY13" fmla="*/ 93707 h 525796"/>
                <a:gd name="connsiteX14" fmla="*/ 106081 w 477996"/>
                <a:gd name="connsiteY14" fmla="*/ 112826 h 525796"/>
                <a:gd name="connsiteX15" fmla="*/ 57087 w 477996"/>
                <a:gd name="connsiteY15" fmla="*/ 174249 h 525796"/>
                <a:gd name="connsiteX16" fmla="*/ 40357 w 477996"/>
                <a:gd name="connsiteY16" fmla="*/ 260527 h 525796"/>
                <a:gd name="connsiteX17" fmla="*/ 15381 w 477996"/>
                <a:gd name="connsiteY17" fmla="*/ 402373 h 525796"/>
                <a:gd name="connsiteX18" fmla="*/ 9526 w 477996"/>
                <a:gd name="connsiteY18" fmla="*/ 412411 h 525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77996" h="525796">
                  <a:moveTo>
                    <a:pt x="163919" y="522350"/>
                  </a:moveTo>
                  <a:cubicBezTo>
                    <a:pt x="183278" y="485545"/>
                    <a:pt x="226417" y="459016"/>
                    <a:pt x="243625" y="454833"/>
                  </a:cubicBezTo>
                  <a:cubicBezTo>
                    <a:pt x="296802" y="441927"/>
                    <a:pt x="349979" y="416593"/>
                    <a:pt x="393118" y="382775"/>
                  </a:cubicBezTo>
                  <a:cubicBezTo>
                    <a:pt x="445220" y="341787"/>
                    <a:pt x="450597" y="285503"/>
                    <a:pt x="474617" y="228741"/>
                  </a:cubicBezTo>
                  <a:cubicBezTo>
                    <a:pt x="484177" y="206155"/>
                    <a:pt x="472227" y="191696"/>
                    <a:pt x="441994" y="190621"/>
                  </a:cubicBezTo>
                  <a:cubicBezTo>
                    <a:pt x="401961" y="189306"/>
                    <a:pt x="381288" y="243678"/>
                    <a:pt x="366231" y="272955"/>
                  </a:cubicBezTo>
                  <a:cubicBezTo>
                    <a:pt x="356074" y="292673"/>
                    <a:pt x="338388" y="316931"/>
                    <a:pt x="314607" y="298887"/>
                  </a:cubicBezTo>
                  <a:cubicBezTo>
                    <a:pt x="289871" y="280006"/>
                    <a:pt x="287481" y="241527"/>
                    <a:pt x="287481" y="213445"/>
                  </a:cubicBezTo>
                  <a:cubicBezTo>
                    <a:pt x="287481" y="128122"/>
                    <a:pt x="352130" y="57618"/>
                    <a:pt x="436258" y="45907"/>
                  </a:cubicBezTo>
                  <a:lnTo>
                    <a:pt x="438170" y="45668"/>
                  </a:lnTo>
                  <a:cubicBezTo>
                    <a:pt x="425025" y="30970"/>
                    <a:pt x="380690" y="1692"/>
                    <a:pt x="348426" y="11491"/>
                  </a:cubicBezTo>
                  <a:cubicBezTo>
                    <a:pt x="306123" y="24278"/>
                    <a:pt x="273261" y="57857"/>
                    <a:pt x="242071" y="86178"/>
                  </a:cubicBezTo>
                  <a:cubicBezTo>
                    <a:pt x="179573" y="79845"/>
                    <a:pt x="179573" y="93468"/>
                    <a:pt x="179573" y="93468"/>
                  </a:cubicBezTo>
                  <a:cubicBezTo>
                    <a:pt x="176227" y="94065"/>
                    <a:pt x="164038" y="92751"/>
                    <a:pt x="151491" y="93707"/>
                  </a:cubicBezTo>
                  <a:cubicBezTo>
                    <a:pt x="121855" y="96097"/>
                    <a:pt x="120063" y="110915"/>
                    <a:pt x="106081" y="112826"/>
                  </a:cubicBezTo>
                  <a:cubicBezTo>
                    <a:pt x="80747" y="116411"/>
                    <a:pt x="64615" y="153217"/>
                    <a:pt x="57087" y="174249"/>
                  </a:cubicBezTo>
                  <a:cubicBezTo>
                    <a:pt x="47288" y="201853"/>
                    <a:pt x="42388" y="231370"/>
                    <a:pt x="40357" y="260527"/>
                  </a:cubicBezTo>
                  <a:cubicBezTo>
                    <a:pt x="36891" y="311195"/>
                    <a:pt x="34382" y="356127"/>
                    <a:pt x="15381" y="402373"/>
                  </a:cubicBezTo>
                  <a:cubicBezTo>
                    <a:pt x="13708" y="406556"/>
                    <a:pt x="12155" y="409543"/>
                    <a:pt x="9526" y="412411"/>
                  </a:cubicBezTo>
                </a:path>
              </a:pathLst>
            </a:custGeom>
            <a:noFill/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000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EEBCCAC-BB92-48F1-B9E8-B2E58F19D8B0}"/>
                </a:ext>
              </a:extLst>
            </p:cNvPr>
            <p:cNvSpPr/>
            <p:nvPr/>
          </p:nvSpPr>
          <p:spPr>
            <a:xfrm>
              <a:off x="899873" y="3524515"/>
              <a:ext cx="215099" cy="370448"/>
            </a:xfrm>
            <a:custGeom>
              <a:avLst/>
              <a:gdLst>
                <a:gd name="connsiteX0" fmla="*/ 50395 w 215098"/>
                <a:gd name="connsiteY0" fmla="*/ 9526 h 370447"/>
                <a:gd name="connsiteX1" fmla="*/ 213153 w 215098"/>
                <a:gd name="connsiteY1" fmla="*/ 203354 h 370447"/>
                <a:gd name="connsiteX2" fmla="*/ 15381 w 215098"/>
                <a:gd name="connsiteY2" fmla="*/ 361212 h 370447"/>
                <a:gd name="connsiteX3" fmla="*/ 9526 w 215098"/>
                <a:gd name="connsiteY3" fmla="*/ 360734 h 370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098" h="370447">
                  <a:moveTo>
                    <a:pt x="50395" y="9526"/>
                  </a:moveTo>
                  <a:cubicBezTo>
                    <a:pt x="149937" y="19444"/>
                    <a:pt x="222832" y="106201"/>
                    <a:pt x="213153" y="203354"/>
                  </a:cubicBezTo>
                  <a:cubicBezTo>
                    <a:pt x="203473" y="300507"/>
                    <a:pt x="114924" y="371131"/>
                    <a:pt x="15381" y="361212"/>
                  </a:cubicBezTo>
                  <a:lnTo>
                    <a:pt x="9526" y="360734"/>
                  </a:lnTo>
                </a:path>
              </a:pathLst>
            </a:custGeom>
            <a:noFill/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000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C6AEE32-0AF4-4F4B-8A82-067F2D6D0925}"/>
                </a:ext>
              </a:extLst>
            </p:cNvPr>
            <p:cNvSpPr/>
            <p:nvPr/>
          </p:nvSpPr>
          <p:spPr>
            <a:xfrm>
              <a:off x="1104336" y="3487351"/>
              <a:ext cx="11950" cy="418247"/>
            </a:xfrm>
            <a:custGeom>
              <a:avLst/>
              <a:gdLst>
                <a:gd name="connsiteX0" fmla="*/ 9526 w 11949"/>
                <a:gd name="connsiteY0" fmla="*/ 413075 h 418247"/>
                <a:gd name="connsiteX1" fmla="*/ 9526 w 11949"/>
                <a:gd name="connsiteY1" fmla="*/ 9526 h 418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9" h="418247">
                  <a:moveTo>
                    <a:pt x="9526" y="413075"/>
                  </a:moveTo>
                  <a:lnTo>
                    <a:pt x="9526" y="9526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000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129C5D4-97D1-48AC-9183-6FA608DA8F28}"/>
                </a:ext>
              </a:extLst>
            </p:cNvPr>
            <p:cNvSpPr/>
            <p:nvPr/>
          </p:nvSpPr>
          <p:spPr>
            <a:xfrm>
              <a:off x="1051159" y="3487351"/>
              <a:ext cx="11950" cy="95599"/>
            </a:xfrm>
            <a:custGeom>
              <a:avLst/>
              <a:gdLst>
                <a:gd name="connsiteX0" fmla="*/ 9526 w 11949"/>
                <a:gd name="connsiteY0" fmla="*/ 92578 h 95599"/>
                <a:gd name="connsiteX1" fmla="*/ 9526 w 11949"/>
                <a:gd name="connsiteY1" fmla="*/ 9526 h 9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9" h="95599">
                  <a:moveTo>
                    <a:pt x="9526" y="92578"/>
                  </a:moveTo>
                  <a:lnTo>
                    <a:pt x="9526" y="9526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000" dirty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92BC269-B7EA-4413-99DA-F394DBB467D1}"/>
                </a:ext>
              </a:extLst>
            </p:cNvPr>
            <p:cNvSpPr/>
            <p:nvPr/>
          </p:nvSpPr>
          <p:spPr>
            <a:xfrm>
              <a:off x="1051159" y="3826012"/>
              <a:ext cx="11950" cy="83649"/>
            </a:xfrm>
            <a:custGeom>
              <a:avLst/>
              <a:gdLst>
                <a:gd name="connsiteX0" fmla="*/ 9526 w 11949"/>
                <a:gd name="connsiteY0" fmla="*/ 74414 h 83649"/>
                <a:gd name="connsiteX1" fmla="*/ 9526 w 11949"/>
                <a:gd name="connsiteY1" fmla="*/ 9526 h 83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949" h="83649">
                  <a:moveTo>
                    <a:pt x="9526" y="74414"/>
                  </a:moveTo>
                  <a:lnTo>
                    <a:pt x="9526" y="9526"/>
                  </a:lnTo>
                </a:path>
              </a:pathLst>
            </a:custGeom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000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F3FF821D-19CD-4550-9671-1144CBC9926A}"/>
                </a:ext>
              </a:extLst>
            </p:cNvPr>
            <p:cNvSpPr/>
            <p:nvPr/>
          </p:nvSpPr>
          <p:spPr>
            <a:xfrm>
              <a:off x="798298" y="3565264"/>
              <a:ext cx="274848" cy="274848"/>
            </a:xfrm>
            <a:custGeom>
              <a:avLst/>
              <a:gdLst>
                <a:gd name="connsiteX0" fmla="*/ 16218 w 274848"/>
                <a:gd name="connsiteY0" fmla="*/ 184831 h 274848"/>
                <a:gd name="connsiteX1" fmla="*/ 9526 w 274848"/>
                <a:gd name="connsiteY1" fmla="*/ 143126 h 274848"/>
                <a:gd name="connsiteX2" fmla="*/ 143126 w 274848"/>
                <a:gd name="connsiteY2" fmla="*/ 9526 h 274848"/>
                <a:gd name="connsiteX3" fmla="*/ 276726 w 274848"/>
                <a:gd name="connsiteY3" fmla="*/ 143126 h 274848"/>
                <a:gd name="connsiteX4" fmla="*/ 143126 w 274848"/>
                <a:gd name="connsiteY4" fmla="*/ 276726 h 274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848" h="274848">
                  <a:moveTo>
                    <a:pt x="16218" y="184831"/>
                  </a:moveTo>
                  <a:cubicBezTo>
                    <a:pt x="11916" y="171686"/>
                    <a:pt x="9526" y="157705"/>
                    <a:pt x="9526" y="143126"/>
                  </a:cubicBezTo>
                  <a:cubicBezTo>
                    <a:pt x="9526" y="69395"/>
                    <a:pt x="69275" y="9526"/>
                    <a:pt x="143126" y="9526"/>
                  </a:cubicBezTo>
                  <a:cubicBezTo>
                    <a:pt x="216976" y="9526"/>
                    <a:pt x="276726" y="69275"/>
                    <a:pt x="276726" y="143126"/>
                  </a:cubicBezTo>
                  <a:cubicBezTo>
                    <a:pt x="276726" y="216977"/>
                    <a:pt x="216976" y="276726"/>
                    <a:pt x="143126" y="276726"/>
                  </a:cubicBezTo>
                </a:path>
              </a:pathLst>
            </a:custGeom>
            <a:noFill/>
            <a:ln w="12700" cap="rnd">
              <a:solidFill>
                <a:srgbClr val="49A9F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sz="2000" dirty="0"/>
            </a:p>
          </p:txBody>
        </p:sp>
      </p:grp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EA8ECFA0-9D2B-4094-8A95-1A190C325ED4}"/>
              </a:ext>
            </a:extLst>
          </p:cNvPr>
          <p:cNvSpPr/>
          <p:nvPr/>
        </p:nvSpPr>
        <p:spPr>
          <a:xfrm>
            <a:off x="3754277" y="2915576"/>
            <a:ext cx="7883892" cy="473870"/>
          </a:xfrm>
          <a:prstGeom prst="roundRect">
            <a:avLst>
              <a:gd name="adj" fmla="val 50000"/>
            </a:avLst>
          </a:prstGeom>
          <a:noFill/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r>
              <a:rPr lang="ru-RU" sz="1400" dirty="0">
                <a:solidFill>
                  <a:schemeClr val="tx2"/>
                </a:solidFill>
              </a:rPr>
              <a:t>Ушбу </a:t>
            </a:r>
            <a:r>
              <a:rPr lang="ru-RU" sz="1400" dirty="0" err="1">
                <a:solidFill>
                  <a:schemeClr val="tx2"/>
                </a:solidFill>
              </a:rPr>
              <a:t>тадқиқ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оирасида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600" b="1" dirty="0" err="1">
                <a:solidFill>
                  <a:srgbClr val="004BD2"/>
                </a:solidFill>
              </a:rPr>
              <a:t>коррупциянинг</a:t>
            </a:r>
            <a:r>
              <a:rPr lang="ru-RU" sz="1600" b="1" dirty="0">
                <a:solidFill>
                  <a:srgbClr val="004BD2"/>
                </a:solidFill>
              </a:rPr>
              <a:t> </a:t>
            </a:r>
            <a:r>
              <a:rPr lang="ru-RU" sz="1600" b="1" dirty="0" err="1">
                <a:solidFill>
                  <a:srgbClr val="004BD2"/>
                </a:solidFill>
              </a:rPr>
              <a:t>асосий</a:t>
            </a:r>
            <a:r>
              <a:rPr lang="ru-RU" sz="1600" b="1" dirty="0">
                <a:solidFill>
                  <a:srgbClr val="004BD2"/>
                </a:solidFill>
              </a:rPr>
              <a:t> </a:t>
            </a:r>
            <a:r>
              <a:rPr lang="ru-RU" sz="1600" b="1" dirty="0" err="1">
                <a:solidFill>
                  <a:srgbClr val="004BD2"/>
                </a:solidFill>
              </a:rPr>
              <a:t>турлари</a:t>
            </a:r>
            <a:r>
              <a:rPr lang="ru-RU" sz="1600" b="1" dirty="0">
                <a:solidFill>
                  <a:srgbClr val="004BD2"/>
                </a:solidFill>
              </a:rPr>
              <a:t>:</a:t>
            </a: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6251CC66-C594-45E0-8814-D608E841B060}"/>
              </a:ext>
            </a:extLst>
          </p:cNvPr>
          <p:cNvSpPr txBox="1">
            <a:spLocks/>
          </p:cNvSpPr>
          <p:nvPr/>
        </p:nvSpPr>
        <p:spPr>
          <a:xfrm>
            <a:off x="3784798" y="3507777"/>
            <a:ext cx="7853371" cy="689283"/>
          </a:xfrm>
          <a:prstGeom prst="rect">
            <a:avLst/>
          </a:prstGeom>
        </p:spPr>
        <p:txBody>
          <a:bodyPr lIns="0" tIns="0" rIns="0" bIns="0" numCol="2" spcCol="7200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49A9F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Манфаатлар</a:t>
            </a:r>
            <a:r>
              <a:rPr lang="ru-RU" sz="1400" dirty="0"/>
              <a:t> </a:t>
            </a:r>
            <a:r>
              <a:rPr lang="ru-RU" sz="1400" dirty="0" err="1"/>
              <a:t>тўқнашув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49A9F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Порахўрлик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49A9F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Қонунга</a:t>
            </a:r>
            <a:r>
              <a:rPr lang="ru-RU" sz="1400" dirty="0"/>
              <a:t> </a:t>
            </a:r>
            <a:r>
              <a:rPr lang="ru-RU" sz="1400" dirty="0" err="1"/>
              <a:t>хилоф</a:t>
            </a:r>
            <a:r>
              <a:rPr lang="ru-RU" sz="1400" dirty="0"/>
              <a:t> </a:t>
            </a:r>
            <a:r>
              <a:rPr lang="ru-RU" sz="1400" dirty="0" err="1"/>
              <a:t>совғалар</a:t>
            </a:r>
            <a:r>
              <a:rPr lang="ru-RU" sz="1400" dirty="0"/>
              <a:t> 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49A9F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Иқтисодий</a:t>
            </a:r>
            <a:r>
              <a:rPr lang="ru-RU" sz="1400" dirty="0"/>
              <a:t> </a:t>
            </a:r>
            <a:r>
              <a:rPr lang="ru-RU" sz="1400" dirty="0" err="1"/>
              <a:t>товламачилик</a:t>
            </a:r>
            <a:endParaRPr lang="ru-RU" sz="1400" dirty="0"/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BEC5D930-3B18-4146-9CDC-EB2095E34DFC}"/>
              </a:ext>
            </a:extLst>
          </p:cNvPr>
          <p:cNvSpPr txBox="1">
            <a:spLocks/>
          </p:cNvSpPr>
          <p:nvPr/>
        </p:nvSpPr>
        <p:spPr>
          <a:xfrm>
            <a:off x="4887118" y="4872212"/>
            <a:ext cx="9190039" cy="441966"/>
          </a:xfrm>
          <a:prstGeom prst="rect">
            <a:avLst/>
          </a:prstGeom>
        </p:spPr>
        <p:txBody>
          <a:bodyPr lIns="0" tIns="0" rIns="0" bIns="0" numCol="1" spcCol="7200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</a:pPr>
            <a:endParaRPr lang="ru-RU" sz="1200" dirty="0"/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CBA413BB-591D-4000-B594-528D0325B928}"/>
              </a:ext>
            </a:extLst>
          </p:cNvPr>
          <p:cNvSpPr/>
          <p:nvPr/>
        </p:nvSpPr>
        <p:spPr>
          <a:xfrm>
            <a:off x="3768424" y="4208447"/>
            <a:ext cx="7851946" cy="68820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400" b="1" dirty="0" err="1">
                <a:solidFill>
                  <a:schemeClr val="tx2"/>
                </a:solidFill>
              </a:rPr>
              <a:t>Минтақалар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бўйича</a:t>
            </a:r>
            <a:r>
              <a:rPr lang="ru-RU" sz="1400" b="1" dirty="0">
                <a:solidFill>
                  <a:schemeClr val="tx2"/>
                </a:solidFill>
              </a:rPr>
              <a:t> профессионал</a:t>
            </a:r>
            <a:r>
              <a:rPr lang="en-US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фирибгарликнинг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энг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машҳур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усулларин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таҳлил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қилиш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доирасида</a:t>
            </a:r>
            <a:r>
              <a:rPr lang="ru-RU" sz="1400" b="1" dirty="0">
                <a:solidFill>
                  <a:schemeClr val="tx2"/>
                </a:solidFill>
              </a:rPr>
              <a:t> коррупция </a:t>
            </a:r>
            <a:r>
              <a:rPr lang="ru-RU" sz="1400" b="1" dirty="0" err="1">
                <a:solidFill>
                  <a:schemeClr val="tx2"/>
                </a:solidFill>
              </a:rPr>
              <a:t>барч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минтақалард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қуйидаг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улуш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билан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биринч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ўринн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эгаллади</a:t>
            </a:r>
            <a:r>
              <a:rPr lang="ru-RU" sz="1400" b="1" dirty="0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61" name="Text Placeholder 6">
            <a:extLst>
              <a:ext uri="{FF2B5EF4-FFF2-40B4-BE49-F238E27FC236}">
                <a16:creationId xmlns:a16="http://schemas.microsoft.com/office/drawing/2014/main" id="{FDEA45CE-634A-43A9-B860-231EE190ECBF}"/>
              </a:ext>
            </a:extLst>
          </p:cNvPr>
          <p:cNvSpPr txBox="1">
            <a:spLocks/>
          </p:cNvSpPr>
          <p:nvPr/>
        </p:nvSpPr>
        <p:spPr>
          <a:xfrm>
            <a:off x="3784799" y="5030794"/>
            <a:ext cx="7860535" cy="1311236"/>
          </a:xfrm>
          <a:prstGeom prst="rect">
            <a:avLst/>
          </a:prstGeom>
        </p:spPr>
        <p:txBody>
          <a:bodyPr lIns="0" tIns="0" rIns="0" bIns="0" numCol="2" spcCol="7200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49A9F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Осиё-Тинч</a:t>
            </a:r>
            <a:r>
              <a:rPr lang="ru-RU" sz="1400" dirty="0"/>
              <a:t> </a:t>
            </a:r>
            <a:r>
              <a:rPr lang="ru-RU" sz="1400" dirty="0" err="1"/>
              <a:t>океани</a:t>
            </a:r>
            <a:r>
              <a:rPr lang="ru-RU" sz="1400" dirty="0"/>
              <a:t> </a:t>
            </a:r>
            <a:r>
              <a:rPr lang="ru-RU" sz="1400" dirty="0" err="1"/>
              <a:t>минтақаси</a:t>
            </a:r>
            <a:r>
              <a:rPr lang="ru-RU" sz="1400" dirty="0"/>
              <a:t> - 57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49A9F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Шарқий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Ғарбий</a:t>
            </a:r>
            <a:r>
              <a:rPr lang="ru-RU" sz="1400" dirty="0"/>
              <a:t> Европа / </a:t>
            </a:r>
            <a:r>
              <a:rPr lang="ru-RU" sz="1400" dirty="0" err="1"/>
              <a:t>Марказий</a:t>
            </a:r>
            <a:r>
              <a:rPr lang="ru-RU" sz="1400" dirty="0"/>
              <a:t> </a:t>
            </a:r>
            <a:r>
              <a:rPr lang="ru-RU" sz="1400" dirty="0" err="1"/>
              <a:t>Осиё</a:t>
            </a:r>
            <a:r>
              <a:rPr lang="ru-RU" sz="1400" dirty="0"/>
              <a:t> – 64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49A9F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Лотин</a:t>
            </a:r>
            <a:r>
              <a:rPr lang="ru-RU" sz="1400" dirty="0"/>
              <a:t> </a:t>
            </a:r>
            <a:r>
              <a:rPr lang="ru-RU" sz="1400" dirty="0" err="1"/>
              <a:t>Америкаси</a:t>
            </a:r>
            <a:r>
              <a:rPr lang="ru-RU" sz="1400" dirty="0"/>
              <a:t> и </a:t>
            </a:r>
            <a:r>
              <a:rPr lang="ru-RU" sz="1400" dirty="0" err="1"/>
              <a:t>Кариб</a:t>
            </a:r>
            <a:r>
              <a:rPr lang="ru-RU" sz="1400" dirty="0"/>
              <a:t> </a:t>
            </a:r>
            <a:r>
              <a:rPr lang="ru-RU" sz="1400" dirty="0" err="1"/>
              <a:t>денгизи</a:t>
            </a:r>
            <a:r>
              <a:rPr lang="ru-RU" sz="1400" dirty="0"/>
              <a:t>  - 59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49A9F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Яқин</a:t>
            </a:r>
            <a:r>
              <a:rPr lang="ru-RU" sz="1400" dirty="0"/>
              <a:t> </a:t>
            </a:r>
            <a:r>
              <a:rPr lang="ru-RU" sz="1400" dirty="0" err="1"/>
              <a:t>Шарқ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Шимолий</a:t>
            </a:r>
            <a:r>
              <a:rPr lang="ru-RU" sz="1400" dirty="0"/>
              <a:t> Африка – 59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49A9F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Жанубий</a:t>
            </a:r>
            <a:r>
              <a:rPr lang="ru-RU" sz="1400" dirty="0"/>
              <a:t> </a:t>
            </a:r>
            <a:r>
              <a:rPr lang="ru-RU" sz="1400" dirty="0" err="1"/>
              <a:t>Осиё</a:t>
            </a:r>
            <a:r>
              <a:rPr lang="ru-RU" sz="1400" dirty="0"/>
              <a:t>  – 71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49A9F6"/>
              </a:buClr>
              <a:buFont typeface="Arial" panose="020B0604020202020204" pitchFamily="34" charset="0"/>
              <a:buChar char="►"/>
            </a:pPr>
            <a:r>
              <a:rPr lang="ru-RU" sz="1400" dirty="0"/>
              <a:t>АҚШ </a:t>
            </a:r>
            <a:r>
              <a:rPr lang="ru-RU" sz="1400" dirty="0" err="1"/>
              <a:t>ва</a:t>
            </a:r>
            <a:r>
              <a:rPr lang="ru-RU" sz="1400" dirty="0"/>
              <a:t> Канада – 37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49A9F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Шарқий</a:t>
            </a:r>
            <a:r>
              <a:rPr lang="ru-RU" sz="1400" dirty="0"/>
              <a:t> Европа – 44%</a:t>
            </a:r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23AC2FF3-2B3C-4EED-92F3-E04A69F70E2F}"/>
              </a:ext>
            </a:extLst>
          </p:cNvPr>
          <p:cNvSpPr txBox="1">
            <a:spLocks/>
          </p:cNvSpPr>
          <p:nvPr/>
        </p:nvSpPr>
        <p:spPr>
          <a:xfrm>
            <a:off x="513478" y="1232807"/>
            <a:ext cx="3081867" cy="6000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000" kern="1200">
                <a:solidFill>
                  <a:srgbClr val="005EB8"/>
                </a:solidFill>
                <a:latin typeface="KPMG Cyrillic Extralight" panose="020B030303020204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4000" dirty="0">
                <a:solidFill>
                  <a:schemeClr val="accent5"/>
                </a:solidFill>
                <a:latin typeface="+mj-lt"/>
              </a:rPr>
              <a:t>$12,500</a:t>
            </a:r>
            <a:br>
              <a:rPr lang="ru-RU" sz="240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</a:b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оид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бузилишдан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ўртача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ойлик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зарар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212" name="Title 1">
            <a:extLst>
              <a:ext uri="{FF2B5EF4-FFF2-40B4-BE49-F238E27FC236}">
                <a16:creationId xmlns:a16="http://schemas.microsoft.com/office/drawing/2014/main" id="{61E5ABB6-CAD2-40E2-8823-D7158F71B72F}"/>
              </a:ext>
            </a:extLst>
          </p:cNvPr>
          <p:cNvSpPr txBox="1">
            <a:spLocks/>
          </p:cNvSpPr>
          <p:nvPr/>
        </p:nvSpPr>
        <p:spPr>
          <a:xfrm>
            <a:off x="513478" y="2818909"/>
            <a:ext cx="3081867" cy="6000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000" kern="1200">
                <a:solidFill>
                  <a:srgbClr val="005EB8"/>
                </a:solidFill>
                <a:latin typeface="KPMG Cyrillic Extralight" panose="020B030303020204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4000" dirty="0">
                <a:solidFill>
                  <a:schemeClr val="accent5"/>
                </a:solidFill>
                <a:latin typeface="+mj-lt"/>
              </a:rPr>
              <a:t>12 </a:t>
            </a:r>
            <a:r>
              <a:rPr lang="ru-RU" sz="2400" dirty="0">
                <a:solidFill>
                  <a:schemeClr val="accent5"/>
                </a:solidFill>
                <a:latin typeface="+mj-lt"/>
              </a:rPr>
              <a:t>ой</a:t>
            </a:r>
            <a:br>
              <a:rPr lang="ru-RU" sz="240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</a:b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оид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бузилишнинг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ўртача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давомийлиги</a:t>
            </a:r>
            <a:endParaRPr lang="ru-RU" sz="14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8" name="Title 1">
            <a:extLst>
              <a:ext uri="{FF2B5EF4-FFF2-40B4-BE49-F238E27FC236}">
                <a16:creationId xmlns:a16="http://schemas.microsoft.com/office/drawing/2014/main" id="{61801AFB-659D-465E-BD47-C85E338EB49F}"/>
              </a:ext>
            </a:extLst>
          </p:cNvPr>
          <p:cNvSpPr txBox="1">
            <a:spLocks/>
          </p:cNvSpPr>
          <p:nvPr/>
        </p:nvSpPr>
        <p:spPr>
          <a:xfrm>
            <a:off x="513478" y="4317357"/>
            <a:ext cx="3081867" cy="6000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000" kern="1200">
                <a:solidFill>
                  <a:srgbClr val="005EB8"/>
                </a:solidFill>
                <a:latin typeface="KPMG Cyrillic Extralight" panose="020B030303020204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4000" dirty="0">
                <a:solidFill>
                  <a:schemeClr val="accent5"/>
                </a:solidFill>
                <a:latin typeface="+mj-lt"/>
              </a:rPr>
              <a:t>48%</a:t>
            </a:r>
            <a:br>
              <a:rPr lang="ru-RU" sz="240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</a:b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ҳолатларнинг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криптовалюталардан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фойдаланиши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фирибгарлик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схемаларида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пора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бериш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қайтариб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бериш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(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откатлар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)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билан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боғлиқ</a:t>
            </a:r>
            <a:endParaRPr lang="ru-RU" sz="14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49" name="Group 348">
            <a:extLst>
              <a:ext uri="{FF2B5EF4-FFF2-40B4-BE49-F238E27FC236}">
                <a16:creationId xmlns:a16="http://schemas.microsoft.com/office/drawing/2014/main" id="{8D0AEE79-6116-4990-A811-9F0918EE0AF4}"/>
              </a:ext>
            </a:extLst>
          </p:cNvPr>
          <p:cNvGrpSpPr/>
          <p:nvPr/>
        </p:nvGrpSpPr>
        <p:grpSpPr>
          <a:xfrm>
            <a:off x="2564704" y="1161168"/>
            <a:ext cx="946414" cy="752520"/>
            <a:chOff x="5651198" y="981564"/>
            <a:chExt cx="1181807" cy="939687"/>
          </a:xfrm>
        </p:grpSpPr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23107BC0-C5EB-4084-92DE-850CA1901563}"/>
                </a:ext>
              </a:extLst>
            </p:cNvPr>
            <p:cNvSpPr/>
            <p:nvPr/>
          </p:nvSpPr>
          <p:spPr>
            <a:xfrm>
              <a:off x="6825291" y="1811469"/>
              <a:ext cx="7714" cy="7714"/>
            </a:xfrm>
            <a:custGeom>
              <a:avLst/>
              <a:gdLst>
                <a:gd name="connsiteX0" fmla="*/ 6634 w 7714"/>
                <a:gd name="connsiteY0" fmla="*/ 257 h 7714"/>
                <a:gd name="connsiteX1" fmla="*/ 257 w 7714"/>
                <a:gd name="connsiteY1" fmla="*/ 3960 h 7714"/>
                <a:gd name="connsiteX2" fmla="*/ 7834 w 7714"/>
                <a:gd name="connsiteY2" fmla="*/ 8348 h 7714"/>
                <a:gd name="connsiteX3" fmla="*/ 6634 w 7714"/>
                <a:gd name="connsiteY3" fmla="*/ 257 h 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4" h="7714">
                  <a:moveTo>
                    <a:pt x="6634" y="257"/>
                  </a:moveTo>
                  <a:lnTo>
                    <a:pt x="257" y="3960"/>
                  </a:lnTo>
                  <a:lnTo>
                    <a:pt x="7834" y="8348"/>
                  </a:lnTo>
                  <a:cubicBezTo>
                    <a:pt x="7594" y="5606"/>
                    <a:pt x="7217" y="2897"/>
                    <a:pt x="6634" y="257"/>
                  </a:cubicBez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38B53804-8C6E-4546-A663-8383D38F94C8}"/>
                </a:ext>
              </a:extLst>
            </p:cNvPr>
            <p:cNvSpPr/>
            <p:nvPr/>
          </p:nvSpPr>
          <p:spPr>
            <a:xfrm>
              <a:off x="6789669" y="1767034"/>
              <a:ext cx="7714" cy="2571"/>
            </a:xfrm>
            <a:custGeom>
              <a:avLst/>
              <a:gdLst>
                <a:gd name="connsiteX0" fmla="*/ 7560 w 7714"/>
                <a:gd name="connsiteY0" fmla="*/ 2897 h 2571"/>
                <a:gd name="connsiteX1" fmla="*/ 257 w 7714"/>
                <a:gd name="connsiteY1" fmla="*/ 257 h 2571"/>
                <a:gd name="connsiteX2" fmla="*/ 6223 w 7714"/>
                <a:gd name="connsiteY2" fmla="*/ 3686 h 2571"/>
                <a:gd name="connsiteX3" fmla="*/ 7560 w 7714"/>
                <a:gd name="connsiteY3" fmla="*/ 2897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4" h="2571">
                  <a:moveTo>
                    <a:pt x="7560" y="2897"/>
                  </a:moveTo>
                  <a:cubicBezTo>
                    <a:pt x="5229" y="1869"/>
                    <a:pt x="2794" y="1011"/>
                    <a:pt x="257" y="257"/>
                  </a:cubicBezTo>
                  <a:lnTo>
                    <a:pt x="6223" y="3686"/>
                  </a:lnTo>
                  <a:lnTo>
                    <a:pt x="7560" y="289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4ECFBCA0-7B9B-4722-A525-7CACB5509264}"/>
                </a:ext>
              </a:extLst>
            </p:cNvPr>
            <p:cNvSpPr/>
            <p:nvPr/>
          </p:nvSpPr>
          <p:spPr>
            <a:xfrm>
              <a:off x="6780069" y="1806189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823 w 30857"/>
                <a:gd name="connsiteY1" fmla="*/ 18189 h 18000"/>
                <a:gd name="connsiteX2" fmla="*/ 31354 w 30857"/>
                <a:gd name="connsiteY2" fmla="*/ 9240 h 18000"/>
                <a:gd name="connsiteX3" fmla="*/ 15823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823" y="18189"/>
                  </a:lnTo>
                  <a:lnTo>
                    <a:pt x="31354" y="9240"/>
                  </a:lnTo>
                  <a:lnTo>
                    <a:pt x="15823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BA33ECE3-7C08-4D00-84BD-632B93B61DD3}"/>
                </a:ext>
              </a:extLst>
            </p:cNvPr>
            <p:cNvSpPr/>
            <p:nvPr/>
          </p:nvSpPr>
          <p:spPr>
            <a:xfrm>
              <a:off x="6802697" y="1781332"/>
              <a:ext cx="20571" cy="15429"/>
            </a:xfrm>
            <a:custGeom>
              <a:avLst/>
              <a:gdLst>
                <a:gd name="connsiteX0" fmla="*/ 22097 w 20571"/>
                <a:gd name="connsiteY0" fmla="*/ 12566 h 15428"/>
                <a:gd name="connsiteX1" fmla="*/ 12326 w 20571"/>
                <a:gd name="connsiteY1" fmla="*/ 257 h 15428"/>
                <a:gd name="connsiteX2" fmla="*/ 257 w 20571"/>
                <a:gd name="connsiteY2" fmla="*/ 7252 h 15428"/>
                <a:gd name="connsiteX3" fmla="*/ 15789 w 20571"/>
                <a:gd name="connsiteY3" fmla="*/ 16234 h 15428"/>
                <a:gd name="connsiteX4" fmla="*/ 22097 w 20571"/>
                <a:gd name="connsiteY4" fmla="*/ 12566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71" h="15428">
                  <a:moveTo>
                    <a:pt x="22097" y="12566"/>
                  </a:moveTo>
                  <a:cubicBezTo>
                    <a:pt x="19423" y="8074"/>
                    <a:pt x="16166" y="3926"/>
                    <a:pt x="12326" y="257"/>
                  </a:cubicBezTo>
                  <a:lnTo>
                    <a:pt x="257" y="7252"/>
                  </a:lnTo>
                  <a:lnTo>
                    <a:pt x="15789" y="16234"/>
                  </a:lnTo>
                  <a:lnTo>
                    <a:pt x="22097" y="1256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5FB14954-D8CC-4A50-8734-95A67871D080}"/>
                </a:ext>
              </a:extLst>
            </p:cNvPr>
            <p:cNvSpPr/>
            <p:nvPr/>
          </p:nvSpPr>
          <p:spPr>
            <a:xfrm>
              <a:off x="6780069" y="1859846"/>
              <a:ext cx="30857" cy="18000"/>
            </a:xfrm>
            <a:custGeom>
              <a:avLst/>
              <a:gdLst>
                <a:gd name="connsiteX0" fmla="*/ 15823 w 30857"/>
                <a:gd name="connsiteY0" fmla="*/ 257 h 18000"/>
                <a:gd name="connsiteX1" fmla="*/ 257 w 30857"/>
                <a:gd name="connsiteY1" fmla="*/ 9240 h 18000"/>
                <a:gd name="connsiteX2" fmla="*/ 15823 w 30857"/>
                <a:gd name="connsiteY2" fmla="*/ 18223 h 18000"/>
                <a:gd name="connsiteX3" fmla="*/ 31354 w 30857"/>
                <a:gd name="connsiteY3" fmla="*/ 9240 h 18000"/>
                <a:gd name="connsiteX4" fmla="*/ 15823 w 30857"/>
                <a:gd name="connsiteY4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823" y="257"/>
                  </a:moveTo>
                  <a:lnTo>
                    <a:pt x="257" y="9240"/>
                  </a:lnTo>
                  <a:lnTo>
                    <a:pt x="15823" y="18223"/>
                  </a:lnTo>
                  <a:lnTo>
                    <a:pt x="31354" y="9240"/>
                  </a:lnTo>
                  <a:lnTo>
                    <a:pt x="15823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6D08FFE5-606C-484B-8860-831D109326F7}"/>
                </a:ext>
              </a:extLst>
            </p:cNvPr>
            <p:cNvSpPr/>
            <p:nvPr/>
          </p:nvSpPr>
          <p:spPr>
            <a:xfrm>
              <a:off x="6802697" y="1833034"/>
              <a:ext cx="28286" cy="18000"/>
            </a:xfrm>
            <a:custGeom>
              <a:avLst/>
              <a:gdLst>
                <a:gd name="connsiteX0" fmla="*/ 29091 w 28285"/>
                <a:gd name="connsiteY0" fmla="*/ 7937 h 18000"/>
                <a:gd name="connsiteX1" fmla="*/ 15789 w 28285"/>
                <a:gd name="connsiteY1" fmla="*/ 257 h 18000"/>
                <a:gd name="connsiteX2" fmla="*/ 257 w 28285"/>
                <a:gd name="connsiteY2" fmla="*/ 9206 h 18000"/>
                <a:gd name="connsiteX3" fmla="*/ 15789 w 28285"/>
                <a:gd name="connsiteY3" fmla="*/ 18189 h 18000"/>
                <a:gd name="connsiteX4" fmla="*/ 28303 w 28285"/>
                <a:gd name="connsiteY4" fmla="*/ 10954 h 18000"/>
                <a:gd name="connsiteX5" fmla="*/ 29091 w 28285"/>
                <a:gd name="connsiteY5" fmla="*/ 793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285" h="18000">
                  <a:moveTo>
                    <a:pt x="29091" y="7937"/>
                  </a:moveTo>
                  <a:lnTo>
                    <a:pt x="15789" y="257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28303" y="10954"/>
                  </a:lnTo>
                  <a:cubicBezTo>
                    <a:pt x="28577" y="9960"/>
                    <a:pt x="28851" y="8932"/>
                    <a:pt x="29091" y="7937"/>
                  </a:cubicBez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D65E78E8-A73F-4D40-9259-DEB763EB7206}"/>
                </a:ext>
              </a:extLst>
            </p:cNvPr>
            <p:cNvSpPr/>
            <p:nvPr/>
          </p:nvSpPr>
          <p:spPr>
            <a:xfrm>
              <a:off x="6734880" y="1806189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54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54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1E742991-4006-4BE3-BA87-0127BD7CE0D3}"/>
                </a:ext>
              </a:extLst>
            </p:cNvPr>
            <p:cNvSpPr/>
            <p:nvPr/>
          </p:nvSpPr>
          <p:spPr>
            <a:xfrm>
              <a:off x="6757474" y="1779343"/>
              <a:ext cx="30857" cy="18000"/>
            </a:xfrm>
            <a:custGeom>
              <a:avLst/>
              <a:gdLst>
                <a:gd name="connsiteX0" fmla="*/ 15789 w 30857"/>
                <a:gd name="connsiteY0" fmla="*/ 18223 h 18000"/>
                <a:gd name="connsiteX1" fmla="*/ 31354 w 30857"/>
                <a:gd name="connsiteY1" fmla="*/ 9240 h 18000"/>
                <a:gd name="connsiteX2" fmla="*/ 15789 w 30857"/>
                <a:gd name="connsiteY2" fmla="*/ 257 h 18000"/>
                <a:gd name="connsiteX3" fmla="*/ 257 w 30857"/>
                <a:gd name="connsiteY3" fmla="*/ 9240 h 18000"/>
                <a:gd name="connsiteX4" fmla="*/ 15789 w 30857"/>
                <a:gd name="connsiteY4" fmla="*/ 1822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89" y="18223"/>
                  </a:moveTo>
                  <a:lnTo>
                    <a:pt x="31354" y="9240"/>
                  </a:lnTo>
                  <a:lnTo>
                    <a:pt x="15789" y="257"/>
                  </a:lnTo>
                  <a:lnTo>
                    <a:pt x="257" y="9240"/>
                  </a:lnTo>
                  <a:lnTo>
                    <a:pt x="15789" y="18223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82C73E15-D41B-4915-B8B0-8500A4435560}"/>
                </a:ext>
              </a:extLst>
            </p:cNvPr>
            <p:cNvSpPr/>
            <p:nvPr/>
          </p:nvSpPr>
          <p:spPr>
            <a:xfrm>
              <a:off x="6734880" y="1859846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223 h 18000"/>
                <a:gd name="connsiteX2" fmla="*/ 31354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223"/>
                  </a:lnTo>
                  <a:lnTo>
                    <a:pt x="31354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3315D098-8C1C-4CA1-A71E-D978D8B577C7}"/>
                </a:ext>
              </a:extLst>
            </p:cNvPr>
            <p:cNvSpPr/>
            <p:nvPr/>
          </p:nvSpPr>
          <p:spPr>
            <a:xfrm>
              <a:off x="6757474" y="1833034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54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54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0" name="Freeform: Shape 359">
              <a:extLst>
                <a:ext uri="{FF2B5EF4-FFF2-40B4-BE49-F238E27FC236}">
                  <a16:creationId xmlns:a16="http://schemas.microsoft.com/office/drawing/2014/main" id="{281427A8-F346-43F3-B71A-E75546F338FF}"/>
                </a:ext>
              </a:extLst>
            </p:cNvPr>
            <p:cNvSpPr/>
            <p:nvPr/>
          </p:nvSpPr>
          <p:spPr>
            <a:xfrm>
              <a:off x="6740709" y="1913537"/>
              <a:ext cx="12857" cy="5143"/>
            </a:xfrm>
            <a:custGeom>
              <a:avLst/>
              <a:gdLst>
                <a:gd name="connsiteX0" fmla="*/ 257 w 12857"/>
                <a:gd name="connsiteY0" fmla="*/ 5846 h 5142"/>
                <a:gd name="connsiteX1" fmla="*/ 11571 w 12857"/>
                <a:gd name="connsiteY1" fmla="*/ 3068 h 5142"/>
                <a:gd name="connsiteX2" fmla="*/ 13663 w 12857"/>
                <a:gd name="connsiteY2" fmla="*/ 2383 h 5142"/>
                <a:gd name="connsiteX3" fmla="*/ 9960 w 12857"/>
                <a:gd name="connsiteY3" fmla="*/ 257 h 5142"/>
                <a:gd name="connsiteX4" fmla="*/ 257 w 12857"/>
                <a:gd name="connsiteY4" fmla="*/ 5846 h 5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57" h="5142">
                  <a:moveTo>
                    <a:pt x="257" y="5846"/>
                  </a:moveTo>
                  <a:cubicBezTo>
                    <a:pt x="4234" y="5057"/>
                    <a:pt x="8040" y="4131"/>
                    <a:pt x="11571" y="3068"/>
                  </a:cubicBezTo>
                  <a:cubicBezTo>
                    <a:pt x="12291" y="2863"/>
                    <a:pt x="12977" y="2589"/>
                    <a:pt x="13663" y="2383"/>
                  </a:cubicBezTo>
                  <a:lnTo>
                    <a:pt x="9960" y="257"/>
                  </a:lnTo>
                  <a:lnTo>
                    <a:pt x="257" y="584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1" name="Freeform: Shape 360">
              <a:extLst>
                <a:ext uri="{FF2B5EF4-FFF2-40B4-BE49-F238E27FC236}">
                  <a16:creationId xmlns:a16="http://schemas.microsoft.com/office/drawing/2014/main" id="{9CF33E21-85EB-4A03-8C16-0055D1E25EC2}"/>
                </a:ext>
              </a:extLst>
            </p:cNvPr>
            <p:cNvSpPr/>
            <p:nvPr/>
          </p:nvSpPr>
          <p:spPr>
            <a:xfrm>
              <a:off x="6757474" y="1886692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54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54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2" name="Freeform: Shape 361">
              <a:extLst>
                <a:ext uri="{FF2B5EF4-FFF2-40B4-BE49-F238E27FC236}">
                  <a16:creationId xmlns:a16="http://schemas.microsoft.com/office/drawing/2014/main" id="{A532801A-C6DC-4BBA-808A-328A55043D31}"/>
                </a:ext>
              </a:extLst>
            </p:cNvPr>
            <p:cNvSpPr/>
            <p:nvPr/>
          </p:nvSpPr>
          <p:spPr>
            <a:xfrm>
              <a:off x="6689691" y="1806189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3" name="Freeform: Shape 362">
              <a:extLst>
                <a:ext uri="{FF2B5EF4-FFF2-40B4-BE49-F238E27FC236}">
                  <a16:creationId xmlns:a16="http://schemas.microsoft.com/office/drawing/2014/main" id="{521DFA14-25B9-4E0C-8D56-3C4C307CA531}"/>
                </a:ext>
              </a:extLst>
            </p:cNvPr>
            <p:cNvSpPr/>
            <p:nvPr/>
          </p:nvSpPr>
          <p:spPr>
            <a:xfrm>
              <a:off x="6712286" y="1779343"/>
              <a:ext cx="30857" cy="18000"/>
            </a:xfrm>
            <a:custGeom>
              <a:avLst/>
              <a:gdLst>
                <a:gd name="connsiteX0" fmla="*/ 15789 w 30857"/>
                <a:gd name="connsiteY0" fmla="*/ 18223 h 18000"/>
                <a:gd name="connsiteX1" fmla="*/ 31320 w 30857"/>
                <a:gd name="connsiteY1" fmla="*/ 9240 h 18000"/>
                <a:gd name="connsiteX2" fmla="*/ 15789 w 30857"/>
                <a:gd name="connsiteY2" fmla="*/ 257 h 18000"/>
                <a:gd name="connsiteX3" fmla="*/ 257 w 30857"/>
                <a:gd name="connsiteY3" fmla="*/ 9240 h 18000"/>
                <a:gd name="connsiteX4" fmla="*/ 15789 w 30857"/>
                <a:gd name="connsiteY4" fmla="*/ 1822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89" y="18223"/>
                  </a:move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  <a:lnTo>
                    <a:pt x="15789" y="18223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4" name="Freeform: Shape 363">
              <a:extLst>
                <a:ext uri="{FF2B5EF4-FFF2-40B4-BE49-F238E27FC236}">
                  <a16:creationId xmlns:a16="http://schemas.microsoft.com/office/drawing/2014/main" id="{C382657C-468A-40F4-A8ED-E8574374AA5D}"/>
                </a:ext>
              </a:extLst>
            </p:cNvPr>
            <p:cNvSpPr/>
            <p:nvPr/>
          </p:nvSpPr>
          <p:spPr>
            <a:xfrm>
              <a:off x="6689691" y="1859846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223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223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5" name="Freeform: Shape 364">
              <a:extLst>
                <a:ext uri="{FF2B5EF4-FFF2-40B4-BE49-F238E27FC236}">
                  <a16:creationId xmlns:a16="http://schemas.microsoft.com/office/drawing/2014/main" id="{D43EE121-8204-4310-AB1E-BD41B6648FC4}"/>
                </a:ext>
              </a:extLst>
            </p:cNvPr>
            <p:cNvSpPr/>
            <p:nvPr/>
          </p:nvSpPr>
          <p:spPr>
            <a:xfrm>
              <a:off x="6712286" y="1833034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6" name="Freeform: Shape 365">
              <a:extLst>
                <a:ext uri="{FF2B5EF4-FFF2-40B4-BE49-F238E27FC236}">
                  <a16:creationId xmlns:a16="http://schemas.microsoft.com/office/drawing/2014/main" id="{97549495-3868-415A-B865-20193499CFFF}"/>
                </a:ext>
              </a:extLst>
            </p:cNvPr>
            <p:cNvSpPr/>
            <p:nvPr/>
          </p:nvSpPr>
          <p:spPr>
            <a:xfrm>
              <a:off x="6695074" y="1913537"/>
              <a:ext cx="23143" cy="7714"/>
            </a:xfrm>
            <a:custGeom>
              <a:avLst/>
              <a:gdLst>
                <a:gd name="connsiteX0" fmla="*/ 257 w 23142"/>
                <a:gd name="connsiteY0" fmla="*/ 6120 h 7714"/>
                <a:gd name="connsiteX1" fmla="*/ 24257 w 23142"/>
                <a:gd name="connsiteY1" fmla="*/ 8246 h 7714"/>
                <a:gd name="connsiteX2" fmla="*/ 10406 w 23142"/>
                <a:gd name="connsiteY2" fmla="*/ 257 h 7714"/>
                <a:gd name="connsiteX3" fmla="*/ 257 w 23142"/>
                <a:gd name="connsiteY3" fmla="*/ 6120 h 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42" h="7714">
                  <a:moveTo>
                    <a:pt x="257" y="6120"/>
                  </a:moveTo>
                  <a:cubicBezTo>
                    <a:pt x="8006" y="7800"/>
                    <a:pt x="16166" y="8451"/>
                    <a:pt x="24257" y="8246"/>
                  </a:cubicBezTo>
                  <a:lnTo>
                    <a:pt x="10406" y="257"/>
                  </a:lnTo>
                  <a:lnTo>
                    <a:pt x="257" y="612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7" name="Freeform: Shape 366">
              <a:extLst>
                <a:ext uri="{FF2B5EF4-FFF2-40B4-BE49-F238E27FC236}">
                  <a16:creationId xmlns:a16="http://schemas.microsoft.com/office/drawing/2014/main" id="{088E33EF-DD62-4B22-ADBE-DA655E22ED17}"/>
                </a:ext>
              </a:extLst>
            </p:cNvPr>
            <p:cNvSpPr/>
            <p:nvPr/>
          </p:nvSpPr>
          <p:spPr>
            <a:xfrm>
              <a:off x="6712286" y="1886692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8" name="Freeform: Shape 367">
              <a:extLst>
                <a:ext uri="{FF2B5EF4-FFF2-40B4-BE49-F238E27FC236}">
                  <a16:creationId xmlns:a16="http://schemas.microsoft.com/office/drawing/2014/main" id="{7F56ABAA-CA35-4699-8C87-B360A8CB8101}"/>
                </a:ext>
              </a:extLst>
            </p:cNvPr>
            <p:cNvSpPr/>
            <p:nvPr/>
          </p:nvSpPr>
          <p:spPr>
            <a:xfrm>
              <a:off x="6644709" y="1806189"/>
              <a:ext cx="30857" cy="18000"/>
            </a:xfrm>
            <a:custGeom>
              <a:avLst/>
              <a:gdLst>
                <a:gd name="connsiteX0" fmla="*/ 31114 w 30857"/>
                <a:gd name="connsiteY0" fmla="*/ 9240 h 18000"/>
                <a:gd name="connsiteX1" fmla="*/ 15583 w 30857"/>
                <a:gd name="connsiteY1" fmla="*/ 257 h 18000"/>
                <a:gd name="connsiteX2" fmla="*/ 360 w 30857"/>
                <a:gd name="connsiteY2" fmla="*/ 9069 h 18000"/>
                <a:gd name="connsiteX3" fmla="*/ 257 w 30857"/>
                <a:gd name="connsiteY3" fmla="*/ 9343 h 18000"/>
                <a:gd name="connsiteX4" fmla="*/ 15583 w 30857"/>
                <a:gd name="connsiteY4" fmla="*/ 18189 h 18000"/>
                <a:gd name="connsiteX5" fmla="*/ 31114 w 30857"/>
                <a:gd name="connsiteY5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57" h="18000">
                  <a:moveTo>
                    <a:pt x="31114" y="9240"/>
                  </a:moveTo>
                  <a:lnTo>
                    <a:pt x="15583" y="257"/>
                  </a:lnTo>
                  <a:lnTo>
                    <a:pt x="360" y="9069"/>
                  </a:lnTo>
                  <a:cubicBezTo>
                    <a:pt x="325" y="9137"/>
                    <a:pt x="291" y="9240"/>
                    <a:pt x="257" y="9343"/>
                  </a:cubicBezTo>
                  <a:lnTo>
                    <a:pt x="15583" y="18189"/>
                  </a:lnTo>
                  <a:lnTo>
                    <a:pt x="31114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9" name="Freeform: Shape 368">
              <a:extLst>
                <a:ext uri="{FF2B5EF4-FFF2-40B4-BE49-F238E27FC236}">
                  <a16:creationId xmlns:a16="http://schemas.microsoft.com/office/drawing/2014/main" id="{155BAE20-7968-4382-99F7-587B62C8659B}"/>
                </a:ext>
              </a:extLst>
            </p:cNvPr>
            <p:cNvSpPr/>
            <p:nvPr/>
          </p:nvSpPr>
          <p:spPr>
            <a:xfrm>
              <a:off x="6654000" y="1859846"/>
              <a:ext cx="20571" cy="18000"/>
            </a:xfrm>
            <a:custGeom>
              <a:avLst/>
              <a:gdLst>
                <a:gd name="connsiteX0" fmla="*/ 6291 w 20571"/>
                <a:gd name="connsiteY0" fmla="*/ 18223 h 18000"/>
                <a:gd name="connsiteX1" fmla="*/ 21823 w 20571"/>
                <a:gd name="connsiteY1" fmla="*/ 9240 h 18000"/>
                <a:gd name="connsiteX2" fmla="*/ 6291 w 20571"/>
                <a:gd name="connsiteY2" fmla="*/ 257 h 18000"/>
                <a:gd name="connsiteX3" fmla="*/ 3171 w 20571"/>
                <a:gd name="connsiteY3" fmla="*/ 2074 h 18000"/>
                <a:gd name="connsiteX4" fmla="*/ 3583 w 20571"/>
                <a:gd name="connsiteY4" fmla="*/ 2623 h 18000"/>
                <a:gd name="connsiteX5" fmla="*/ 257 w 20571"/>
                <a:gd name="connsiteY5" fmla="*/ 14726 h 18000"/>
                <a:gd name="connsiteX6" fmla="*/ 6291 w 20571"/>
                <a:gd name="connsiteY6" fmla="*/ 1822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71" h="18000">
                  <a:moveTo>
                    <a:pt x="6291" y="18223"/>
                  </a:moveTo>
                  <a:lnTo>
                    <a:pt x="21823" y="9240"/>
                  </a:lnTo>
                  <a:lnTo>
                    <a:pt x="6291" y="257"/>
                  </a:lnTo>
                  <a:lnTo>
                    <a:pt x="3171" y="2074"/>
                  </a:lnTo>
                  <a:cubicBezTo>
                    <a:pt x="3309" y="2246"/>
                    <a:pt x="3411" y="2452"/>
                    <a:pt x="3583" y="2623"/>
                  </a:cubicBezTo>
                  <a:cubicBezTo>
                    <a:pt x="1594" y="6360"/>
                    <a:pt x="566" y="10474"/>
                    <a:pt x="257" y="14726"/>
                  </a:cubicBezTo>
                  <a:lnTo>
                    <a:pt x="6291" y="18223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0" name="Freeform: Shape 369">
              <a:extLst>
                <a:ext uri="{FF2B5EF4-FFF2-40B4-BE49-F238E27FC236}">
                  <a16:creationId xmlns:a16="http://schemas.microsoft.com/office/drawing/2014/main" id="{67D3F800-6045-431D-B16E-441C63E4751E}"/>
                </a:ext>
              </a:extLst>
            </p:cNvPr>
            <p:cNvSpPr/>
            <p:nvPr/>
          </p:nvSpPr>
          <p:spPr>
            <a:xfrm>
              <a:off x="6667097" y="1833034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1" name="Freeform: Shape 370">
              <a:extLst>
                <a:ext uri="{FF2B5EF4-FFF2-40B4-BE49-F238E27FC236}">
                  <a16:creationId xmlns:a16="http://schemas.microsoft.com/office/drawing/2014/main" id="{4167CD84-4237-4A7D-B3A6-5DF69947C813}"/>
                </a:ext>
              </a:extLst>
            </p:cNvPr>
            <p:cNvSpPr/>
            <p:nvPr/>
          </p:nvSpPr>
          <p:spPr>
            <a:xfrm>
              <a:off x="6644811" y="1837286"/>
              <a:ext cx="7714" cy="7714"/>
            </a:xfrm>
            <a:custGeom>
              <a:avLst/>
              <a:gdLst>
                <a:gd name="connsiteX0" fmla="*/ 8417 w 7714"/>
                <a:gd name="connsiteY0" fmla="*/ 4954 h 7714"/>
                <a:gd name="connsiteX1" fmla="*/ 257 w 7714"/>
                <a:gd name="connsiteY1" fmla="*/ 257 h 7714"/>
                <a:gd name="connsiteX2" fmla="*/ 2657 w 7714"/>
                <a:gd name="connsiteY2" fmla="*/ 8280 h 7714"/>
                <a:gd name="connsiteX3" fmla="*/ 8417 w 7714"/>
                <a:gd name="connsiteY3" fmla="*/ 4954 h 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4" h="7714">
                  <a:moveTo>
                    <a:pt x="8417" y="4954"/>
                  </a:moveTo>
                  <a:lnTo>
                    <a:pt x="257" y="257"/>
                  </a:lnTo>
                  <a:cubicBezTo>
                    <a:pt x="874" y="3034"/>
                    <a:pt x="1697" y="5709"/>
                    <a:pt x="2657" y="8280"/>
                  </a:cubicBezTo>
                  <a:lnTo>
                    <a:pt x="8417" y="4954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2" name="Freeform: Shape 371">
              <a:extLst>
                <a:ext uri="{FF2B5EF4-FFF2-40B4-BE49-F238E27FC236}">
                  <a16:creationId xmlns:a16="http://schemas.microsoft.com/office/drawing/2014/main" id="{C10D465F-CD4E-4926-B977-43EDBD7A0933}"/>
                </a:ext>
              </a:extLst>
            </p:cNvPr>
            <p:cNvSpPr/>
            <p:nvPr/>
          </p:nvSpPr>
          <p:spPr>
            <a:xfrm>
              <a:off x="6667097" y="1886692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3" name="Freeform: Shape 372">
              <a:extLst>
                <a:ext uri="{FF2B5EF4-FFF2-40B4-BE49-F238E27FC236}">
                  <a16:creationId xmlns:a16="http://schemas.microsoft.com/office/drawing/2014/main" id="{CC828CD8-722A-423D-BB61-50CFDDC171E8}"/>
                </a:ext>
              </a:extLst>
            </p:cNvPr>
            <p:cNvSpPr/>
            <p:nvPr/>
          </p:nvSpPr>
          <p:spPr>
            <a:xfrm>
              <a:off x="6739097" y="1762949"/>
              <a:ext cx="23143" cy="7714"/>
            </a:xfrm>
            <a:custGeom>
              <a:avLst/>
              <a:gdLst>
                <a:gd name="connsiteX0" fmla="*/ 24360 w 23142"/>
                <a:gd name="connsiteY0" fmla="*/ 400 h 7714"/>
                <a:gd name="connsiteX1" fmla="*/ 257 w 23142"/>
                <a:gd name="connsiteY1" fmla="*/ 1223 h 7714"/>
                <a:gd name="connsiteX2" fmla="*/ 11571 w 23142"/>
                <a:gd name="connsiteY2" fmla="*/ 7771 h 7714"/>
                <a:gd name="connsiteX3" fmla="*/ 24360 w 23142"/>
                <a:gd name="connsiteY3" fmla="*/ 400 h 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42" h="7714">
                  <a:moveTo>
                    <a:pt x="24360" y="400"/>
                  </a:moveTo>
                  <a:cubicBezTo>
                    <a:pt x="16474" y="57"/>
                    <a:pt x="8383" y="332"/>
                    <a:pt x="257" y="1223"/>
                  </a:cubicBezTo>
                  <a:lnTo>
                    <a:pt x="11571" y="7771"/>
                  </a:lnTo>
                  <a:lnTo>
                    <a:pt x="24360" y="40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4" name="Freeform: Shape 373">
              <a:extLst>
                <a:ext uri="{FF2B5EF4-FFF2-40B4-BE49-F238E27FC236}">
                  <a16:creationId xmlns:a16="http://schemas.microsoft.com/office/drawing/2014/main" id="{A22F1565-9324-43FA-A6DF-853F7EC984FA}"/>
                </a:ext>
              </a:extLst>
            </p:cNvPr>
            <p:cNvSpPr/>
            <p:nvPr/>
          </p:nvSpPr>
          <p:spPr>
            <a:xfrm>
              <a:off x="6667097" y="1779446"/>
              <a:ext cx="30857" cy="18000"/>
            </a:xfrm>
            <a:custGeom>
              <a:avLst/>
              <a:gdLst>
                <a:gd name="connsiteX0" fmla="*/ 15960 w 30857"/>
                <a:gd name="connsiteY0" fmla="*/ 257 h 18000"/>
                <a:gd name="connsiteX1" fmla="*/ 14246 w 30857"/>
                <a:gd name="connsiteY1" fmla="*/ 1080 h 18000"/>
                <a:gd name="connsiteX2" fmla="*/ 257 w 30857"/>
                <a:gd name="connsiteY2" fmla="*/ 9137 h 18000"/>
                <a:gd name="connsiteX3" fmla="*/ 15789 w 30857"/>
                <a:gd name="connsiteY3" fmla="*/ 18120 h 18000"/>
                <a:gd name="connsiteX4" fmla="*/ 31320 w 30857"/>
                <a:gd name="connsiteY4" fmla="*/ 9137 h 18000"/>
                <a:gd name="connsiteX5" fmla="*/ 15960 w 30857"/>
                <a:gd name="connsiteY5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57" h="18000">
                  <a:moveTo>
                    <a:pt x="15960" y="257"/>
                  </a:moveTo>
                  <a:cubicBezTo>
                    <a:pt x="15377" y="531"/>
                    <a:pt x="14794" y="806"/>
                    <a:pt x="14246" y="1080"/>
                  </a:cubicBezTo>
                  <a:lnTo>
                    <a:pt x="257" y="9137"/>
                  </a:lnTo>
                  <a:lnTo>
                    <a:pt x="15789" y="18120"/>
                  </a:lnTo>
                  <a:lnTo>
                    <a:pt x="31320" y="9137"/>
                  </a:lnTo>
                  <a:lnTo>
                    <a:pt x="15960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5" name="Freeform: Shape 374">
              <a:extLst>
                <a:ext uri="{FF2B5EF4-FFF2-40B4-BE49-F238E27FC236}">
                  <a16:creationId xmlns:a16="http://schemas.microsoft.com/office/drawing/2014/main" id="{78FDB7C9-1B0E-449F-B759-312E2A1B0816}"/>
                </a:ext>
              </a:extLst>
            </p:cNvPr>
            <p:cNvSpPr/>
            <p:nvPr/>
          </p:nvSpPr>
          <p:spPr>
            <a:xfrm>
              <a:off x="6689691" y="1272806"/>
              <a:ext cx="18000" cy="12857"/>
            </a:xfrm>
            <a:custGeom>
              <a:avLst/>
              <a:gdLst>
                <a:gd name="connsiteX0" fmla="*/ 18840 w 18000"/>
                <a:gd name="connsiteY0" fmla="*/ 13149 h 12857"/>
                <a:gd name="connsiteX1" fmla="*/ 10063 w 18000"/>
                <a:gd name="connsiteY1" fmla="*/ 257 h 12857"/>
                <a:gd name="connsiteX2" fmla="*/ 257 w 18000"/>
                <a:gd name="connsiteY2" fmla="*/ 5949 h 12857"/>
                <a:gd name="connsiteX3" fmla="*/ 15789 w 18000"/>
                <a:gd name="connsiteY3" fmla="*/ 14897 h 12857"/>
                <a:gd name="connsiteX4" fmla="*/ 18840 w 18000"/>
                <a:gd name="connsiteY4" fmla="*/ 13149 h 1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00" h="12857">
                  <a:moveTo>
                    <a:pt x="18840" y="13149"/>
                  </a:moveTo>
                  <a:cubicBezTo>
                    <a:pt x="16680" y="8554"/>
                    <a:pt x="13800" y="4200"/>
                    <a:pt x="10063" y="257"/>
                  </a:cubicBezTo>
                  <a:lnTo>
                    <a:pt x="257" y="5949"/>
                  </a:lnTo>
                  <a:lnTo>
                    <a:pt x="15789" y="14897"/>
                  </a:lnTo>
                  <a:lnTo>
                    <a:pt x="18840" y="1314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6" name="Freeform: Shape 375">
              <a:extLst>
                <a:ext uri="{FF2B5EF4-FFF2-40B4-BE49-F238E27FC236}">
                  <a16:creationId xmlns:a16="http://schemas.microsoft.com/office/drawing/2014/main" id="{B4381696-9896-4B70-AC6F-B177D123C3D8}"/>
                </a:ext>
              </a:extLst>
            </p:cNvPr>
            <p:cNvSpPr/>
            <p:nvPr/>
          </p:nvSpPr>
          <p:spPr>
            <a:xfrm>
              <a:off x="6689691" y="1323172"/>
              <a:ext cx="18000" cy="15429"/>
            </a:xfrm>
            <a:custGeom>
              <a:avLst/>
              <a:gdLst>
                <a:gd name="connsiteX0" fmla="*/ 257 w 18000"/>
                <a:gd name="connsiteY0" fmla="*/ 9240 h 15428"/>
                <a:gd name="connsiteX1" fmla="*/ 11469 w 18000"/>
                <a:gd name="connsiteY1" fmla="*/ 15720 h 15428"/>
                <a:gd name="connsiteX2" fmla="*/ 19560 w 18000"/>
                <a:gd name="connsiteY2" fmla="*/ 2452 h 15428"/>
                <a:gd name="connsiteX3" fmla="*/ 15789 w 18000"/>
                <a:gd name="connsiteY3" fmla="*/ 257 h 15428"/>
                <a:gd name="connsiteX4" fmla="*/ 257 w 18000"/>
                <a:gd name="connsiteY4" fmla="*/ 9240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00" h="15428">
                  <a:moveTo>
                    <a:pt x="257" y="9240"/>
                  </a:moveTo>
                  <a:lnTo>
                    <a:pt x="11469" y="15720"/>
                  </a:lnTo>
                  <a:cubicBezTo>
                    <a:pt x="14897" y="11606"/>
                    <a:pt x="17606" y="7148"/>
                    <a:pt x="19560" y="2452"/>
                  </a:cubicBez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7" name="Freeform: Shape 376">
              <a:extLst>
                <a:ext uri="{FF2B5EF4-FFF2-40B4-BE49-F238E27FC236}">
                  <a16:creationId xmlns:a16="http://schemas.microsoft.com/office/drawing/2014/main" id="{806451A7-40B1-43F8-A53A-D7D3271E3481}"/>
                </a:ext>
              </a:extLst>
            </p:cNvPr>
            <p:cNvSpPr/>
            <p:nvPr/>
          </p:nvSpPr>
          <p:spPr>
            <a:xfrm>
              <a:off x="6712286" y="1305000"/>
              <a:ext cx="2571" cy="2571"/>
            </a:xfrm>
            <a:custGeom>
              <a:avLst/>
              <a:gdLst>
                <a:gd name="connsiteX0" fmla="*/ 806 w 0"/>
                <a:gd name="connsiteY0" fmla="*/ 257 h 0"/>
                <a:gd name="connsiteX1" fmla="*/ 257 w 0"/>
                <a:gd name="connsiteY1" fmla="*/ 566 h 0"/>
                <a:gd name="connsiteX2" fmla="*/ 840 w 0"/>
                <a:gd name="connsiteY2" fmla="*/ 909 h 0"/>
                <a:gd name="connsiteX3" fmla="*/ 806 w 0"/>
                <a:gd name="connsiteY3" fmla="*/ 25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806" y="257"/>
                  </a:moveTo>
                  <a:lnTo>
                    <a:pt x="257" y="566"/>
                  </a:lnTo>
                  <a:lnTo>
                    <a:pt x="840" y="909"/>
                  </a:lnTo>
                  <a:cubicBezTo>
                    <a:pt x="840" y="703"/>
                    <a:pt x="806" y="463"/>
                    <a:pt x="806" y="257"/>
                  </a:cubicBez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8" name="Freeform: Shape 377">
              <a:extLst>
                <a:ext uri="{FF2B5EF4-FFF2-40B4-BE49-F238E27FC236}">
                  <a16:creationId xmlns:a16="http://schemas.microsoft.com/office/drawing/2014/main" id="{3BC5EA3C-4F60-4E6E-B652-80EFB8E0C898}"/>
                </a:ext>
              </a:extLst>
            </p:cNvPr>
            <p:cNvSpPr/>
            <p:nvPr/>
          </p:nvSpPr>
          <p:spPr>
            <a:xfrm>
              <a:off x="6689691" y="1596360"/>
              <a:ext cx="18000" cy="12857"/>
            </a:xfrm>
            <a:custGeom>
              <a:avLst/>
              <a:gdLst>
                <a:gd name="connsiteX0" fmla="*/ 18909 w 18000"/>
                <a:gd name="connsiteY0" fmla="*/ 11537 h 12857"/>
                <a:gd name="connsiteX1" fmla="*/ 17709 w 18000"/>
                <a:gd name="connsiteY1" fmla="*/ 9960 h 12857"/>
                <a:gd name="connsiteX2" fmla="*/ 7423 w 18000"/>
                <a:gd name="connsiteY2" fmla="*/ 257 h 12857"/>
                <a:gd name="connsiteX3" fmla="*/ 257 w 18000"/>
                <a:gd name="connsiteY3" fmla="*/ 4371 h 12857"/>
                <a:gd name="connsiteX4" fmla="*/ 15789 w 18000"/>
                <a:gd name="connsiteY4" fmla="*/ 13354 h 12857"/>
                <a:gd name="connsiteX5" fmla="*/ 18909 w 18000"/>
                <a:gd name="connsiteY5" fmla="*/ 11537 h 1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00" h="12857">
                  <a:moveTo>
                    <a:pt x="18909" y="11537"/>
                  </a:moveTo>
                  <a:cubicBezTo>
                    <a:pt x="18497" y="11023"/>
                    <a:pt x="18154" y="10474"/>
                    <a:pt x="17709" y="9960"/>
                  </a:cubicBezTo>
                  <a:cubicBezTo>
                    <a:pt x="14589" y="6223"/>
                    <a:pt x="11092" y="3034"/>
                    <a:pt x="7423" y="257"/>
                  </a:cubicBezTo>
                  <a:lnTo>
                    <a:pt x="257" y="4371"/>
                  </a:lnTo>
                  <a:lnTo>
                    <a:pt x="15789" y="13354"/>
                  </a:lnTo>
                  <a:lnTo>
                    <a:pt x="18909" y="1153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9" name="Freeform: Shape 378">
              <a:extLst>
                <a:ext uri="{FF2B5EF4-FFF2-40B4-BE49-F238E27FC236}">
                  <a16:creationId xmlns:a16="http://schemas.microsoft.com/office/drawing/2014/main" id="{3BFAA7C7-CF03-4F6A-AC3C-FE70DAEBB80E}"/>
                </a:ext>
              </a:extLst>
            </p:cNvPr>
            <p:cNvSpPr/>
            <p:nvPr/>
          </p:nvSpPr>
          <p:spPr>
            <a:xfrm>
              <a:off x="6689691" y="1645183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0" name="Freeform: Shape 379">
              <a:extLst>
                <a:ext uri="{FF2B5EF4-FFF2-40B4-BE49-F238E27FC236}">
                  <a16:creationId xmlns:a16="http://schemas.microsoft.com/office/drawing/2014/main" id="{20E94849-76A0-499B-B9F9-14DCB5AFF218}"/>
                </a:ext>
              </a:extLst>
            </p:cNvPr>
            <p:cNvSpPr/>
            <p:nvPr/>
          </p:nvSpPr>
          <p:spPr>
            <a:xfrm>
              <a:off x="6712286" y="1624234"/>
              <a:ext cx="7714" cy="7714"/>
            </a:xfrm>
            <a:custGeom>
              <a:avLst/>
              <a:gdLst>
                <a:gd name="connsiteX0" fmla="*/ 7869 w 7714"/>
                <a:gd name="connsiteY0" fmla="*/ 7732 h 7714"/>
                <a:gd name="connsiteX1" fmla="*/ 5606 w 7714"/>
                <a:gd name="connsiteY1" fmla="*/ 257 h 7714"/>
                <a:gd name="connsiteX2" fmla="*/ 257 w 7714"/>
                <a:gd name="connsiteY2" fmla="*/ 3343 h 7714"/>
                <a:gd name="connsiteX3" fmla="*/ 257 w 7714"/>
                <a:gd name="connsiteY3" fmla="*/ 3343 h 7714"/>
                <a:gd name="connsiteX4" fmla="*/ 257 w 7714"/>
                <a:gd name="connsiteY4" fmla="*/ 3343 h 7714"/>
                <a:gd name="connsiteX5" fmla="*/ 7869 w 7714"/>
                <a:gd name="connsiteY5" fmla="*/ 7732 h 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14" h="7714">
                  <a:moveTo>
                    <a:pt x="7869" y="7732"/>
                  </a:moveTo>
                  <a:cubicBezTo>
                    <a:pt x="7286" y="5194"/>
                    <a:pt x="6531" y="2726"/>
                    <a:pt x="5606" y="257"/>
                  </a:cubicBezTo>
                  <a:lnTo>
                    <a:pt x="257" y="3343"/>
                  </a:lnTo>
                  <a:lnTo>
                    <a:pt x="257" y="3343"/>
                  </a:lnTo>
                  <a:lnTo>
                    <a:pt x="257" y="3343"/>
                  </a:lnTo>
                  <a:lnTo>
                    <a:pt x="7869" y="7732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1" name="Freeform: Shape 380">
              <a:extLst>
                <a:ext uri="{FF2B5EF4-FFF2-40B4-BE49-F238E27FC236}">
                  <a16:creationId xmlns:a16="http://schemas.microsoft.com/office/drawing/2014/main" id="{ADDE32B4-AE2B-4A84-BA5C-07D1A0A5EC06}"/>
                </a:ext>
              </a:extLst>
            </p:cNvPr>
            <p:cNvSpPr/>
            <p:nvPr/>
          </p:nvSpPr>
          <p:spPr>
            <a:xfrm>
              <a:off x="6644503" y="1269515"/>
              <a:ext cx="30857" cy="18000"/>
            </a:xfrm>
            <a:custGeom>
              <a:avLst/>
              <a:gdLst>
                <a:gd name="connsiteX0" fmla="*/ 15789 w 30857"/>
                <a:gd name="connsiteY0" fmla="*/ 18189 h 18000"/>
                <a:gd name="connsiteX1" fmla="*/ 31320 w 30857"/>
                <a:gd name="connsiteY1" fmla="*/ 9240 h 18000"/>
                <a:gd name="connsiteX2" fmla="*/ 15789 w 30857"/>
                <a:gd name="connsiteY2" fmla="*/ 257 h 18000"/>
                <a:gd name="connsiteX3" fmla="*/ 257 w 30857"/>
                <a:gd name="connsiteY3" fmla="*/ 9240 h 18000"/>
                <a:gd name="connsiteX4" fmla="*/ 15789 w 30857"/>
                <a:gd name="connsiteY4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89" y="18189"/>
                  </a:move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  <a:lnTo>
                    <a:pt x="15789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2" name="Freeform: Shape 381">
              <a:extLst>
                <a:ext uri="{FF2B5EF4-FFF2-40B4-BE49-F238E27FC236}">
                  <a16:creationId xmlns:a16="http://schemas.microsoft.com/office/drawing/2014/main" id="{3573E1A9-92F7-4D86-9FAB-572DB54FD5E6}"/>
                </a:ext>
              </a:extLst>
            </p:cNvPr>
            <p:cNvSpPr/>
            <p:nvPr/>
          </p:nvSpPr>
          <p:spPr>
            <a:xfrm>
              <a:off x="6667101" y="1251492"/>
              <a:ext cx="15429" cy="7714"/>
            </a:xfrm>
            <a:custGeom>
              <a:avLst/>
              <a:gdLst>
                <a:gd name="connsiteX0" fmla="*/ 15905 w 15428"/>
                <a:gd name="connsiteY0" fmla="*/ 9337 h 7714"/>
                <a:gd name="connsiteX1" fmla="*/ 533 w 15428"/>
                <a:gd name="connsiteY1" fmla="*/ 258 h 7714"/>
                <a:gd name="connsiteX2" fmla="*/ 258 w 15428"/>
                <a:gd name="connsiteY2" fmla="*/ 430 h 7714"/>
                <a:gd name="connsiteX3" fmla="*/ 15802 w 15428"/>
                <a:gd name="connsiteY3" fmla="*/ 9371 h 7714"/>
                <a:gd name="connsiteX4" fmla="*/ 15905 w 15428"/>
                <a:gd name="connsiteY4" fmla="*/ 9337 h 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28" h="7714">
                  <a:moveTo>
                    <a:pt x="15905" y="9337"/>
                  </a:moveTo>
                  <a:cubicBezTo>
                    <a:pt x="10815" y="6242"/>
                    <a:pt x="5691" y="3147"/>
                    <a:pt x="533" y="258"/>
                  </a:cubicBezTo>
                  <a:lnTo>
                    <a:pt x="258" y="430"/>
                  </a:lnTo>
                  <a:lnTo>
                    <a:pt x="15802" y="9371"/>
                  </a:lnTo>
                  <a:lnTo>
                    <a:pt x="15905" y="9337"/>
                  </a:lnTo>
                </a:path>
              </a:pathLst>
            </a:custGeom>
            <a:solidFill>
              <a:srgbClr val="969A9E"/>
            </a:solidFill>
            <a:ln w="127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3" name="Freeform: Shape 382">
              <a:extLst>
                <a:ext uri="{FF2B5EF4-FFF2-40B4-BE49-F238E27FC236}">
                  <a16:creationId xmlns:a16="http://schemas.microsoft.com/office/drawing/2014/main" id="{04474CD3-B612-4741-A6C3-711BA6DFCD4A}"/>
                </a:ext>
              </a:extLst>
            </p:cNvPr>
            <p:cNvSpPr/>
            <p:nvPr/>
          </p:nvSpPr>
          <p:spPr>
            <a:xfrm>
              <a:off x="6644503" y="1323172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4" name="Freeform: Shape 383">
              <a:extLst>
                <a:ext uri="{FF2B5EF4-FFF2-40B4-BE49-F238E27FC236}">
                  <a16:creationId xmlns:a16="http://schemas.microsoft.com/office/drawing/2014/main" id="{6661AC70-550C-4C5A-88D0-4ADE9862BABA}"/>
                </a:ext>
              </a:extLst>
            </p:cNvPr>
            <p:cNvSpPr/>
            <p:nvPr/>
          </p:nvSpPr>
          <p:spPr>
            <a:xfrm>
              <a:off x="6667097" y="1296360"/>
              <a:ext cx="30857" cy="18000"/>
            </a:xfrm>
            <a:custGeom>
              <a:avLst/>
              <a:gdLst>
                <a:gd name="connsiteX0" fmla="*/ 15789 w 30857"/>
                <a:gd name="connsiteY0" fmla="*/ 257 h 18000"/>
                <a:gd name="connsiteX1" fmla="*/ 257 w 30857"/>
                <a:gd name="connsiteY1" fmla="*/ 9206 h 18000"/>
                <a:gd name="connsiteX2" fmla="*/ 15789 w 30857"/>
                <a:gd name="connsiteY2" fmla="*/ 18189 h 18000"/>
                <a:gd name="connsiteX3" fmla="*/ 31320 w 30857"/>
                <a:gd name="connsiteY3" fmla="*/ 9206 h 18000"/>
                <a:gd name="connsiteX4" fmla="*/ 15789 w 30857"/>
                <a:gd name="connsiteY4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89" y="257"/>
                  </a:move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5" name="Freeform: Shape 384">
              <a:extLst>
                <a:ext uri="{FF2B5EF4-FFF2-40B4-BE49-F238E27FC236}">
                  <a16:creationId xmlns:a16="http://schemas.microsoft.com/office/drawing/2014/main" id="{EAD0DCFF-9E1C-4D07-B3E9-AC0C8AB16767}"/>
                </a:ext>
              </a:extLst>
            </p:cNvPr>
            <p:cNvSpPr/>
            <p:nvPr/>
          </p:nvSpPr>
          <p:spPr>
            <a:xfrm>
              <a:off x="6667097" y="1350017"/>
              <a:ext cx="18000" cy="10286"/>
            </a:xfrm>
            <a:custGeom>
              <a:avLst/>
              <a:gdLst>
                <a:gd name="connsiteX0" fmla="*/ 15789 w 18000"/>
                <a:gd name="connsiteY0" fmla="*/ 257 h 10285"/>
                <a:gd name="connsiteX1" fmla="*/ 257 w 18000"/>
                <a:gd name="connsiteY1" fmla="*/ 9206 h 10285"/>
                <a:gd name="connsiteX2" fmla="*/ 257 w 18000"/>
                <a:gd name="connsiteY2" fmla="*/ 9240 h 10285"/>
                <a:gd name="connsiteX3" fmla="*/ 4269 w 18000"/>
                <a:gd name="connsiteY3" fmla="*/ 11537 h 10285"/>
                <a:gd name="connsiteX4" fmla="*/ 18737 w 18000"/>
                <a:gd name="connsiteY4" fmla="*/ 1937 h 10285"/>
                <a:gd name="connsiteX5" fmla="*/ 15789 w 18000"/>
                <a:gd name="connsiteY5" fmla="*/ 257 h 1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00" h="10285">
                  <a:moveTo>
                    <a:pt x="15789" y="257"/>
                  </a:moveTo>
                  <a:lnTo>
                    <a:pt x="257" y="9206"/>
                  </a:lnTo>
                  <a:lnTo>
                    <a:pt x="257" y="9240"/>
                  </a:lnTo>
                  <a:lnTo>
                    <a:pt x="4269" y="11537"/>
                  </a:lnTo>
                  <a:cubicBezTo>
                    <a:pt x="9069" y="8349"/>
                    <a:pt x="13903" y="5160"/>
                    <a:pt x="18737" y="1937"/>
                  </a:cubicBez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6" name="Freeform: Shape 385">
              <a:extLst>
                <a:ext uri="{FF2B5EF4-FFF2-40B4-BE49-F238E27FC236}">
                  <a16:creationId xmlns:a16="http://schemas.microsoft.com/office/drawing/2014/main" id="{898433B9-39B9-4CFE-A295-B825A249949C}"/>
                </a:ext>
              </a:extLst>
            </p:cNvPr>
            <p:cNvSpPr/>
            <p:nvPr/>
          </p:nvSpPr>
          <p:spPr>
            <a:xfrm>
              <a:off x="6644503" y="1591526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7" name="Freeform: Shape 386">
              <a:extLst>
                <a:ext uri="{FF2B5EF4-FFF2-40B4-BE49-F238E27FC236}">
                  <a16:creationId xmlns:a16="http://schemas.microsoft.com/office/drawing/2014/main" id="{DF4C5817-4B10-4E4B-972C-685D67292377}"/>
                </a:ext>
              </a:extLst>
            </p:cNvPr>
            <p:cNvSpPr/>
            <p:nvPr/>
          </p:nvSpPr>
          <p:spPr>
            <a:xfrm>
              <a:off x="6644503" y="1645183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8" name="Freeform: Shape 387">
              <a:extLst>
                <a:ext uri="{FF2B5EF4-FFF2-40B4-BE49-F238E27FC236}">
                  <a16:creationId xmlns:a16="http://schemas.microsoft.com/office/drawing/2014/main" id="{5B460DCA-6A92-4146-B3D8-63662A738B67}"/>
                </a:ext>
              </a:extLst>
            </p:cNvPr>
            <p:cNvSpPr/>
            <p:nvPr/>
          </p:nvSpPr>
          <p:spPr>
            <a:xfrm>
              <a:off x="6667097" y="1618337"/>
              <a:ext cx="30857" cy="18000"/>
            </a:xfrm>
            <a:custGeom>
              <a:avLst/>
              <a:gdLst>
                <a:gd name="connsiteX0" fmla="*/ 15789 w 30857"/>
                <a:gd name="connsiteY0" fmla="*/ 257 h 18000"/>
                <a:gd name="connsiteX1" fmla="*/ 8040 w 30857"/>
                <a:gd name="connsiteY1" fmla="*/ 4748 h 18000"/>
                <a:gd name="connsiteX2" fmla="*/ 257 w 30857"/>
                <a:gd name="connsiteY2" fmla="*/ 9240 h 18000"/>
                <a:gd name="connsiteX3" fmla="*/ 257 w 30857"/>
                <a:gd name="connsiteY3" fmla="*/ 9240 h 18000"/>
                <a:gd name="connsiteX4" fmla="*/ 15789 w 30857"/>
                <a:gd name="connsiteY4" fmla="*/ 18223 h 18000"/>
                <a:gd name="connsiteX5" fmla="*/ 31320 w 30857"/>
                <a:gd name="connsiteY5" fmla="*/ 9240 h 18000"/>
                <a:gd name="connsiteX6" fmla="*/ 15789 w 30857"/>
                <a:gd name="connsiteY6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8000">
                  <a:moveTo>
                    <a:pt x="15789" y="257"/>
                  </a:moveTo>
                  <a:lnTo>
                    <a:pt x="8040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9" name="Freeform: Shape 388">
              <a:extLst>
                <a:ext uri="{FF2B5EF4-FFF2-40B4-BE49-F238E27FC236}">
                  <a16:creationId xmlns:a16="http://schemas.microsoft.com/office/drawing/2014/main" id="{BD0CA7DE-F95C-4117-B17B-1C048EAC7398}"/>
                </a:ext>
              </a:extLst>
            </p:cNvPr>
            <p:cNvSpPr/>
            <p:nvPr/>
          </p:nvSpPr>
          <p:spPr>
            <a:xfrm>
              <a:off x="6644503" y="1698840"/>
              <a:ext cx="30857" cy="15429"/>
            </a:xfrm>
            <a:custGeom>
              <a:avLst/>
              <a:gdLst>
                <a:gd name="connsiteX0" fmla="*/ 24600 w 30857"/>
                <a:gd name="connsiteY0" fmla="*/ 13114 h 15428"/>
                <a:gd name="connsiteX1" fmla="*/ 31320 w 30857"/>
                <a:gd name="connsiteY1" fmla="*/ 9240 h 15428"/>
                <a:gd name="connsiteX2" fmla="*/ 15789 w 30857"/>
                <a:gd name="connsiteY2" fmla="*/ 257 h 15428"/>
                <a:gd name="connsiteX3" fmla="*/ 257 w 30857"/>
                <a:gd name="connsiteY3" fmla="*/ 9240 h 15428"/>
                <a:gd name="connsiteX4" fmla="*/ 12909 w 30857"/>
                <a:gd name="connsiteY4" fmla="*/ 16543 h 15428"/>
                <a:gd name="connsiteX5" fmla="*/ 24600 w 30857"/>
                <a:gd name="connsiteY5" fmla="*/ 13114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57" h="15428">
                  <a:moveTo>
                    <a:pt x="24600" y="13114"/>
                  </a:move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  <a:lnTo>
                    <a:pt x="12909" y="16543"/>
                  </a:lnTo>
                  <a:cubicBezTo>
                    <a:pt x="16886" y="15548"/>
                    <a:pt x="20794" y="14417"/>
                    <a:pt x="24600" y="13114"/>
                  </a:cubicBez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0" name="Freeform: Shape 389">
              <a:extLst>
                <a:ext uri="{FF2B5EF4-FFF2-40B4-BE49-F238E27FC236}">
                  <a16:creationId xmlns:a16="http://schemas.microsoft.com/office/drawing/2014/main" id="{DD61874A-4F2E-4236-A64F-6C279069C544}"/>
                </a:ext>
              </a:extLst>
            </p:cNvPr>
            <p:cNvSpPr/>
            <p:nvPr/>
          </p:nvSpPr>
          <p:spPr>
            <a:xfrm>
              <a:off x="6667097" y="1672029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257 w 30857"/>
                <a:gd name="connsiteY1" fmla="*/ 9206 h 18000"/>
                <a:gd name="connsiteX2" fmla="*/ 15789 w 30857"/>
                <a:gd name="connsiteY2" fmla="*/ 18189 h 18000"/>
                <a:gd name="connsiteX3" fmla="*/ 31320 w 30857"/>
                <a:gd name="connsiteY3" fmla="*/ 9206 h 18000"/>
                <a:gd name="connsiteX4" fmla="*/ 15789 w 30857"/>
                <a:gd name="connsiteY4" fmla="*/ 257 h 18000"/>
                <a:gd name="connsiteX5" fmla="*/ 257 w 30857"/>
                <a:gd name="connsiteY5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1" name="Freeform: Shape 390">
              <a:extLst>
                <a:ext uri="{FF2B5EF4-FFF2-40B4-BE49-F238E27FC236}">
                  <a16:creationId xmlns:a16="http://schemas.microsoft.com/office/drawing/2014/main" id="{09F207E3-8F91-4E27-97CB-D273236167D5}"/>
                </a:ext>
              </a:extLst>
            </p:cNvPr>
            <p:cNvSpPr/>
            <p:nvPr/>
          </p:nvSpPr>
          <p:spPr>
            <a:xfrm>
              <a:off x="6599322" y="1221871"/>
              <a:ext cx="23143" cy="10286"/>
            </a:xfrm>
            <a:custGeom>
              <a:avLst/>
              <a:gdLst>
                <a:gd name="connsiteX0" fmla="*/ 23456 w 23142"/>
                <a:gd name="connsiteY0" fmla="*/ 7726 h 10285"/>
                <a:gd name="connsiteX1" fmla="*/ 5341 w 23142"/>
                <a:gd name="connsiteY1" fmla="*/ 259 h 10285"/>
                <a:gd name="connsiteX2" fmla="*/ 259 w 23142"/>
                <a:gd name="connsiteY2" fmla="*/ 3198 h 10285"/>
                <a:gd name="connsiteX3" fmla="*/ 15782 w 23142"/>
                <a:gd name="connsiteY3" fmla="*/ 12152 h 10285"/>
                <a:gd name="connsiteX4" fmla="*/ 23456 w 23142"/>
                <a:gd name="connsiteY4" fmla="*/ 7726 h 1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42" h="10285">
                  <a:moveTo>
                    <a:pt x="23456" y="7726"/>
                  </a:moveTo>
                  <a:cubicBezTo>
                    <a:pt x="17475" y="5134"/>
                    <a:pt x="11426" y="2610"/>
                    <a:pt x="5341" y="259"/>
                  </a:cubicBezTo>
                  <a:lnTo>
                    <a:pt x="259" y="3198"/>
                  </a:lnTo>
                  <a:lnTo>
                    <a:pt x="15782" y="12152"/>
                  </a:lnTo>
                  <a:lnTo>
                    <a:pt x="23456" y="7726"/>
                  </a:lnTo>
                </a:path>
              </a:pathLst>
            </a:custGeom>
            <a:solidFill>
              <a:srgbClr val="969A9E"/>
            </a:solidFill>
            <a:ln w="128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2" name="Freeform: Shape 391">
              <a:extLst>
                <a:ext uri="{FF2B5EF4-FFF2-40B4-BE49-F238E27FC236}">
                  <a16:creationId xmlns:a16="http://schemas.microsoft.com/office/drawing/2014/main" id="{CC9E5305-6773-4DFC-B0AC-B5E78E2E9AC9}"/>
                </a:ext>
              </a:extLst>
            </p:cNvPr>
            <p:cNvSpPr/>
            <p:nvPr/>
          </p:nvSpPr>
          <p:spPr>
            <a:xfrm>
              <a:off x="6599314" y="1269515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3" name="Freeform: Shape 392">
              <a:extLst>
                <a:ext uri="{FF2B5EF4-FFF2-40B4-BE49-F238E27FC236}">
                  <a16:creationId xmlns:a16="http://schemas.microsoft.com/office/drawing/2014/main" id="{2CCEF241-153C-4576-A7F9-DB8E01A154B8}"/>
                </a:ext>
              </a:extLst>
            </p:cNvPr>
            <p:cNvSpPr/>
            <p:nvPr/>
          </p:nvSpPr>
          <p:spPr>
            <a:xfrm>
              <a:off x="6621910" y="1242662"/>
              <a:ext cx="30857" cy="18000"/>
            </a:xfrm>
            <a:custGeom>
              <a:avLst/>
              <a:gdLst>
                <a:gd name="connsiteX0" fmla="*/ 15792 w 30857"/>
                <a:gd name="connsiteY0" fmla="*/ 18203 h 18000"/>
                <a:gd name="connsiteX1" fmla="*/ 31326 w 30857"/>
                <a:gd name="connsiteY1" fmla="*/ 9214 h 18000"/>
                <a:gd name="connsiteX2" fmla="*/ 15792 w 30857"/>
                <a:gd name="connsiteY2" fmla="*/ 258 h 18000"/>
                <a:gd name="connsiteX3" fmla="*/ 258 w 30857"/>
                <a:gd name="connsiteY3" fmla="*/ 9214 h 18000"/>
                <a:gd name="connsiteX4" fmla="*/ 15792 w 30857"/>
                <a:gd name="connsiteY4" fmla="*/ 1820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92" y="18203"/>
                  </a:moveTo>
                  <a:lnTo>
                    <a:pt x="31326" y="9214"/>
                  </a:lnTo>
                  <a:lnTo>
                    <a:pt x="15792" y="258"/>
                  </a:lnTo>
                  <a:lnTo>
                    <a:pt x="258" y="9214"/>
                  </a:lnTo>
                  <a:lnTo>
                    <a:pt x="15792" y="18203"/>
                  </a:lnTo>
                </a:path>
              </a:pathLst>
            </a:custGeom>
            <a:solidFill>
              <a:srgbClr val="969A9E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4" name="Freeform: Shape 393">
              <a:extLst>
                <a:ext uri="{FF2B5EF4-FFF2-40B4-BE49-F238E27FC236}">
                  <a16:creationId xmlns:a16="http://schemas.microsoft.com/office/drawing/2014/main" id="{2CC6AC43-753A-4339-A0D4-B0EBCFE83476}"/>
                </a:ext>
              </a:extLst>
            </p:cNvPr>
            <p:cNvSpPr/>
            <p:nvPr/>
          </p:nvSpPr>
          <p:spPr>
            <a:xfrm>
              <a:off x="6621909" y="1350017"/>
              <a:ext cx="30857" cy="18000"/>
            </a:xfrm>
            <a:custGeom>
              <a:avLst/>
              <a:gdLst>
                <a:gd name="connsiteX0" fmla="*/ 15789 w 30857"/>
                <a:gd name="connsiteY0" fmla="*/ 257 h 18000"/>
                <a:gd name="connsiteX1" fmla="*/ 257 w 30857"/>
                <a:gd name="connsiteY1" fmla="*/ 9206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20 w 30857"/>
                <a:gd name="connsiteY4" fmla="*/ 9240 h 18000"/>
                <a:gd name="connsiteX5" fmla="*/ 31320 w 30857"/>
                <a:gd name="connsiteY5" fmla="*/ 9206 h 18000"/>
                <a:gd name="connsiteX6" fmla="*/ 31320 w 30857"/>
                <a:gd name="connsiteY6" fmla="*/ 9206 h 18000"/>
                <a:gd name="connsiteX7" fmla="*/ 15789 w 30857"/>
                <a:gd name="connsiteY7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15789" y="257"/>
                  </a:moveTo>
                  <a:lnTo>
                    <a:pt x="257" y="9206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  <a:lnTo>
                    <a:pt x="31320" y="9206"/>
                  </a:lnTo>
                  <a:lnTo>
                    <a:pt x="31320" y="9206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5" name="Freeform: Shape 394">
              <a:extLst>
                <a:ext uri="{FF2B5EF4-FFF2-40B4-BE49-F238E27FC236}">
                  <a16:creationId xmlns:a16="http://schemas.microsoft.com/office/drawing/2014/main" id="{E15A9AC9-B762-46C8-B151-8B9407D99CA0}"/>
                </a:ext>
              </a:extLst>
            </p:cNvPr>
            <p:cNvSpPr/>
            <p:nvPr/>
          </p:nvSpPr>
          <p:spPr>
            <a:xfrm>
              <a:off x="6599314" y="1323172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6" name="Freeform: Shape 395">
              <a:extLst>
                <a:ext uri="{FF2B5EF4-FFF2-40B4-BE49-F238E27FC236}">
                  <a16:creationId xmlns:a16="http://schemas.microsoft.com/office/drawing/2014/main" id="{0E4A736E-E178-4392-8211-A16B3DC9AE79}"/>
                </a:ext>
              </a:extLst>
            </p:cNvPr>
            <p:cNvSpPr/>
            <p:nvPr/>
          </p:nvSpPr>
          <p:spPr>
            <a:xfrm>
              <a:off x="6621909" y="1296360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7" name="Freeform: Shape 396">
              <a:extLst>
                <a:ext uri="{FF2B5EF4-FFF2-40B4-BE49-F238E27FC236}">
                  <a16:creationId xmlns:a16="http://schemas.microsoft.com/office/drawing/2014/main" id="{7BDDD2DC-BB63-452E-A60F-9E4453616E27}"/>
                </a:ext>
              </a:extLst>
            </p:cNvPr>
            <p:cNvSpPr/>
            <p:nvPr/>
          </p:nvSpPr>
          <p:spPr>
            <a:xfrm>
              <a:off x="6599314" y="1376863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8" name="Freeform: Shape 397">
              <a:extLst>
                <a:ext uri="{FF2B5EF4-FFF2-40B4-BE49-F238E27FC236}">
                  <a16:creationId xmlns:a16="http://schemas.microsoft.com/office/drawing/2014/main" id="{510F3C9C-D637-4D1A-9BB1-4B44D388A92E}"/>
                </a:ext>
              </a:extLst>
            </p:cNvPr>
            <p:cNvSpPr/>
            <p:nvPr/>
          </p:nvSpPr>
          <p:spPr>
            <a:xfrm>
              <a:off x="6599314" y="1591526"/>
              <a:ext cx="30857" cy="18000"/>
            </a:xfrm>
            <a:custGeom>
              <a:avLst/>
              <a:gdLst>
                <a:gd name="connsiteX0" fmla="*/ 31320 w 30857"/>
                <a:gd name="connsiteY0" fmla="*/ 9206 h 18000"/>
                <a:gd name="connsiteX1" fmla="*/ 15789 w 30857"/>
                <a:gd name="connsiteY1" fmla="*/ 257 h 18000"/>
                <a:gd name="connsiteX2" fmla="*/ 257 w 30857"/>
                <a:gd name="connsiteY2" fmla="*/ 9206 h 18000"/>
                <a:gd name="connsiteX3" fmla="*/ 15789 w 30857"/>
                <a:gd name="connsiteY3" fmla="*/ 18189 h 18000"/>
                <a:gd name="connsiteX4" fmla="*/ 31320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06"/>
                  </a:moveTo>
                  <a:lnTo>
                    <a:pt x="15789" y="257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9" name="Freeform: Shape 398">
              <a:extLst>
                <a:ext uri="{FF2B5EF4-FFF2-40B4-BE49-F238E27FC236}">
                  <a16:creationId xmlns:a16="http://schemas.microsoft.com/office/drawing/2014/main" id="{A3CED064-F339-421A-B47A-31BE5A696E7A}"/>
                </a:ext>
              </a:extLst>
            </p:cNvPr>
            <p:cNvSpPr/>
            <p:nvPr/>
          </p:nvSpPr>
          <p:spPr>
            <a:xfrm>
              <a:off x="6630171" y="1578429"/>
              <a:ext cx="12857" cy="2571"/>
            </a:xfrm>
            <a:custGeom>
              <a:avLst/>
              <a:gdLst>
                <a:gd name="connsiteX0" fmla="*/ 13252 w 12857"/>
                <a:gd name="connsiteY0" fmla="*/ 1148 h 2571"/>
                <a:gd name="connsiteX1" fmla="*/ 257 w 12857"/>
                <a:gd name="connsiteY1" fmla="*/ 257 h 2571"/>
                <a:gd name="connsiteX2" fmla="*/ 7526 w 12857"/>
                <a:gd name="connsiteY2" fmla="*/ 4440 h 2571"/>
                <a:gd name="connsiteX3" fmla="*/ 13252 w 12857"/>
                <a:gd name="connsiteY3" fmla="*/ 1148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57" h="2571">
                  <a:moveTo>
                    <a:pt x="13252" y="1148"/>
                  </a:moveTo>
                  <a:cubicBezTo>
                    <a:pt x="8897" y="771"/>
                    <a:pt x="4543" y="463"/>
                    <a:pt x="257" y="257"/>
                  </a:cubicBezTo>
                  <a:lnTo>
                    <a:pt x="7526" y="4440"/>
                  </a:lnTo>
                  <a:lnTo>
                    <a:pt x="13252" y="11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0" name="Freeform: Shape 399">
              <a:extLst>
                <a:ext uri="{FF2B5EF4-FFF2-40B4-BE49-F238E27FC236}">
                  <a16:creationId xmlns:a16="http://schemas.microsoft.com/office/drawing/2014/main" id="{39DA5EBB-60BE-47B9-B4F3-DADD776C5797}"/>
                </a:ext>
              </a:extLst>
            </p:cNvPr>
            <p:cNvSpPr/>
            <p:nvPr/>
          </p:nvSpPr>
          <p:spPr>
            <a:xfrm>
              <a:off x="6599314" y="1645183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1" name="Freeform: Shape 400">
              <a:extLst>
                <a:ext uri="{FF2B5EF4-FFF2-40B4-BE49-F238E27FC236}">
                  <a16:creationId xmlns:a16="http://schemas.microsoft.com/office/drawing/2014/main" id="{729C5113-2D55-43D1-8EB2-33BB409CD0F7}"/>
                </a:ext>
              </a:extLst>
            </p:cNvPr>
            <p:cNvSpPr/>
            <p:nvPr/>
          </p:nvSpPr>
          <p:spPr>
            <a:xfrm>
              <a:off x="6621909" y="1618337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8040 w 30857"/>
                <a:gd name="connsiteY2" fmla="*/ 4748 h 18000"/>
                <a:gd name="connsiteX3" fmla="*/ 257 w 30857"/>
                <a:gd name="connsiteY3" fmla="*/ 9240 h 18000"/>
                <a:gd name="connsiteX4" fmla="*/ 257 w 30857"/>
                <a:gd name="connsiteY4" fmla="*/ 9240 h 18000"/>
                <a:gd name="connsiteX5" fmla="*/ 15789 w 30857"/>
                <a:gd name="connsiteY5" fmla="*/ 18223 h 18000"/>
                <a:gd name="connsiteX6" fmla="*/ 31320 w 30857"/>
                <a:gd name="connsiteY6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8040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2" name="Freeform: Shape 401">
              <a:extLst>
                <a:ext uri="{FF2B5EF4-FFF2-40B4-BE49-F238E27FC236}">
                  <a16:creationId xmlns:a16="http://schemas.microsoft.com/office/drawing/2014/main" id="{B9313C0B-BF67-483B-8ADE-120A9C84E563}"/>
                </a:ext>
              </a:extLst>
            </p:cNvPr>
            <p:cNvSpPr/>
            <p:nvPr/>
          </p:nvSpPr>
          <p:spPr>
            <a:xfrm>
              <a:off x="6599314" y="1698840"/>
              <a:ext cx="30857" cy="18000"/>
            </a:xfrm>
            <a:custGeom>
              <a:avLst/>
              <a:gdLst>
                <a:gd name="connsiteX0" fmla="*/ 15789 w 30857"/>
                <a:gd name="connsiteY0" fmla="*/ 257 h 18000"/>
                <a:gd name="connsiteX1" fmla="*/ 257 w 30857"/>
                <a:gd name="connsiteY1" fmla="*/ 9240 h 18000"/>
                <a:gd name="connsiteX2" fmla="*/ 15789 w 30857"/>
                <a:gd name="connsiteY2" fmla="*/ 18223 h 18000"/>
                <a:gd name="connsiteX3" fmla="*/ 31320 w 30857"/>
                <a:gd name="connsiteY3" fmla="*/ 9240 h 18000"/>
                <a:gd name="connsiteX4" fmla="*/ 15789 w 30857"/>
                <a:gd name="connsiteY4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89" y="257"/>
                  </a:move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3" name="Freeform: Shape 402">
              <a:extLst>
                <a:ext uri="{FF2B5EF4-FFF2-40B4-BE49-F238E27FC236}">
                  <a16:creationId xmlns:a16="http://schemas.microsoft.com/office/drawing/2014/main" id="{DD9D2AC5-DE2E-48FC-BBC5-8AFF2D64E167}"/>
                </a:ext>
              </a:extLst>
            </p:cNvPr>
            <p:cNvSpPr/>
            <p:nvPr/>
          </p:nvSpPr>
          <p:spPr>
            <a:xfrm>
              <a:off x="6621909" y="1672029"/>
              <a:ext cx="30857" cy="18000"/>
            </a:xfrm>
            <a:custGeom>
              <a:avLst/>
              <a:gdLst>
                <a:gd name="connsiteX0" fmla="*/ 31320 w 30857"/>
                <a:gd name="connsiteY0" fmla="*/ 9206 h 18000"/>
                <a:gd name="connsiteX1" fmla="*/ 15789 w 30857"/>
                <a:gd name="connsiteY1" fmla="*/ 257 h 18000"/>
                <a:gd name="connsiteX2" fmla="*/ 257 w 30857"/>
                <a:gd name="connsiteY2" fmla="*/ 9206 h 18000"/>
                <a:gd name="connsiteX3" fmla="*/ 257 w 30857"/>
                <a:gd name="connsiteY3" fmla="*/ 9206 h 18000"/>
                <a:gd name="connsiteX4" fmla="*/ 15789 w 30857"/>
                <a:gd name="connsiteY4" fmla="*/ 18189 h 18000"/>
                <a:gd name="connsiteX5" fmla="*/ 31320 w 30857"/>
                <a:gd name="connsiteY5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57" h="18000">
                  <a:moveTo>
                    <a:pt x="31320" y="9206"/>
                  </a:moveTo>
                  <a:lnTo>
                    <a:pt x="15789" y="257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4" name="Freeform: Shape 403">
              <a:extLst>
                <a:ext uri="{FF2B5EF4-FFF2-40B4-BE49-F238E27FC236}">
                  <a16:creationId xmlns:a16="http://schemas.microsoft.com/office/drawing/2014/main" id="{C8110898-D6B9-4465-834A-09A962BC4FCD}"/>
                </a:ext>
              </a:extLst>
            </p:cNvPr>
            <p:cNvSpPr/>
            <p:nvPr/>
          </p:nvSpPr>
          <p:spPr>
            <a:xfrm>
              <a:off x="6554115" y="1215835"/>
              <a:ext cx="30857" cy="18000"/>
            </a:xfrm>
            <a:custGeom>
              <a:avLst/>
              <a:gdLst>
                <a:gd name="connsiteX0" fmla="*/ 31337 w 30857"/>
                <a:gd name="connsiteY0" fmla="*/ 9223 h 18000"/>
                <a:gd name="connsiteX1" fmla="*/ 15798 w 30857"/>
                <a:gd name="connsiteY1" fmla="*/ 260 h 18000"/>
                <a:gd name="connsiteX2" fmla="*/ 260 w 30857"/>
                <a:gd name="connsiteY2" fmla="*/ 9223 h 18000"/>
                <a:gd name="connsiteX3" fmla="*/ 15798 w 30857"/>
                <a:gd name="connsiteY3" fmla="*/ 18186 h 18000"/>
                <a:gd name="connsiteX4" fmla="*/ 31337 w 30857"/>
                <a:gd name="connsiteY4" fmla="*/ 922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37" y="9223"/>
                  </a:moveTo>
                  <a:lnTo>
                    <a:pt x="15798" y="260"/>
                  </a:lnTo>
                  <a:lnTo>
                    <a:pt x="260" y="9223"/>
                  </a:lnTo>
                  <a:lnTo>
                    <a:pt x="15798" y="18186"/>
                  </a:lnTo>
                  <a:lnTo>
                    <a:pt x="31337" y="9223"/>
                  </a:lnTo>
                </a:path>
              </a:pathLst>
            </a:custGeom>
            <a:solidFill>
              <a:srgbClr val="969A9E"/>
            </a:solidFill>
            <a:ln w="12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5" name="Freeform: Shape 404">
              <a:extLst>
                <a:ext uri="{FF2B5EF4-FFF2-40B4-BE49-F238E27FC236}">
                  <a16:creationId xmlns:a16="http://schemas.microsoft.com/office/drawing/2014/main" id="{AA2EF46F-7AA0-4AB7-8DFB-3ED7C3946C71}"/>
                </a:ext>
              </a:extLst>
            </p:cNvPr>
            <p:cNvSpPr/>
            <p:nvPr/>
          </p:nvSpPr>
          <p:spPr>
            <a:xfrm>
              <a:off x="6554126" y="1269515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6" name="Freeform: Shape 405">
              <a:extLst>
                <a:ext uri="{FF2B5EF4-FFF2-40B4-BE49-F238E27FC236}">
                  <a16:creationId xmlns:a16="http://schemas.microsoft.com/office/drawing/2014/main" id="{E8B918FC-03C7-400C-8FC4-79BE1C84D924}"/>
                </a:ext>
              </a:extLst>
            </p:cNvPr>
            <p:cNvSpPr/>
            <p:nvPr/>
          </p:nvSpPr>
          <p:spPr>
            <a:xfrm>
              <a:off x="6576721" y="1242662"/>
              <a:ext cx="30857" cy="18000"/>
            </a:xfrm>
            <a:custGeom>
              <a:avLst/>
              <a:gdLst>
                <a:gd name="connsiteX0" fmla="*/ 15792 w 30857"/>
                <a:gd name="connsiteY0" fmla="*/ 18203 h 18000"/>
                <a:gd name="connsiteX1" fmla="*/ 31326 w 30857"/>
                <a:gd name="connsiteY1" fmla="*/ 9214 h 18000"/>
                <a:gd name="connsiteX2" fmla="*/ 15792 w 30857"/>
                <a:gd name="connsiteY2" fmla="*/ 258 h 18000"/>
                <a:gd name="connsiteX3" fmla="*/ 258 w 30857"/>
                <a:gd name="connsiteY3" fmla="*/ 9214 h 18000"/>
                <a:gd name="connsiteX4" fmla="*/ 15792 w 30857"/>
                <a:gd name="connsiteY4" fmla="*/ 1820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92" y="18203"/>
                  </a:moveTo>
                  <a:lnTo>
                    <a:pt x="31326" y="9214"/>
                  </a:lnTo>
                  <a:lnTo>
                    <a:pt x="15792" y="258"/>
                  </a:lnTo>
                  <a:lnTo>
                    <a:pt x="258" y="9214"/>
                  </a:lnTo>
                  <a:lnTo>
                    <a:pt x="15792" y="18203"/>
                  </a:lnTo>
                </a:path>
              </a:pathLst>
            </a:custGeom>
            <a:solidFill>
              <a:srgbClr val="969A9E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7" name="Freeform: Shape 406">
              <a:extLst>
                <a:ext uri="{FF2B5EF4-FFF2-40B4-BE49-F238E27FC236}">
                  <a16:creationId xmlns:a16="http://schemas.microsoft.com/office/drawing/2014/main" id="{21A52595-C95B-4D45-9DE6-0EF3222FE4AE}"/>
                </a:ext>
              </a:extLst>
            </p:cNvPr>
            <p:cNvSpPr/>
            <p:nvPr/>
          </p:nvSpPr>
          <p:spPr>
            <a:xfrm>
              <a:off x="6576720" y="1350017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257 w 30857"/>
                <a:gd name="connsiteY1" fmla="*/ 9206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20 w 30857"/>
                <a:gd name="connsiteY4" fmla="*/ 9240 h 18000"/>
                <a:gd name="connsiteX5" fmla="*/ 31320 w 30857"/>
                <a:gd name="connsiteY5" fmla="*/ 9206 h 18000"/>
                <a:gd name="connsiteX6" fmla="*/ 31320 w 30857"/>
                <a:gd name="connsiteY6" fmla="*/ 9206 h 18000"/>
                <a:gd name="connsiteX7" fmla="*/ 15789 w 30857"/>
                <a:gd name="connsiteY7" fmla="*/ 257 h 18000"/>
                <a:gd name="connsiteX8" fmla="*/ 257 w 30857"/>
                <a:gd name="connsiteY8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257" y="9206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  <a:lnTo>
                    <a:pt x="31320" y="9206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8" name="Freeform: Shape 407">
              <a:extLst>
                <a:ext uri="{FF2B5EF4-FFF2-40B4-BE49-F238E27FC236}">
                  <a16:creationId xmlns:a16="http://schemas.microsoft.com/office/drawing/2014/main" id="{28EA22F0-4E6A-4716-B04A-71F6715B472D}"/>
                </a:ext>
              </a:extLst>
            </p:cNvPr>
            <p:cNvSpPr/>
            <p:nvPr/>
          </p:nvSpPr>
          <p:spPr>
            <a:xfrm>
              <a:off x="6554126" y="1323172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9" name="Freeform: Shape 408">
              <a:extLst>
                <a:ext uri="{FF2B5EF4-FFF2-40B4-BE49-F238E27FC236}">
                  <a16:creationId xmlns:a16="http://schemas.microsoft.com/office/drawing/2014/main" id="{2BCDC4DB-45AD-4C66-8831-FBA6FC8546CE}"/>
                </a:ext>
              </a:extLst>
            </p:cNvPr>
            <p:cNvSpPr/>
            <p:nvPr/>
          </p:nvSpPr>
          <p:spPr>
            <a:xfrm>
              <a:off x="6576720" y="1296360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0" name="Freeform: Shape 409">
              <a:extLst>
                <a:ext uri="{FF2B5EF4-FFF2-40B4-BE49-F238E27FC236}">
                  <a16:creationId xmlns:a16="http://schemas.microsoft.com/office/drawing/2014/main" id="{F16FD0C9-D9F2-4B27-A128-3ED82E9FFB7C}"/>
                </a:ext>
              </a:extLst>
            </p:cNvPr>
            <p:cNvSpPr/>
            <p:nvPr/>
          </p:nvSpPr>
          <p:spPr>
            <a:xfrm>
              <a:off x="6554126" y="1376863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1" name="Freeform: Shape 410">
              <a:extLst>
                <a:ext uri="{FF2B5EF4-FFF2-40B4-BE49-F238E27FC236}">
                  <a16:creationId xmlns:a16="http://schemas.microsoft.com/office/drawing/2014/main" id="{899BF884-B44B-49B8-B6DA-03D34657478E}"/>
                </a:ext>
              </a:extLst>
            </p:cNvPr>
            <p:cNvSpPr/>
            <p:nvPr/>
          </p:nvSpPr>
          <p:spPr>
            <a:xfrm>
              <a:off x="6576720" y="1403674"/>
              <a:ext cx="23143" cy="12857"/>
            </a:xfrm>
            <a:custGeom>
              <a:avLst/>
              <a:gdLst>
                <a:gd name="connsiteX0" fmla="*/ 8006 w 23142"/>
                <a:gd name="connsiteY0" fmla="*/ 4749 h 12857"/>
                <a:gd name="connsiteX1" fmla="*/ 257 w 23142"/>
                <a:gd name="connsiteY1" fmla="*/ 9240 h 12857"/>
                <a:gd name="connsiteX2" fmla="*/ 257 w 23142"/>
                <a:gd name="connsiteY2" fmla="*/ 9240 h 12857"/>
                <a:gd name="connsiteX3" fmla="*/ 257 w 23142"/>
                <a:gd name="connsiteY3" fmla="*/ 9240 h 12857"/>
                <a:gd name="connsiteX4" fmla="*/ 8246 w 23142"/>
                <a:gd name="connsiteY4" fmla="*/ 13834 h 12857"/>
                <a:gd name="connsiteX5" fmla="*/ 23092 w 23142"/>
                <a:gd name="connsiteY5" fmla="*/ 4474 h 12857"/>
                <a:gd name="connsiteX6" fmla="*/ 15789 w 23142"/>
                <a:gd name="connsiteY6" fmla="*/ 257 h 12857"/>
                <a:gd name="connsiteX7" fmla="*/ 8006 w 23142"/>
                <a:gd name="connsiteY7" fmla="*/ 4749 h 1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142" h="12857">
                  <a:moveTo>
                    <a:pt x="8006" y="4749"/>
                  </a:move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8246" y="13834"/>
                  </a:lnTo>
                  <a:cubicBezTo>
                    <a:pt x="13183" y="10714"/>
                    <a:pt x="18154" y="7629"/>
                    <a:pt x="23092" y="4474"/>
                  </a:cubicBezTo>
                  <a:lnTo>
                    <a:pt x="15789" y="257"/>
                  </a:lnTo>
                  <a:lnTo>
                    <a:pt x="8006" y="474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2" name="Freeform: Shape 411">
              <a:extLst>
                <a:ext uri="{FF2B5EF4-FFF2-40B4-BE49-F238E27FC236}">
                  <a16:creationId xmlns:a16="http://schemas.microsoft.com/office/drawing/2014/main" id="{DC4E6334-AB53-4272-AFF9-008CE055EA40}"/>
                </a:ext>
              </a:extLst>
            </p:cNvPr>
            <p:cNvSpPr/>
            <p:nvPr/>
          </p:nvSpPr>
          <p:spPr>
            <a:xfrm>
              <a:off x="6554126" y="1591526"/>
              <a:ext cx="30857" cy="18000"/>
            </a:xfrm>
            <a:custGeom>
              <a:avLst/>
              <a:gdLst>
                <a:gd name="connsiteX0" fmla="*/ 31320 w 30857"/>
                <a:gd name="connsiteY0" fmla="*/ 9206 h 18000"/>
                <a:gd name="connsiteX1" fmla="*/ 15789 w 30857"/>
                <a:gd name="connsiteY1" fmla="*/ 257 h 18000"/>
                <a:gd name="connsiteX2" fmla="*/ 257 w 30857"/>
                <a:gd name="connsiteY2" fmla="*/ 9206 h 18000"/>
                <a:gd name="connsiteX3" fmla="*/ 15789 w 30857"/>
                <a:gd name="connsiteY3" fmla="*/ 18189 h 18000"/>
                <a:gd name="connsiteX4" fmla="*/ 31320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06"/>
                  </a:moveTo>
                  <a:lnTo>
                    <a:pt x="15789" y="257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3" name="Freeform: Shape 412">
              <a:extLst>
                <a:ext uri="{FF2B5EF4-FFF2-40B4-BE49-F238E27FC236}">
                  <a16:creationId xmlns:a16="http://schemas.microsoft.com/office/drawing/2014/main" id="{AF70D52A-79EA-4E19-87AA-18A0793BA66B}"/>
                </a:ext>
              </a:extLst>
            </p:cNvPr>
            <p:cNvSpPr/>
            <p:nvPr/>
          </p:nvSpPr>
          <p:spPr>
            <a:xfrm>
              <a:off x="6581486" y="1576406"/>
              <a:ext cx="20571" cy="5143"/>
            </a:xfrm>
            <a:custGeom>
              <a:avLst/>
              <a:gdLst>
                <a:gd name="connsiteX0" fmla="*/ 20486 w 20571"/>
                <a:gd name="connsiteY0" fmla="*/ 1011 h 5142"/>
                <a:gd name="connsiteX1" fmla="*/ 257 w 20571"/>
                <a:gd name="connsiteY1" fmla="*/ 257 h 5142"/>
                <a:gd name="connsiteX2" fmla="*/ 11023 w 20571"/>
                <a:gd name="connsiteY2" fmla="*/ 6463 h 5142"/>
                <a:gd name="connsiteX3" fmla="*/ 20486 w 20571"/>
                <a:gd name="connsiteY3" fmla="*/ 1011 h 5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71" h="5142">
                  <a:moveTo>
                    <a:pt x="20486" y="1011"/>
                  </a:moveTo>
                  <a:cubicBezTo>
                    <a:pt x="13766" y="737"/>
                    <a:pt x="7011" y="394"/>
                    <a:pt x="257" y="257"/>
                  </a:cubicBezTo>
                  <a:lnTo>
                    <a:pt x="11023" y="6463"/>
                  </a:lnTo>
                  <a:lnTo>
                    <a:pt x="20486" y="1011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4" name="Freeform: Shape 413">
              <a:extLst>
                <a:ext uri="{FF2B5EF4-FFF2-40B4-BE49-F238E27FC236}">
                  <a16:creationId xmlns:a16="http://schemas.microsoft.com/office/drawing/2014/main" id="{FFBBA04C-3944-492A-A772-1ECDC3E8E29F}"/>
                </a:ext>
              </a:extLst>
            </p:cNvPr>
            <p:cNvSpPr/>
            <p:nvPr/>
          </p:nvSpPr>
          <p:spPr>
            <a:xfrm>
              <a:off x="6554126" y="1645183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5" name="Freeform: Shape 414">
              <a:extLst>
                <a:ext uri="{FF2B5EF4-FFF2-40B4-BE49-F238E27FC236}">
                  <a16:creationId xmlns:a16="http://schemas.microsoft.com/office/drawing/2014/main" id="{1EC6EA56-FD34-4006-B3BA-9A200A81074F}"/>
                </a:ext>
              </a:extLst>
            </p:cNvPr>
            <p:cNvSpPr/>
            <p:nvPr/>
          </p:nvSpPr>
          <p:spPr>
            <a:xfrm>
              <a:off x="6576720" y="1618337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8006 w 30857"/>
                <a:gd name="connsiteY2" fmla="*/ 4748 h 18000"/>
                <a:gd name="connsiteX3" fmla="*/ 257 w 30857"/>
                <a:gd name="connsiteY3" fmla="*/ 9240 h 18000"/>
                <a:gd name="connsiteX4" fmla="*/ 257 w 30857"/>
                <a:gd name="connsiteY4" fmla="*/ 9240 h 18000"/>
                <a:gd name="connsiteX5" fmla="*/ 257 w 30857"/>
                <a:gd name="connsiteY5" fmla="*/ 9240 h 18000"/>
                <a:gd name="connsiteX6" fmla="*/ 15789 w 30857"/>
                <a:gd name="connsiteY6" fmla="*/ 18223 h 18000"/>
                <a:gd name="connsiteX7" fmla="*/ 31320 w 30857"/>
                <a:gd name="connsiteY7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8006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6" name="Freeform: Shape 415">
              <a:extLst>
                <a:ext uri="{FF2B5EF4-FFF2-40B4-BE49-F238E27FC236}">
                  <a16:creationId xmlns:a16="http://schemas.microsoft.com/office/drawing/2014/main" id="{A13AA2EF-E8DC-4986-A93D-F79C77289CDF}"/>
                </a:ext>
              </a:extLst>
            </p:cNvPr>
            <p:cNvSpPr/>
            <p:nvPr/>
          </p:nvSpPr>
          <p:spPr>
            <a:xfrm>
              <a:off x="6591394" y="1725686"/>
              <a:ext cx="2571" cy="2571"/>
            </a:xfrm>
            <a:custGeom>
              <a:avLst/>
              <a:gdLst>
                <a:gd name="connsiteX0" fmla="*/ 257 w 0"/>
                <a:gd name="connsiteY0" fmla="*/ 737 h 0"/>
                <a:gd name="connsiteX1" fmla="*/ 1594 w 0"/>
                <a:gd name="connsiteY1" fmla="*/ 531 h 0"/>
                <a:gd name="connsiteX2" fmla="*/ 1114 w 0"/>
                <a:gd name="connsiteY2" fmla="*/ 257 h 0"/>
                <a:gd name="connsiteX3" fmla="*/ 257 w 0"/>
                <a:gd name="connsiteY3" fmla="*/ 73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>
                  <a:moveTo>
                    <a:pt x="257" y="737"/>
                  </a:moveTo>
                  <a:cubicBezTo>
                    <a:pt x="703" y="669"/>
                    <a:pt x="1148" y="600"/>
                    <a:pt x="1594" y="531"/>
                  </a:cubicBezTo>
                  <a:lnTo>
                    <a:pt x="1114" y="257"/>
                  </a:lnTo>
                  <a:lnTo>
                    <a:pt x="257" y="73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7" name="Freeform: Shape 416">
              <a:extLst>
                <a:ext uri="{FF2B5EF4-FFF2-40B4-BE49-F238E27FC236}">
                  <a16:creationId xmlns:a16="http://schemas.microsoft.com/office/drawing/2014/main" id="{B97CA8B6-7F45-41D2-958B-DF4B96FFD6F2}"/>
                </a:ext>
              </a:extLst>
            </p:cNvPr>
            <p:cNvSpPr/>
            <p:nvPr/>
          </p:nvSpPr>
          <p:spPr>
            <a:xfrm>
              <a:off x="6554126" y="1698840"/>
              <a:ext cx="30857" cy="18000"/>
            </a:xfrm>
            <a:custGeom>
              <a:avLst/>
              <a:gdLst>
                <a:gd name="connsiteX0" fmla="*/ 15789 w 30857"/>
                <a:gd name="connsiteY0" fmla="*/ 257 h 18000"/>
                <a:gd name="connsiteX1" fmla="*/ 257 w 30857"/>
                <a:gd name="connsiteY1" fmla="*/ 9240 h 18000"/>
                <a:gd name="connsiteX2" fmla="*/ 15789 w 30857"/>
                <a:gd name="connsiteY2" fmla="*/ 18223 h 18000"/>
                <a:gd name="connsiteX3" fmla="*/ 31320 w 30857"/>
                <a:gd name="connsiteY3" fmla="*/ 9240 h 18000"/>
                <a:gd name="connsiteX4" fmla="*/ 15789 w 30857"/>
                <a:gd name="connsiteY4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89" y="257"/>
                  </a:move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8" name="Freeform: Shape 417">
              <a:extLst>
                <a:ext uri="{FF2B5EF4-FFF2-40B4-BE49-F238E27FC236}">
                  <a16:creationId xmlns:a16="http://schemas.microsoft.com/office/drawing/2014/main" id="{5319F839-E442-4EC0-82D1-0BB3F65CD3F9}"/>
                </a:ext>
              </a:extLst>
            </p:cNvPr>
            <p:cNvSpPr/>
            <p:nvPr/>
          </p:nvSpPr>
          <p:spPr>
            <a:xfrm>
              <a:off x="6576720" y="1672029"/>
              <a:ext cx="30857" cy="18000"/>
            </a:xfrm>
            <a:custGeom>
              <a:avLst/>
              <a:gdLst>
                <a:gd name="connsiteX0" fmla="*/ 15789 w 30857"/>
                <a:gd name="connsiteY0" fmla="*/ 257 h 18000"/>
                <a:gd name="connsiteX1" fmla="*/ 257 w 30857"/>
                <a:gd name="connsiteY1" fmla="*/ 9206 h 18000"/>
                <a:gd name="connsiteX2" fmla="*/ 257 w 30857"/>
                <a:gd name="connsiteY2" fmla="*/ 9206 h 18000"/>
                <a:gd name="connsiteX3" fmla="*/ 257 w 30857"/>
                <a:gd name="connsiteY3" fmla="*/ 9206 h 18000"/>
                <a:gd name="connsiteX4" fmla="*/ 15789 w 30857"/>
                <a:gd name="connsiteY4" fmla="*/ 18189 h 18000"/>
                <a:gd name="connsiteX5" fmla="*/ 31320 w 30857"/>
                <a:gd name="connsiteY5" fmla="*/ 9206 h 18000"/>
                <a:gd name="connsiteX6" fmla="*/ 15789 w 30857"/>
                <a:gd name="connsiteY6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8000">
                  <a:moveTo>
                    <a:pt x="15789" y="257"/>
                  </a:moveTo>
                  <a:lnTo>
                    <a:pt x="257" y="9206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9" name="Freeform: Shape 418">
              <a:extLst>
                <a:ext uri="{FF2B5EF4-FFF2-40B4-BE49-F238E27FC236}">
                  <a16:creationId xmlns:a16="http://schemas.microsoft.com/office/drawing/2014/main" id="{3D880C57-7DA8-4D3C-AFD4-5C7CE2D03056}"/>
                </a:ext>
              </a:extLst>
            </p:cNvPr>
            <p:cNvSpPr/>
            <p:nvPr/>
          </p:nvSpPr>
          <p:spPr>
            <a:xfrm>
              <a:off x="6508952" y="1215835"/>
              <a:ext cx="30857" cy="18000"/>
            </a:xfrm>
            <a:custGeom>
              <a:avLst/>
              <a:gdLst>
                <a:gd name="connsiteX0" fmla="*/ 15764 w 30857"/>
                <a:gd name="connsiteY0" fmla="*/ 18186 h 18000"/>
                <a:gd name="connsiteX1" fmla="*/ 31303 w 30857"/>
                <a:gd name="connsiteY1" fmla="*/ 9223 h 18000"/>
                <a:gd name="connsiteX2" fmla="*/ 15764 w 30857"/>
                <a:gd name="connsiteY2" fmla="*/ 260 h 18000"/>
                <a:gd name="connsiteX3" fmla="*/ 260 w 30857"/>
                <a:gd name="connsiteY3" fmla="*/ 9223 h 18000"/>
                <a:gd name="connsiteX4" fmla="*/ 15764 w 30857"/>
                <a:gd name="connsiteY4" fmla="*/ 1818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64" y="18186"/>
                  </a:moveTo>
                  <a:lnTo>
                    <a:pt x="31303" y="9223"/>
                  </a:lnTo>
                  <a:lnTo>
                    <a:pt x="15764" y="260"/>
                  </a:lnTo>
                  <a:lnTo>
                    <a:pt x="260" y="9223"/>
                  </a:lnTo>
                  <a:lnTo>
                    <a:pt x="15764" y="18186"/>
                  </a:lnTo>
                </a:path>
              </a:pathLst>
            </a:custGeom>
            <a:solidFill>
              <a:srgbClr val="969A9E"/>
            </a:solidFill>
            <a:ln w="12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0" name="Freeform: Shape 419">
              <a:extLst>
                <a:ext uri="{FF2B5EF4-FFF2-40B4-BE49-F238E27FC236}">
                  <a16:creationId xmlns:a16="http://schemas.microsoft.com/office/drawing/2014/main" id="{7AE96E99-A4D7-434A-BCCD-D15C15703AE0}"/>
                </a:ext>
              </a:extLst>
            </p:cNvPr>
            <p:cNvSpPr/>
            <p:nvPr/>
          </p:nvSpPr>
          <p:spPr>
            <a:xfrm>
              <a:off x="6538107" y="1201807"/>
              <a:ext cx="12857" cy="5143"/>
            </a:xfrm>
            <a:custGeom>
              <a:avLst/>
              <a:gdLst>
                <a:gd name="connsiteX0" fmla="*/ 12715 w 12857"/>
                <a:gd name="connsiteY0" fmla="*/ 3383 h 5142"/>
                <a:gd name="connsiteX1" fmla="*/ 260 w 12857"/>
                <a:gd name="connsiteY1" fmla="*/ 260 h 5142"/>
                <a:gd name="connsiteX2" fmla="*/ 9211 w 12857"/>
                <a:gd name="connsiteY2" fmla="*/ 5430 h 5142"/>
                <a:gd name="connsiteX3" fmla="*/ 12715 w 12857"/>
                <a:gd name="connsiteY3" fmla="*/ 3383 h 5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57" h="5142">
                  <a:moveTo>
                    <a:pt x="12715" y="3383"/>
                  </a:moveTo>
                  <a:cubicBezTo>
                    <a:pt x="8587" y="2307"/>
                    <a:pt x="4423" y="1197"/>
                    <a:pt x="260" y="260"/>
                  </a:cubicBezTo>
                  <a:lnTo>
                    <a:pt x="9211" y="5430"/>
                  </a:lnTo>
                  <a:lnTo>
                    <a:pt x="12715" y="3383"/>
                  </a:lnTo>
                </a:path>
              </a:pathLst>
            </a:custGeom>
            <a:solidFill>
              <a:srgbClr val="969A9E"/>
            </a:solidFill>
            <a:ln w="12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1" name="Freeform: Shape 420">
              <a:extLst>
                <a:ext uri="{FF2B5EF4-FFF2-40B4-BE49-F238E27FC236}">
                  <a16:creationId xmlns:a16="http://schemas.microsoft.com/office/drawing/2014/main" id="{E56F25C5-8E3C-4C73-A1CF-6E95F3B5D6B3}"/>
                </a:ext>
              </a:extLst>
            </p:cNvPr>
            <p:cNvSpPr/>
            <p:nvPr/>
          </p:nvSpPr>
          <p:spPr>
            <a:xfrm>
              <a:off x="6508937" y="1269515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2" name="Freeform: Shape 421">
              <a:extLst>
                <a:ext uri="{FF2B5EF4-FFF2-40B4-BE49-F238E27FC236}">
                  <a16:creationId xmlns:a16="http://schemas.microsoft.com/office/drawing/2014/main" id="{C7E944DD-7BF3-4BFB-A2A8-0D835766BE08}"/>
                </a:ext>
              </a:extLst>
            </p:cNvPr>
            <p:cNvSpPr/>
            <p:nvPr/>
          </p:nvSpPr>
          <p:spPr>
            <a:xfrm>
              <a:off x="6531531" y="1242662"/>
              <a:ext cx="30857" cy="18000"/>
            </a:xfrm>
            <a:custGeom>
              <a:avLst/>
              <a:gdLst>
                <a:gd name="connsiteX0" fmla="*/ 258 w 30857"/>
                <a:gd name="connsiteY0" fmla="*/ 9214 h 18000"/>
                <a:gd name="connsiteX1" fmla="*/ 15792 w 30857"/>
                <a:gd name="connsiteY1" fmla="*/ 18203 h 18000"/>
                <a:gd name="connsiteX2" fmla="*/ 31326 w 30857"/>
                <a:gd name="connsiteY2" fmla="*/ 9214 h 18000"/>
                <a:gd name="connsiteX3" fmla="*/ 15792 w 30857"/>
                <a:gd name="connsiteY3" fmla="*/ 258 h 18000"/>
                <a:gd name="connsiteX4" fmla="*/ 258 w 30857"/>
                <a:gd name="connsiteY4" fmla="*/ 9214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8" y="9214"/>
                  </a:moveTo>
                  <a:lnTo>
                    <a:pt x="15792" y="18203"/>
                  </a:lnTo>
                  <a:lnTo>
                    <a:pt x="31326" y="9214"/>
                  </a:lnTo>
                  <a:lnTo>
                    <a:pt x="15792" y="258"/>
                  </a:lnTo>
                  <a:lnTo>
                    <a:pt x="258" y="9214"/>
                  </a:lnTo>
                </a:path>
              </a:pathLst>
            </a:custGeom>
            <a:solidFill>
              <a:srgbClr val="969A9E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3" name="Freeform: Shape 422">
              <a:extLst>
                <a:ext uri="{FF2B5EF4-FFF2-40B4-BE49-F238E27FC236}">
                  <a16:creationId xmlns:a16="http://schemas.microsoft.com/office/drawing/2014/main" id="{308DDA88-1D81-418B-B864-8C016C9DFEDB}"/>
                </a:ext>
              </a:extLst>
            </p:cNvPr>
            <p:cNvSpPr/>
            <p:nvPr/>
          </p:nvSpPr>
          <p:spPr>
            <a:xfrm>
              <a:off x="6486308" y="1242662"/>
              <a:ext cx="30857" cy="18000"/>
            </a:xfrm>
            <a:custGeom>
              <a:avLst/>
              <a:gdLst>
                <a:gd name="connsiteX0" fmla="*/ 258 w 30857"/>
                <a:gd name="connsiteY0" fmla="*/ 9214 h 18000"/>
                <a:gd name="connsiteX1" fmla="*/ 15827 w 30857"/>
                <a:gd name="connsiteY1" fmla="*/ 18203 h 18000"/>
                <a:gd name="connsiteX2" fmla="*/ 31360 w 30857"/>
                <a:gd name="connsiteY2" fmla="*/ 9214 h 18000"/>
                <a:gd name="connsiteX3" fmla="*/ 15827 w 30857"/>
                <a:gd name="connsiteY3" fmla="*/ 258 h 18000"/>
                <a:gd name="connsiteX4" fmla="*/ 258 w 30857"/>
                <a:gd name="connsiteY4" fmla="*/ 9214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8" y="9214"/>
                  </a:moveTo>
                  <a:lnTo>
                    <a:pt x="15827" y="18203"/>
                  </a:lnTo>
                  <a:lnTo>
                    <a:pt x="31360" y="9214"/>
                  </a:lnTo>
                  <a:lnTo>
                    <a:pt x="15827" y="258"/>
                  </a:lnTo>
                  <a:lnTo>
                    <a:pt x="258" y="9214"/>
                  </a:lnTo>
                </a:path>
              </a:pathLst>
            </a:custGeom>
            <a:solidFill>
              <a:srgbClr val="969A9E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4" name="Freeform: Shape 423">
              <a:extLst>
                <a:ext uri="{FF2B5EF4-FFF2-40B4-BE49-F238E27FC236}">
                  <a16:creationId xmlns:a16="http://schemas.microsoft.com/office/drawing/2014/main" id="{A1DA6A7F-0644-401D-BA50-BCD7E150DACA}"/>
                </a:ext>
              </a:extLst>
            </p:cNvPr>
            <p:cNvSpPr/>
            <p:nvPr/>
          </p:nvSpPr>
          <p:spPr>
            <a:xfrm>
              <a:off x="6508937" y="1323172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5" name="Freeform: Shape 424">
              <a:extLst>
                <a:ext uri="{FF2B5EF4-FFF2-40B4-BE49-F238E27FC236}">
                  <a16:creationId xmlns:a16="http://schemas.microsoft.com/office/drawing/2014/main" id="{3BD85F94-134A-4E74-A5AB-5BFF27DB9709}"/>
                </a:ext>
              </a:extLst>
            </p:cNvPr>
            <p:cNvSpPr/>
            <p:nvPr/>
          </p:nvSpPr>
          <p:spPr>
            <a:xfrm>
              <a:off x="6531531" y="1296360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6" name="Freeform: Shape 425">
              <a:extLst>
                <a:ext uri="{FF2B5EF4-FFF2-40B4-BE49-F238E27FC236}">
                  <a16:creationId xmlns:a16="http://schemas.microsoft.com/office/drawing/2014/main" id="{FFBCCD4D-9FE1-4EBE-88BB-E589E80BB4D0}"/>
                </a:ext>
              </a:extLst>
            </p:cNvPr>
            <p:cNvSpPr/>
            <p:nvPr/>
          </p:nvSpPr>
          <p:spPr>
            <a:xfrm>
              <a:off x="6486309" y="1296360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823 w 30857"/>
                <a:gd name="connsiteY1" fmla="*/ 18189 h 18000"/>
                <a:gd name="connsiteX2" fmla="*/ 31354 w 30857"/>
                <a:gd name="connsiteY2" fmla="*/ 9206 h 18000"/>
                <a:gd name="connsiteX3" fmla="*/ 15823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823" y="18189"/>
                  </a:lnTo>
                  <a:lnTo>
                    <a:pt x="31354" y="9206"/>
                  </a:lnTo>
                  <a:lnTo>
                    <a:pt x="15823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7" name="Freeform: Shape 426">
              <a:extLst>
                <a:ext uri="{FF2B5EF4-FFF2-40B4-BE49-F238E27FC236}">
                  <a16:creationId xmlns:a16="http://schemas.microsoft.com/office/drawing/2014/main" id="{915F1A3C-03D4-4924-B006-BF8568FC8F56}"/>
                </a:ext>
              </a:extLst>
            </p:cNvPr>
            <p:cNvSpPr/>
            <p:nvPr/>
          </p:nvSpPr>
          <p:spPr>
            <a:xfrm>
              <a:off x="6508937" y="1376863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8" name="Freeform: Shape 427">
              <a:extLst>
                <a:ext uri="{FF2B5EF4-FFF2-40B4-BE49-F238E27FC236}">
                  <a16:creationId xmlns:a16="http://schemas.microsoft.com/office/drawing/2014/main" id="{1931F5CE-9BF1-4D99-B6D8-5DA192084C89}"/>
                </a:ext>
              </a:extLst>
            </p:cNvPr>
            <p:cNvSpPr/>
            <p:nvPr/>
          </p:nvSpPr>
          <p:spPr>
            <a:xfrm>
              <a:off x="6531531" y="1350017"/>
              <a:ext cx="30857" cy="18000"/>
            </a:xfrm>
            <a:custGeom>
              <a:avLst/>
              <a:gdLst>
                <a:gd name="connsiteX0" fmla="*/ 15789 w 30857"/>
                <a:gd name="connsiteY0" fmla="*/ 18189 h 18000"/>
                <a:gd name="connsiteX1" fmla="*/ 31320 w 30857"/>
                <a:gd name="connsiteY1" fmla="*/ 9240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  <a:gd name="connsiteX5" fmla="*/ 257 w 30857"/>
                <a:gd name="connsiteY5" fmla="*/ 9206 h 18000"/>
                <a:gd name="connsiteX6" fmla="*/ 257 w 30857"/>
                <a:gd name="connsiteY6" fmla="*/ 9240 h 18000"/>
                <a:gd name="connsiteX7" fmla="*/ 15789 w 30857"/>
                <a:gd name="connsiteY7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15789" y="18189"/>
                  </a:moveTo>
                  <a:lnTo>
                    <a:pt x="31320" y="9240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257" y="9240"/>
                  </a:lnTo>
                  <a:lnTo>
                    <a:pt x="15789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9" name="Freeform: Shape 428">
              <a:extLst>
                <a:ext uri="{FF2B5EF4-FFF2-40B4-BE49-F238E27FC236}">
                  <a16:creationId xmlns:a16="http://schemas.microsoft.com/office/drawing/2014/main" id="{9817F92C-5740-432D-A380-2652F9BB890E}"/>
                </a:ext>
              </a:extLst>
            </p:cNvPr>
            <p:cNvSpPr/>
            <p:nvPr/>
          </p:nvSpPr>
          <p:spPr>
            <a:xfrm>
              <a:off x="6486309" y="1350017"/>
              <a:ext cx="30857" cy="18000"/>
            </a:xfrm>
            <a:custGeom>
              <a:avLst/>
              <a:gdLst>
                <a:gd name="connsiteX0" fmla="*/ 15823 w 30857"/>
                <a:gd name="connsiteY0" fmla="*/ 18189 h 18000"/>
                <a:gd name="connsiteX1" fmla="*/ 31354 w 30857"/>
                <a:gd name="connsiteY1" fmla="*/ 9240 h 18000"/>
                <a:gd name="connsiteX2" fmla="*/ 31354 w 30857"/>
                <a:gd name="connsiteY2" fmla="*/ 9206 h 18000"/>
                <a:gd name="connsiteX3" fmla="*/ 15823 w 30857"/>
                <a:gd name="connsiteY3" fmla="*/ 257 h 18000"/>
                <a:gd name="connsiteX4" fmla="*/ 257 w 30857"/>
                <a:gd name="connsiteY4" fmla="*/ 9206 h 18000"/>
                <a:gd name="connsiteX5" fmla="*/ 257 w 30857"/>
                <a:gd name="connsiteY5" fmla="*/ 9206 h 18000"/>
                <a:gd name="connsiteX6" fmla="*/ 257 w 30857"/>
                <a:gd name="connsiteY6" fmla="*/ 9240 h 18000"/>
                <a:gd name="connsiteX7" fmla="*/ 15823 w 30857"/>
                <a:gd name="connsiteY7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15823" y="18189"/>
                  </a:moveTo>
                  <a:lnTo>
                    <a:pt x="31354" y="9240"/>
                  </a:lnTo>
                  <a:lnTo>
                    <a:pt x="31354" y="9206"/>
                  </a:lnTo>
                  <a:lnTo>
                    <a:pt x="15823" y="257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257" y="9240"/>
                  </a:lnTo>
                  <a:lnTo>
                    <a:pt x="15823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0" name="Freeform: Shape 429">
              <a:extLst>
                <a:ext uri="{FF2B5EF4-FFF2-40B4-BE49-F238E27FC236}">
                  <a16:creationId xmlns:a16="http://schemas.microsoft.com/office/drawing/2014/main" id="{755C54F1-1DB3-4007-9A88-70B7D6872517}"/>
                </a:ext>
              </a:extLst>
            </p:cNvPr>
            <p:cNvSpPr/>
            <p:nvPr/>
          </p:nvSpPr>
          <p:spPr>
            <a:xfrm>
              <a:off x="6508937" y="1430520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1" name="Freeform: Shape 430">
              <a:extLst>
                <a:ext uri="{FF2B5EF4-FFF2-40B4-BE49-F238E27FC236}">
                  <a16:creationId xmlns:a16="http://schemas.microsoft.com/office/drawing/2014/main" id="{CC67EDD2-4948-4B1D-A759-0EC40BD73748}"/>
                </a:ext>
              </a:extLst>
            </p:cNvPr>
            <p:cNvSpPr/>
            <p:nvPr/>
          </p:nvSpPr>
          <p:spPr>
            <a:xfrm>
              <a:off x="6531531" y="1403674"/>
              <a:ext cx="30857" cy="18000"/>
            </a:xfrm>
            <a:custGeom>
              <a:avLst/>
              <a:gdLst>
                <a:gd name="connsiteX0" fmla="*/ 15789 w 30857"/>
                <a:gd name="connsiteY0" fmla="*/ 18189 h 18000"/>
                <a:gd name="connsiteX1" fmla="*/ 31320 w 30857"/>
                <a:gd name="connsiteY1" fmla="*/ 9240 h 18000"/>
                <a:gd name="connsiteX2" fmla="*/ 31320 w 30857"/>
                <a:gd name="connsiteY2" fmla="*/ 9240 h 18000"/>
                <a:gd name="connsiteX3" fmla="*/ 23537 w 30857"/>
                <a:gd name="connsiteY3" fmla="*/ 4749 h 18000"/>
                <a:gd name="connsiteX4" fmla="*/ 15789 w 30857"/>
                <a:gd name="connsiteY4" fmla="*/ 257 h 18000"/>
                <a:gd name="connsiteX5" fmla="*/ 8006 w 30857"/>
                <a:gd name="connsiteY5" fmla="*/ 4749 h 18000"/>
                <a:gd name="connsiteX6" fmla="*/ 257 w 30857"/>
                <a:gd name="connsiteY6" fmla="*/ 9240 h 18000"/>
                <a:gd name="connsiteX7" fmla="*/ 257 w 30857"/>
                <a:gd name="connsiteY7" fmla="*/ 9240 h 18000"/>
                <a:gd name="connsiteX8" fmla="*/ 257 w 30857"/>
                <a:gd name="connsiteY8" fmla="*/ 9240 h 18000"/>
                <a:gd name="connsiteX9" fmla="*/ 15789 w 30857"/>
                <a:gd name="connsiteY9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7" h="18000">
                  <a:moveTo>
                    <a:pt x="15789" y="18189"/>
                  </a:moveTo>
                  <a:lnTo>
                    <a:pt x="31320" y="9240"/>
                  </a:lnTo>
                  <a:lnTo>
                    <a:pt x="31320" y="9240"/>
                  </a:lnTo>
                  <a:lnTo>
                    <a:pt x="23537" y="4749"/>
                  </a:lnTo>
                  <a:lnTo>
                    <a:pt x="15789" y="257"/>
                  </a:lnTo>
                  <a:lnTo>
                    <a:pt x="8006" y="4749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2" name="Freeform: Shape 431">
              <a:extLst>
                <a:ext uri="{FF2B5EF4-FFF2-40B4-BE49-F238E27FC236}">
                  <a16:creationId xmlns:a16="http://schemas.microsoft.com/office/drawing/2014/main" id="{5CAFBA81-2834-4344-9171-A83384C7DEFE}"/>
                </a:ext>
              </a:extLst>
            </p:cNvPr>
            <p:cNvSpPr/>
            <p:nvPr/>
          </p:nvSpPr>
          <p:spPr>
            <a:xfrm>
              <a:off x="6486309" y="1403674"/>
              <a:ext cx="30857" cy="18000"/>
            </a:xfrm>
            <a:custGeom>
              <a:avLst/>
              <a:gdLst>
                <a:gd name="connsiteX0" fmla="*/ 15823 w 30857"/>
                <a:gd name="connsiteY0" fmla="*/ 18189 h 18000"/>
                <a:gd name="connsiteX1" fmla="*/ 31354 w 30857"/>
                <a:gd name="connsiteY1" fmla="*/ 9240 h 18000"/>
                <a:gd name="connsiteX2" fmla="*/ 31354 w 30857"/>
                <a:gd name="connsiteY2" fmla="*/ 9240 h 18000"/>
                <a:gd name="connsiteX3" fmla="*/ 23571 w 30857"/>
                <a:gd name="connsiteY3" fmla="*/ 4749 h 18000"/>
                <a:gd name="connsiteX4" fmla="*/ 15823 w 30857"/>
                <a:gd name="connsiteY4" fmla="*/ 257 h 18000"/>
                <a:gd name="connsiteX5" fmla="*/ 8040 w 30857"/>
                <a:gd name="connsiteY5" fmla="*/ 4749 h 18000"/>
                <a:gd name="connsiteX6" fmla="*/ 257 w 30857"/>
                <a:gd name="connsiteY6" fmla="*/ 9240 h 18000"/>
                <a:gd name="connsiteX7" fmla="*/ 257 w 30857"/>
                <a:gd name="connsiteY7" fmla="*/ 9240 h 18000"/>
                <a:gd name="connsiteX8" fmla="*/ 257 w 30857"/>
                <a:gd name="connsiteY8" fmla="*/ 9240 h 18000"/>
                <a:gd name="connsiteX9" fmla="*/ 15823 w 30857"/>
                <a:gd name="connsiteY9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7" h="18000">
                  <a:moveTo>
                    <a:pt x="15823" y="18189"/>
                  </a:moveTo>
                  <a:lnTo>
                    <a:pt x="31354" y="9240"/>
                  </a:lnTo>
                  <a:lnTo>
                    <a:pt x="31354" y="9240"/>
                  </a:lnTo>
                  <a:lnTo>
                    <a:pt x="23571" y="4749"/>
                  </a:lnTo>
                  <a:lnTo>
                    <a:pt x="15823" y="257"/>
                  </a:lnTo>
                  <a:lnTo>
                    <a:pt x="8040" y="4749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823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3" name="Freeform: Shape 432">
              <a:extLst>
                <a:ext uri="{FF2B5EF4-FFF2-40B4-BE49-F238E27FC236}">
                  <a16:creationId xmlns:a16="http://schemas.microsoft.com/office/drawing/2014/main" id="{88FBEC3E-BFB6-493D-AC2E-00521FCC56EC}"/>
                </a:ext>
              </a:extLst>
            </p:cNvPr>
            <p:cNvSpPr/>
            <p:nvPr/>
          </p:nvSpPr>
          <p:spPr>
            <a:xfrm>
              <a:off x="6486309" y="1457366"/>
              <a:ext cx="23143" cy="12857"/>
            </a:xfrm>
            <a:custGeom>
              <a:avLst/>
              <a:gdLst>
                <a:gd name="connsiteX0" fmla="*/ 9754 w 23142"/>
                <a:gd name="connsiteY0" fmla="*/ 14691 h 12857"/>
                <a:gd name="connsiteX1" fmla="*/ 25046 w 23142"/>
                <a:gd name="connsiteY1" fmla="*/ 5571 h 12857"/>
                <a:gd name="connsiteX2" fmla="*/ 23571 w 23142"/>
                <a:gd name="connsiteY2" fmla="*/ 4714 h 12857"/>
                <a:gd name="connsiteX3" fmla="*/ 15823 w 23142"/>
                <a:gd name="connsiteY3" fmla="*/ 257 h 12857"/>
                <a:gd name="connsiteX4" fmla="*/ 8040 w 23142"/>
                <a:gd name="connsiteY4" fmla="*/ 4714 h 12857"/>
                <a:gd name="connsiteX5" fmla="*/ 257 w 23142"/>
                <a:gd name="connsiteY5" fmla="*/ 9206 h 12857"/>
                <a:gd name="connsiteX6" fmla="*/ 257 w 23142"/>
                <a:gd name="connsiteY6" fmla="*/ 9206 h 12857"/>
                <a:gd name="connsiteX7" fmla="*/ 257 w 23142"/>
                <a:gd name="connsiteY7" fmla="*/ 9206 h 12857"/>
                <a:gd name="connsiteX8" fmla="*/ 9754 w 23142"/>
                <a:gd name="connsiteY8" fmla="*/ 14691 h 1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142" h="12857">
                  <a:moveTo>
                    <a:pt x="9754" y="14691"/>
                  </a:moveTo>
                  <a:cubicBezTo>
                    <a:pt x="14863" y="11640"/>
                    <a:pt x="19971" y="8657"/>
                    <a:pt x="25046" y="5571"/>
                  </a:cubicBezTo>
                  <a:lnTo>
                    <a:pt x="23571" y="4714"/>
                  </a:lnTo>
                  <a:lnTo>
                    <a:pt x="15823" y="257"/>
                  </a:lnTo>
                  <a:lnTo>
                    <a:pt x="8040" y="4714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9754" y="14691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4" name="Freeform: Shape 433">
              <a:extLst>
                <a:ext uri="{FF2B5EF4-FFF2-40B4-BE49-F238E27FC236}">
                  <a16:creationId xmlns:a16="http://schemas.microsoft.com/office/drawing/2014/main" id="{A7323648-6A0C-4A1D-A1DB-75FA763FBB9E}"/>
                </a:ext>
              </a:extLst>
            </p:cNvPr>
            <p:cNvSpPr/>
            <p:nvPr/>
          </p:nvSpPr>
          <p:spPr>
            <a:xfrm>
              <a:off x="6508937" y="1591526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5" name="Freeform: Shape 434">
              <a:extLst>
                <a:ext uri="{FF2B5EF4-FFF2-40B4-BE49-F238E27FC236}">
                  <a16:creationId xmlns:a16="http://schemas.microsoft.com/office/drawing/2014/main" id="{17660F4B-0E8C-4960-AEC2-23B36963BE58}"/>
                </a:ext>
              </a:extLst>
            </p:cNvPr>
            <p:cNvSpPr/>
            <p:nvPr/>
          </p:nvSpPr>
          <p:spPr>
            <a:xfrm>
              <a:off x="6536914" y="1576337"/>
              <a:ext cx="20571" cy="5143"/>
            </a:xfrm>
            <a:custGeom>
              <a:avLst/>
              <a:gdLst>
                <a:gd name="connsiteX0" fmla="*/ 21309 w 20571"/>
                <a:gd name="connsiteY0" fmla="*/ 257 h 5142"/>
                <a:gd name="connsiteX1" fmla="*/ 257 w 20571"/>
                <a:gd name="connsiteY1" fmla="*/ 703 h 5142"/>
                <a:gd name="connsiteX2" fmla="*/ 10406 w 20571"/>
                <a:gd name="connsiteY2" fmla="*/ 6531 h 5142"/>
                <a:gd name="connsiteX3" fmla="*/ 21309 w 20571"/>
                <a:gd name="connsiteY3" fmla="*/ 257 h 5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571" h="5142">
                  <a:moveTo>
                    <a:pt x="21309" y="257"/>
                  </a:moveTo>
                  <a:cubicBezTo>
                    <a:pt x="14280" y="291"/>
                    <a:pt x="7286" y="463"/>
                    <a:pt x="257" y="703"/>
                  </a:cubicBezTo>
                  <a:lnTo>
                    <a:pt x="10406" y="6531"/>
                  </a:lnTo>
                  <a:lnTo>
                    <a:pt x="2130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6" name="Freeform: Shape 435">
              <a:extLst>
                <a:ext uri="{FF2B5EF4-FFF2-40B4-BE49-F238E27FC236}">
                  <a16:creationId xmlns:a16="http://schemas.microsoft.com/office/drawing/2014/main" id="{13F72629-FD02-437F-AB7A-D4D0E45D43B8}"/>
                </a:ext>
              </a:extLst>
            </p:cNvPr>
            <p:cNvSpPr/>
            <p:nvPr/>
          </p:nvSpPr>
          <p:spPr>
            <a:xfrm>
              <a:off x="6508937" y="1645183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7" name="Freeform: Shape 436">
              <a:extLst>
                <a:ext uri="{FF2B5EF4-FFF2-40B4-BE49-F238E27FC236}">
                  <a16:creationId xmlns:a16="http://schemas.microsoft.com/office/drawing/2014/main" id="{4A4337AF-2CC9-488E-8EE2-9C8DCF6F7FD8}"/>
                </a:ext>
              </a:extLst>
            </p:cNvPr>
            <p:cNvSpPr/>
            <p:nvPr/>
          </p:nvSpPr>
          <p:spPr>
            <a:xfrm>
              <a:off x="6531531" y="1618337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8006 w 30857"/>
                <a:gd name="connsiteY2" fmla="*/ 4748 h 18000"/>
                <a:gd name="connsiteX3" fmla="*/ 257 w 30857"/>
                <a:gd name="connsiteY3" fmla="*/ 9240 h 18000"/>
                <a:gd name="connsiteX4" fmla="*/ 257 w 30857"/>
                <a:gd name="connsiteY4" fmla="*/ 9240 h 18000"/>
                <a:gd name="connsiteX5" fmla="*/ 257 w 30857"/>
                <a:gd name="connsiteY5" fmla="*/ 9240 h 18000"/>
                <a:gd name="connsiteX6" fmla="*/ 15789 w 30857"/>
                <a:gd name="connsiteY6" fmla="*/ 18223 h 18000"/>
                <a:gd name="connsiteX7" fmla="*/ 31320 w 30857"/>
                <a:gd name="connsiteY7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8006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8" name="Freeform: Shape 437">
              <a:extLst>
                <a:ext uri="{FF2B5EF4-FFF2-40B4-BE49-F238E27FC236}">
                  <a16:creationId xmlns:a16="http://schemas.microsoft.com/office/drawing/2014/main" id="{5AFE3C25-F41F-41FF-BBC2-823A5393604D}"/>
                </a:ext>
              </a:extLst>
            </p:cNvPr>
            <p:cNvSpPr/>
            <p:nvPr/>
          </p:nvSpPr>
          <p:spPr>
            <a:xfrm>
              <a:off x="6486309" y="1618337"/>
              <a:ext cx="30857" cy="18000"/>
            </a:xfrm>
            <a:custGeom>
              <a:avLst/>
              <a:gdLst>
                <a:gd name="connsiteX0" fmla="*/ 15823 w 30857"/>
                <a:gd name="connsiteY0" fmla="*/ 18223 h 18000"/>
                <a:gd name="connsiteX1" fmla="*/ 31354 w 30857"/>
                <a:gd name="connsiteY1" fmla="*/ 9240 h 18000"/>
                <a:gd name="connsiteX2" fmla="*/ 15823 w 30857"/>
                <a:gd name="connsiteY2" fmla="*/ 257 h 18000"/>
                <a:gd name="connsiteX3" fmla="*/ 8040 w 30857"/>
                <a:gd name="connsiteY3" fmla="*/ 4748 h 18000"/>
                <a:gd name="connsiteX4" fmla="*/ 257 w 30857"/>
                <a:gd name="connsiteY4" fmla="*/ 9240 h 18000"/>
                <a:gd name="connsiteX5" fmla="*/ 257 w 30857"/>
                <a:gd name="connsiteY5" fmla="*/ 9240 h 18000"/>
                <a:gd name="connsiteX6" fmla="*/ 257 w 30857"/>
                <a:gd name="connsiteY6" fmla="*/ 9240 h 18000"/>
                <a:gd name="connsiteX7" fmla="*/ 15823 w 30857"/>
                <a:gd name="connsiteY7" fmla="*/ 1822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15823" y="18223"/>
                  </a:moveTo>
                  <a:lnTo>
                    <a:pt x="31354" y="9240"/>
                  </a:lnTo>
                  <a:lnTo>
                    <a:pt x="15823" y="257"/>
                  </a:lnTo>
                  <a:lnTo>
                    <a:pt x="8040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823" y="18223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9" name="Freeform: Shape 438">
              <a:extLst>
                <a:ext uri="{FF2B5EF4-FFF2-40B4-BE49-F238E27FC236}">
                  <a16:creationId xmlns:a16="http://schemas.microsoft.com/office/drawing/2014/main" id="{5E21D983-AA67-4C46-903B-302ACFD53F30}"/>
                </a:ext>
              </a:extLst>
            </p:cNvPr>
            <p:cNvSpPr/>
            <p:nvPr/>
          </p:nvSpPr>
          <p:spPr>
            <a:xfrm>
              <a:off x="6531531" y="1725686"/>
              <a:ext cx="25714" cy="7714"/>
            </a:xfrm>
            <a:custGeom>
              <a:avLst/>
              <a:gdLst>
                <a:gd name="connsiteX0" fmla="*/ 26040 w 25714"/>
                <a:gd name="connsiteY0" fmla="*/ 6189 h 7714"/>
                <a:gd name="connsiteX1" fmla="*/ 15789 w 25714"/>
                <a:gd name="connsiteY1" fmla="*/ 257 h 7714"/>
                <a:gd name="connsiteX2" fmla="*/ 257 w 25714"/>
                <a:gd name="connsiteY2" fmla="*/ 9240 h 7714"/>
                <a:gd name="connsiteX3" fmla="*/ 1149 w 25714"/>
                <a:gd name="connsiteY3" fmla="*/ 9754 h 7714"/>
                <a:gd name="connsiteX4" fmla="*/ 26040 w 25714"/>
                <a:gd name="connsiteY4" fmla="*/ 6189 h 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14" h="7714">
                  <a:moveTo>
                    <a:pt x="26040" y="6189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149" y="9754"/>
                  </a:lnTo>
                  <a:cubicBezTo>
                    <a:pt x="9446" y="8623"/>
                    <a:pt x="17743" y="7457"/>
                    <a:pt x="26040" y="6189"/>
                  </a:cubicBez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0" name="Freeform: Shape 439">
              <a:extLst>
                <a:ext uri="{FF2B5EF4-FFF2-40B4-BE49-F238E27FC236}">
                  <a16:creationId xmlns:a16="http://schemas.microsoft.com/office/drawing/2014/main" id="{82F39ADC-F515-4F5A-9969-BC431010F894}"/>
                </a:ext>
              </a:extLst>
            </p:cNvPr>
            <p:cNvSpPr/>
            <p:nvPr/>
          </p:nvSpPr>
          <p:spPr>
            <a:xfrm>
              <a:off x="6508937" y="1698840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223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1" name="Freeform: Shape 440">
              <a:extLst>
                <a:ext uri="{FF2B5EF4-FFF2-40B4-BE49-F238E27FC236}">
                  <a16:creationId xmlns:a16="http://schemas.microsoft.com/office/drawing/2014/main" id="{E0663F81-0828-418E-BC88-7B4DC1FACAE9}"/>
                </a:ext>
              </a:extLst>
            </p:cNvPr>
            <p:cNvSpPr/>
            <p:nvPr/>
          </p:nvSpPr>
          <p:spPr>
            <a:xfrm>
              <a:off x="6531531" y="1672029"/>
              <a:ext cx="30857" cy="18000"/>
            </a:xfrm>
            <a:custGeom>
              <a:avLst/>
              <a:gdLst>
                <a:gd name="connsiteX0" fmla="*/ 15789 w 30857"/>
                <a:gd name="connsiteY0" fmla="*/ 257 h 18000"/>
                <a:gd name="connsiteX1" fmla="*/ 257 w 30857"/>
                <a:gd name="connsiteY1" fmla="*/ 9206 h 18000"/>
                <a:gd name="connsiteX2" fmla="*/ 257 w 30857"/>
                <a:gd name="connsiteY2" fmla="*/ 9206 h 18000"/>
                <a:gd name="connsiteX3" fmla="*/ 257 w 30857"/>
                <a:gd name="connsiteY3" fmla="*/ 9206 h 18000"/>
                <a:gd name="connsiteX4" fmla="*/ 15789 w 30857"/>
                <a:gd name="connsiteY4" fmla="*/ 18189 h 18000"/>
                <a:gd name="connsiteX5" fmla="*/ 31320 w 30857"/>
                <a:gd name="connsiteY5" fmla="*/ 9206 h 18000"/>
                <a:gd name="connsiteX6" fmla="*/ 15789 w 30857"/>
                <a:gd name="connsiteY6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8000">
                  <a:moveTo>
                    <a:pt x="15789" y="257"/>
                  </a:moveTo>
                  <a:lnTo>
                    <a:pt x="257" y="9206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2" name="Freeform: Shape 441">
              <a:extLst>
                <a:ext uri="{FF2B5EF4-FFF2-40B4-BE49-F238E27FC236}">
                  <a16:creationId xmlns:a16="http://schemas.microsoft.com/office/drawing/2014/main" id="{146023D2-7303-4C52-873E-C06573959FA5}"/>
                </a:ext>
              </a:extLst>
            </p:cNvPr>
            <p:cNvSpPr/>
            <p:nvPr/>
          </p:nvSpPr>
          <p:spPr>
            <a:xfrm>
              <a:off x="6486309" y="1672029"/>
              <a:ext cx="30857" cy="18000"/>
            </a:xfrm>
            <a:custGeom>
              <a:avLst/>
              <a:gdLst>
                <a:gd name="connsiteX0" fmla="*/ 15823 w 30857"/>
                <a:gd name="connsiteY0" fmla="*/ 18189 h 18000"/>
                <a:gd name="connsiteX1" fmla="*/ 31354 w 30857"/>
                <a:gd name="connsiteY1" fmla="*/ 9206 h 18000"/>
                <a:gd name="connsiteX2" fmla="*/ 15823 w 30857"/>
                <a:gd name="connsiteY2" fmla="*/ 257 h 18000"/>
                <a:gd name="connsiteX3" fmla="*/ 257 w 30857"/>
                <a:gd name="connsiteY3" fmla="*/ 9206 h 18000"/>
                <a:gd name="connsiteX4" fmla="*/ 257 w 30857"/>
                <a:gd name="connsiteY4" fmla="*/ 9206 h 18000"/>
                <a:gd name="connsiteX5" fmla="*/ 257 w 30857"/>
                <a:gd name="connsiteY5" fmla="*/ 9206 h 18000"/>
                <a:gd name="connsiteX6" fmla="*/ 15823 w 30857"/>
                <a:gd name="connsiteY6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8000">
                  <a:moveTo>
                    <a:pt x="15823" y="18189"/>
                  </a:moveTo>
                  <a:lnTo>
                    <a:pt x="31354" y="9206"/>
                  </a:lnTo>
                  <a:lnTo>
                    <a:pt x="15823" y="257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15823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3" name="Freeform: Shape 442">
              <a:extLst>
                <a:ext uri="{FF2B5EF4-FFF2-40B4-BE49-F238E27FC236}">
                  <a16:creationId xmlns:a16="http://schemas.microsoft.com/office/drawing/2014/main" id="{C9D00965-E850-4690-8F05-CF9E31324893}"/>
                </a:ext>
              </a:extLst>
            </p:cNvPr>
            <p:cNvSpPr/>
            <p:nvPr/>
          </p:nvSpPr>
          <p:spPr>
            <a:xfrm>
              <a:off x="6463719" y="1215835"/>
              <a:ext cx="30857" cy="18000"/>
            </a:xfrm>
            <a:custGeom>
              <a:avLst/>
              <a:gdLst>
                <a:gd name="connsiteX0" fmla="*/ 31372 w 30857"/>
                <a:gd name="connsiteY0" fmla="*/ 9223 h 18000"/>
                <a:gd name="connsiteX1" fmla="*/ 15833 w 30857"/>
                <a:gd name="connsiteY1" fmla="*/ 260 h 18000"/>
                <a:gd name="connsiteX2" fmla="*/ 260 w 30857"/>
                <a:gd name="connsiteY2" fmla="*/ 9223 h 18000"/>
                <a:gd name="connsiteX3" fmla="*/ 15833 w 30857"/>
                <a:gd name="connsiteY3" fmla="*/ 18186 h 18000"/>
                <a:gd name="connsiteX4" fmla="*/ 31372 w 30857"/>
                <a:gd name="connsiteY4" fmla="*/ 922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72" y="9223"/>
                  </a:moveTo>
                  <a:lnTo>
                    <a:pt x="15833" y="260"/>
                  </a:lnTo>
                  <a:lnTo>
                    <a:pt x="260" y="9223"/>
                  </a:lnTo>
                  <a:lnTo>
                    <a:pt x="15833" y="18186"/>
                  </a:lnTo>
                  <a:lnTo>
                    <a:pt x="31372" y="9223"/>
                  </a:lnTo>
                </a:path>
              </a:pathLst>
            </a:custGeom>
            <a:solidFill>
              <a:srgbClr val="969A9E"/>
            </a:solidFill>
            <a:ln w="12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4" name="Freeform: Shape 443">
              <a:extLst>
                <a:ext uri="{FF2B5EF4-FFF2-40B4-BE49-F238E27FC236}">
                  <a16:creationId xmlns:a16="http://schemas.microsoft.com/office/drawing/2014/main" id="{39D599A7-A851-42B1-91DC-19B5C130E730}"/>
                </a:ext>
              </a:extLst>
            </p:cNvPr>
            <p:cNvSpPr/>
            <p:nvPr/>
          </p:nvSpPr>
          <p:spPr>
            <a:xfrm>
              <a:off x="6489141" y="1196534"/>
              <a:ext cx="28286" cy="10286"/>
            </a:xfrm>
            <a:custGeom>
              <a:avLst/>
              <a:gdLst>
                <a:gd name="connsiteX0" fmla="*/ 28532 w 28285"/>
                <a:gd name="connsiteY0" fmla="*/ 1678 h 10285"/>
                <a:gd name="connsiteX1" fmla="*/ 27560 w 28285"/>
                <a:gd name="connsiteY1" fmla="*/ 1157 h 10285"/>
                <a:gd name="connsiteX2" fmla="*/ 27247 w 28285"/>
                <a:gd name="connsiteY2" fmla="*/ 1088 h 10285"/>
                <a:gd name="connsiteX3" fmla="*/ 260 w 28285"/>
                <a:gd name="connsiteY3" fmla="*/ 3345 h 10285"/>
                <a:gd name="connsiteX4" fmla="*/ 260 w 28285"/>
                <a:gd name="connsiteY4" fmla="*/ 3345 h 10285"/>
                <a:gd name="connsiteX5" fmla="*/ 13007 w 28285"/>
                <a:gd name="connsiteY5" fmla="*/ 10674 h 10285"/>
                <a:gd name="connsiteX6" fmla="*/ 28532 w 28285"/>
                <a:gd name="connsiteY6" fmla="*/ 1678 h 1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285" h="10285">
                  <a:moveTo>
                    <a:pt x="28532" y="1678"/>
                  </a:moveTo>
                  <a:lnTo>
                    <a:pt x="27560" y="1157"/>
                  </a:lnTo>
                  <a:cubicBezTo>
                    <a:pt x="27455" y="1122"/>
                    <a:pt x="27351" y="1088"/>
                    <a:pt x="27247" y="1088"/>
                  </a:cubicBezTo>
                  <a:cubicBezTo>
                    <a:pt x="17557" y="-614"/>
                    <a:pt x="8422" y="393"/>
                    <a:pt x="260" y="3345"/>
                  </a:cubicBezTo>
                  <a:lnTo>
                    <a:pt x="260" y="3345"/>
                  </a:lnTo>
                  <a:lnTo>
                    <a:pt x="13007" y="10674"/>
                  </a:lnTo>
                  <a:lnTo>
                    <a:pt x="28532" y="1678"/>
                  </a:lnTo>
                </a:path>
              </a:pathLst>
            </a:custGeom>
            <a:solidFill>
              <a:srgbClr val="969A9E"/>
            </a:solidFill>
            <a:ln w="12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5" name="Freeform: Shape 444">
              <a:extLst>
                <a:ext uri="{FF2B5EF4-FFF2-40B4-BE49-F238E27FC236}">
                  <a16:creationId xmlns:a16="http://schemas.microsoft.com/office/drawing/2014/main" id="{6E2C790A-6BD8-473C-8DCA-CCA77188A6C9}"/>
                </a:ext>
              </a:extLst>
            </p:cNvPr>
            <p:cNvSpPr/>
            <p:nvPr/>
          </p:nvSpPr>
          <p:spPr>
            <a:xfrm>
              <a:off x="6465737" y="1269515"/>
              <a:ext cx="28286" cy="18000"/>
            </a:xfrm>
            <a:custGeom>
              <a:avLst/>
              <a:gdLst>
                <a:gd name="connsiteX0" fmla="*/ 257 w 28285"/>
                <a:gd name="connsiteY0" fmla="*/ 8074 h 18000"/>
                <a:gd name="connsiteX1" fmla="*/ 9103 w 28285"/>
                <a:gd name="connsiteY1" fmla="*/ 15480 h 18000"/>
                <a:gd name="connsiteX2" fmla="*/ 13800 w 28285"/>
                <a:gd name="connsiteY2" fmla="*/ 18189 h 18000"/>
                <a:gd name="connsiteX3" fmla="*/ 29331 w 28285"/>
                <a:gd name="connsiteY3" fmla="*/ 9240 h 18000"/>
                <a:gd name="connsiteX4" fmla="*/ 13800 w 28285"/>
                <a:gd name="connsiteY4" fmla="*/ 257 h 18000"/>
                <a:gd name="connsiteX5" fmla="*/ 257 w 28285"/>
                <a:gd name="connsiteY5" fmla="*/ 8074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285" h="18000">
                  <a:moveTo>
                    <a:pt x="257" y="8074"/>
                  </a:moveTo>
                  <a:cubicBezTo>
                    <a:pt x="2760" y="10714"/>
                    <a:pt x="5708" y="13183"/>
                    <a:pt x="9103" y="15480"/>
                  </a:cubicBezTo>
                  <a:lnTo>
                    <a:pt x="13800" y="18189"/>
                  </a:lnTo>
                  <a:lnTo>
                    <a:pt x="29331" y="9240"/>
                  </a:lnTo>
                  <a:lnTo>
                    <a:pt x="13800" y="257"/>
                  </a:lnTo>
                  <a:lnTo>
                    <a:pt x="257" y="8074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6" name="Freeform: Shape 445">
              <a:extLst>
                <a:ext uri="{FF2B5EF4-FFF2-40B4-BE49-F238E27FC236}">
                  <a16:creationId xmlns:a16="http://schemas.microsoft.com/office/drawing/2014/main" id="{A3A0AA19-798E-446A-A282-843FC41E5A9B}"/>
                </a:ext>
              </a:extLst>
            </p:cNvPr>
            <p:cNvSpPr/>
            <p:nvPr/>
          </p:nvSpPr>
          <p:spPr>
            <a:xfrm>
              <a:off x="6463714" y="1323172"/>
              <a:ext cx="30857" cy="18000"/>
            </a:xfrm>
            <a:custGeom>
              <a:avLst/>
              <a:gdLst>
                <a:gd name="connsiteX0" fmla="*/ 15823 w 30857"/>
                <a:gd name="connsiteY0" fmla="*/ 18189 h 18000"/>
                <a:gd name="connsiteX1" fmla="*/ 31354 w 30857"/>
                <a:gd name="connsiteY1" fmla="*/ 9240 h 18000"/>
                <a:gd name="connsiteX2" fmla="*/ 15823 w 30857"/>
                <a:gd name="connsiteY2" fmla="*/ 257 h 18000"/>
                <a:gd name="connsiteX3" fmla="*/ 257 w 30857"/>
                <a:gd name="connsiteY3" fmla="*/ 9240 h 18000"/>
                <a:gd name="connsiteX4" fmla="*/ 15823 w 30857"/>
                <a:gd name="connsiteY4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823" y="18189"/>
                  </a:moveTo>
                  <a:lnTo>
                    <a:pt x="31354" y="9240"/>
                  </a:lnTo>
                  <a:lnTo>
                    <a:pt x="15823" y="257"/>
                  </a:lnTo>
                  <a:lnTo>
                    <a:pt x="257" y="9240"/>
                  </a:lnTo>
                  <a:lnTo>
                    <a:pt x="15823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7" name="Freeform: Shape 446">
              <a:extLst>
                <a:ext uri="{FF2B5EF4-FFF2-40B4-BE49-F238E27FC236}">
                  <a16:creationId xmlns:a16="http://schemas.microsoft.com/office/drawing/2014/main" id="{7CFAB886-7695-4DAA-A8F7-32465A81EB8C}"/>
                </a:ext>
              </a:extLst>
            </p:cNvPr>
            <p:cNvSpPr/>
            <p:nvPr/>
          </p:nvSpPr>
          <p:spPr>
            <a:xfrm>
              <a:off x="6463714" y="1376863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823 w 30857"/>
                <a:gd name="connsiteY1" fmla="*/ 18189 h 18000"/>
                <a:gd name="connsiteX2" fmla="*/ 31354 w 30857"/>
                <a:gd name="connsiteY2" fmla="*/ 9206 h 18000"/>
                <a:gd name="connsiteX3" fmla="*/ 15823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823" y="18189"/>
                  </a:lnTo>
                  <a:lnTo>
                    <a:pt x="31354" y="9206"/>
                  </a:lnTo>
                  <a:lnTo>
                    <a:pt x="15823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8" name="Freeform: Shape 447">
              <a:extLst>
                <a:ext uri="{FF2B5EF4-FFF2-40B4-BE49-F238E27FC236}">
                  <a16:creationId xmlns:a16="http://schemas.microsoft.com/office/drawing/2014/main" id="{06660720-754B-4783-93D7-7AD06F7C68A6}"/>
                </a:ext>
              </a:extLst>
            </p:cNvPr>
            <p:cNvSpPr/>
            <p:nvPr/>
          </p:nvSpPr>
          <p:spPr>
            <a:xfrm>
              <a:off x="6463714" y="1430520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823 w 30857"/>
                <a:gd name="connsiteY1" fmla="*/ 18189 h 18000"/>
                <a:gd name="connsiteX2" fmla="*/ 31354 w 30857"/>
                <a:gd name="connsiteY2" fmla="*/ 9206 h 18000"/>
                <a:gd name="connsiteX3" fmla="*/ 15823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823" y="18189"/>
                  </a:lnTo>
                  <a:lnTo>
                    <a:pt x="31354" y="9206"/>
                  </a:lnTo>
                  <a:lnTo>
                    <a:pt x="15823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9" name="Freeform: Shape 448">
              <a:extLst>
                <a:ext uri="{FF2B5EF4-FFF2-40B4-BE49-F238E27FC236}">
                  <a16:creationId xmlns:a16="http://schemas.microsoft.com/office/drawing/2014/main" id="{501203A9-A422-4833-A86B-27686D576018}"/>
                </a:ext>
              </a:extLst>
            </p:cNvPr>
            <p:cNvSpPr/>
            <p:nvPr/>
          </p:nvSpPr>
          <p:spPr>
            <a:xfrm>
              <a:off x="6441120" y="1403674"/>
              <a:ext cx="30857" cy="18000"/>
            </a:xfrm>
            <a:custGeom>
              <a:avLst/>
              <a:gdLst>
                <a:gd name="connsiteX0" fmla="*/ 15789 w 30857"/>
                <a:gd name="connsiteY0" fmla="*/ 257 h 18000"/>
                <a:gd name="connsiteX1" fmla="*/ 8040 w 30857"/>
                <a:gd name="connsiteY1" fmla="*/ 4749 h 18000"/>
                <a:gd name="connsiteX2" fmla="*/ 6292 w 30857"/>
                <a:gd name="connsiteY2" fmla="*/ 5743 h 18000"/>
                <a:gd name="connsiteX3" fmla="*/ 257 w 30857"/>
                <a:gd name="connsiteY3" fmla="*/ 9240 h 18000"/>
                <a:gd name="connsiteX4" fmla="*/ 257 w 30857"/>
                <a:gd name="connsiteY4" fmla="*/ 9240 h 18000"/>
                <a:gd name="connsiteX5" fmla="*/ 15789 w 30857"/>
                <a:gd name="connsiteY5" fmla="*/ 18189 h 18000"/>
                <a:gd name="connsiteX6" fmla="*/ 31354 w 30857"/>
                <a:gd name="connsiteY6" fmla="*/ 9240 h 18000"/>
                <a:gd name="connsiteX7" fmla="*/ 31354 w 30857"/>
                <a:gd name="connsiteY7" fmla="*/ 9240 h 18000"/>
                <a:gd name="connsiteX8" fmla="*/ 31354 w 30857"/>
                <a:gd name="connsiteY8" fmla="*/ 9240 h 18000"/>
                <a:gd name="connsiteX9" fmla="*/ 23571 w 30857"/>
                <a:gd name="connsiteY9" fmla="*/ 4749 h 18000"/>
                <a:gd name="connsiteX10" fmla="*/ 15789 w 30857"/>
                <a:gd name="connsiteY10" fmla="*/ 257 h 18000"/>
                <a:gd name="connsiteX11" fmla="*/ 15789 w 30857"/>
                <a:gd name="connsiteY11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857" h="18000">
                  <a:moveTo>
                    <a:pt x="15789" y="257"/>
                  </a:moveTo>
                  <a:lnTo>
                    <a:pt x="8040" y="4749"/>
                  </a:lnTo>
                  <a:lnTo>
                    <a:pt x="6292" y="5743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54" y="9240"/>
                  </a:lnTo>
                  <a:lnTo>
                    <a:pt x="31354" y="9240"/>
                  </a:lnTo>
                  <a:lnTo>
                    <a:pt x="31354" y="9240"/>
                  </a:lnTo>
                  <a:lnTo>
                    <a:pt x="23571" y="4749"/>
                  </a:lnTo>
                  <a:lnTo>
                    <a:pt x="15789" y="257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0" name="Freeform: Shape 449">
              <a:extLst>
                <a:ext uri="{FF2B5EF4-FFF2-40B4-BE49-F238E27FC236}">
                  <a16:creationId xmlns:a16="http://schemas.microsoft.com/office/drawing/2014/main" id="{7F073B69-8D68-4D58-8F07-3EF204DFC7FF}"/>
                </a:ext>
              </a:extLst>
            </p:cNvPr>
            <p:cNvSpPr/>
            <p:nvPr/>
          </p:nvSpPr>
          <p:spPr>
            <a:xfrm>
              <a:off x="6463714" y="1591526"/>
              <a:ext cx="30857" cy="18000"/>
            </a:xfrm>
            <a:custGeom>
              <a:avLst/>
              <a:gdLst>
                <a:gd name="connsiteX0" fmla="*/ 15823 w 30857"/>
                <a:gd name="connsiteY0" fmla="*/ 18189 h 18000"/>
                <a:gd name="connsiteX1" fmla="*/ 31354 w 30857"/>
                <a:gd name="connsiteY1" fmla="*/ 9206 h 18000"/>
                <a:gd name="connsiteX2" fmla="*/ 15823 w 30857"/>
                <a:gd name="connsiteY2" fmla="*/ 257 h 18000"/>
                <a:gd name="connsiteX3" fmla="*/ 257 w 30857"/>
                <a:gd name="connsiteY3" fmla="*/ 9206 h 18000"/>
                <a:gd name="connsiteX4" fmla="*/ 15823 w 30857"/>
                <a:gd name="connsiteY4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823" y="18189"/>
                  </a:moveTo>
                  <a:lnTo>
                    <a:pt x="31354" y="9206"/>
                  </a:lnTo>
                  <a:lnTo>
                    <a:pt x="15823" y="257"/>
                  </a:lnTo>
                  <a:lnTo>
                    <a:pt x="257" y="9206"/>
                  </a:lnTo>
                  <a:lnTo>
                    <a:pt x="15823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1" name="Freeform: Shape 450">
              <a:extLst>
                <a:ext uri="{FF2B5EF4-FFF2-40B4-BE49-F238E27FC236}">
                  <a16:creationId xmlns:a16="http://schemas.microsoft.com/office/drawing/2014/main" id="{5210B1EC-D19F-4E92-9D06-DAD5FD757E36}"/>
                </a:ext>
              </a:extLst>
            </p:cNvPr>
            <p:cNvSpPr/>
            <p:nvPr/>
          </p:nvSpPr>
          <p:spPr>
            <a:xfrm>
              <a:off x="6495805" y="1578120"/>
              <a:ext cx="12857" cy="2571"/>
            </a:xfrm>
            <a:custGeom>
              <a:avLst/>
              <a:gdLst>
                <a:gd name="connsiteX0" fmla="*/ 14143 w 12857"/>
                <a:gd name="connsiteY0" fmla="*/ 257 h 2571"/>
                <a:gd name="connsiteX1" fmla="*/ 257 w 12857"/>
                <a:gd name="connsiteY1" fmla="*/ 1252 h 2571"/>
                <a:gd name="connsiteX2" fmla="*/ 6326 w 12857"/>
                <a:gd name="connsiteY2" fmla="*/ 4749 h 2571"/>
                <a:gd name="connsiteX3" fmla="*/ 14143 w 12857"/>
                <a:gd name="connsiteY3" fmla="*/ 257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57" h="2571">
                  <a:moveTo>
                    <a:pt x="14143" y="257"/>
                  </a:moveTo>
                  <a:cubicBezTo>
                    <a:pt x="9514" y="566"/>
                    <a:pt x="4886" y="875"/>
                    <a:pt x="257" y="1252"/>
                  </a:cubicBezTo>
                  <a:lnTo>
                    <a:pt x="6326" y="4749"/>
                  </a:lnTo>
                  <a:lnTo>
                    <a:pt x="14143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2" name="Freeform: Shape 451">
              <a:extLst>
                <a:ext uri="{FF2B5EF4-FFF2-40B4-BE49-F238E27FC236}">
                  <a16:creationId xmlns:a16="http://schemas.microsoft.com/office/drawing/2014/main" id="{2BE05208-64FA-4538-B9FA-73DB508CEF7C}"/>
                </a:ext>
              </a:extLst>
            </p:cNvPr>
            <p:cNvSpPr/>
            <p:nvPr/>
          </p:nvSpPr>
          <p:spPr>
            <a:xfrm>
              <a:off x="6463714" y="1645183"/>
              <a:ext cx="30857" cy="18000"/>
            </a:xfrm>
            <a:custGeom>
              <a:avLst/>
              <a:gdLst>
                <a:gd name="connsiteX0" fmla="*/ 31354 w 30857"/>
                <a:gd name="connsiteY0" fmla="*/ 9240 h 18000"/>
                <a:gd name="connsiteX1" fmla="*/ 15823 w 30857"/>
                <a:gd name="connsiteY1" fmla="*/ 257 h 18000"/>
                <a:gd name="connsiteX2" fmla="*/ 257 w 30857"/>
                <a:gd name="connsiteY2" fmla="*/ 9240 h 18000"/>
                <a:gd name="connsiteX3" fmla="*/ 15823 w 30857"/>
                <a:gd name="connsiteY3" fmla="*/ 18189 h 18000"/>
                <a:gd name="connsiteX4" fmla="*/ 31354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54" y="9240"/>
                  </a:moveTo>
                  <a:lnTo>
                    <a:pt x="15823" y="257"/>
                  </a:lnTo>
                  <a:lnTo>
                    <a:pt x="257" y="9240"/>
                  </a:lnTo>
                  <a:lnTo>
                    <a:pt x="15823" y="18189"/>
                  </a:lnTo>
                  <a:lnTo>
                    <a:pt x="31354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3" name="Freeform: Shape 452">
              <a:extLst>
                <a:ext uri="{FF2B5EF4-FFF2-40B4-BE49-F238E27FC236}">
                  <a16:creationId xmlns:a16="http://schemas.microsoft.com/office/drawing/2014/main" id="{145E6683-0102-4AE4-9D35-A46E4E49D3B2}"/>
                </a:ext>
              </a:extLst>
            </p:cNvPr>
            <p:cNvSpPr/>
            <p:nvPr/>
          </p:nvSpPr>
          <p:spPr>
            <a:xfrm>
              <a:off x="6441120" y="1618337"/>
              <a:ext cx="30857" cy="18000"/>
            </a:xfrm>
            <a:custGeom>
              <a:avLst/>
              <a:gdLst>
                <a:gd name="connsiteX0" fmla="*/ 15789 w 30857"/>
                <a:gd name="connsiteY0" fmla="*/ 257 h 18000"/>
                <a:gd name="connsiteX1" fmla="*/ 8040 w 30857"/>
                <a:gd name="connsiteY1" fmla="*/ 4748 h 18000"/>
                <a:gd name="connsiteX2" fmla="*/ 6292 w 30857"/>
                <a:gd name="connsiteY2" fmla="*/ 5777 h 18000"/>
                <a:gd name="connsiteX3" fmla="*/ 257 w 30857"/>
                <a:gd name="connsiteY3" fmla="*/ 9240 h 18000"/>
                <a:gd name="connsiteX4" fmla="*/ 257 w 30857"/>
                <a:gd name="connsiteY4" fmla="*/ 9240 h 18000"/>
                <a:gd name="connsiteX5" fmla="*/ 15789 w 30857"/>
                <a:gd name="connsiteY5" fmla="*/ 18223 h 18000"/>
                <a:gd name="connsiteX6" fmla="*/ 31354 w 30857"/>
                <a:gd name="connsiteY6" fmla="*/ 9240 h 18000"/>
                <a:gd name="connsiteX7" fmla="*/ 15789 w 30857"/>
                <a:gd name="connsiteY7" fmla="*/ 257 h 18000"/>
                <a:gd name="connsiteX8" fmla="*/ 15789 w 30857"/>
                <a:gd name="connsiteY8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7" h="18000">
                  <a:moveTo>
                    <a:pt x="15789" y="257"/>
                  </a:moveTo>
                  <a:lnTo>
                    <a:pt x="8040" y="4748"/>
                  </a:lnTo>
                  <a:lnTo>
                    <a:pt x="6292" y="5777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54" y="9240"/>
                  </a:lnTo>
                  <a:lnTo>
                    <a:pt x="15789" y="257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4" name="Freeform: Shape 453">
              <a:extLst>
                <a:ext uri="{FF2B5EF4-FFF2-40B4-BE49-F238E27FC236}">
                  <a16:creationId xmlns:a16="http://schemas.microsoft.com/office/drawing/2014/main" id="{0D4FE3E8-CA3A-438F-9759-715316A5384C}"/>
                </a:ext>
              </a:extLst>
            </p:cNvPr>
            <p:cNvSpPr/>
            <p:nvPr/>
          </p:nvSpPr>
          <p:spPr>
            <a:xfrm>
              <a:off x="6486309" y="1725686"/>
              <a:ext cx="30857" cy="12857"/>
            </a:xfrm>
            <a:custGeom>
              <a:avLst/>
              <a:gdLst>
                <a:gd name="connsiteX0" fmla="*/ 25903 w 30857"/>
                <a:gd name="connsiteY0" fmla="*/ 12394 h 12857"/>
                <a:gd name="connsiteX1" fmla="*/ 31354 w 30857"/>
                <a:gd name="connsiteY1" fmla="*/ 9240 h 12857"/>
                <a:gd name="connsiteX2" fmla="*/ 15823 w 30857"/>
                <a:gd name="connsiteY2" fmla="*/ 257 h 12857"/>
                <a:gd name="connsiteX3" fmla="*/ 257 w 30857"/>
                <a:gd name="connsiteY3" fmla="*/ 9240 h 12857"/>
                <a:gd name="connsiteX4" fmla="*/ 8623 w 30857"/>
                <a:gd name="connsiteY4" fmla="*/ 14040 h 12857"/>
                <a:gd name="connsiteX5" fmla="*/ 25903 w 30857"/>
                <a:gd name="connsiteY5" fmla="*/ 12394 h 1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57" h="12857">
                  <a:moveTo>
                    <a:pt x="25903" y="12394"/>
                  </a:moveTo>
                  <a:lnTo>
                    <a:pt x="31354" y="9240"/>
                  </a:lnTo>
                  <a:lnTo>
                    <a:pt x="15823" y="257"/>
                  </a:lnTo>
                  <a:lnTo>
                    <a:pt x="257" y="9240"/>
                  </a:lnTo>
                  <a:lnTo>
                    <a:pt x="8623" y="14040"/>
                  </a:lnTo>
                  <a:cubicBezTo>
                    <a:pt x="14383" y="13526"/>
                    <a:pt x="20143" y="13046"/>
                    <a:pt x="25903" y="12394"/>
                  </a:cubicBez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5" name="Freeform: Shape 454">
              <a:extLst>
                <a:ext uri="{FF2B5EF4-FFF2-40B4-BE49-F238E27FC236}">
                  <a16:creationId xmlns:a16="http://schemas.microsoft.com/office/drawing/2014/main" id="{B6608EB3-5404-405A-A36E-A84FAF239277}"/>
                </a:ext>
              </a:extLst>
            </p:cNvPr>
            <p:cNvSpPr/>
            <p:nvPr/>
          </p:nvSpPr>
          <p:spPr>
            <a:xfrm>
              <a:off x="6463714" y="1698840"/>
              <a:ext cx="30857" cy="18000"/>
            </a:xfrm>
            <a:custGeom>
              <a:avLst/>
              <a:gdLst>
                <a:gd name="connsiteX0" fmla="*/ 31354 w 30857"/>
                <a:gd name="connsiteY0" fmla="*/ 9240 h 18000"/>
                <a:gd name="connsiteX1" fmla="*/ 15823 w 30857"/>
                <a:gd name="connsiteY1" fmla="*/ 257 h 18000"/>
                <a:gd name="connsiteX2" fmla="*/ 257 w 30857"/>
                <a:gd name="connsiteY2" fmla="*/ 9240 h 18000"/>
                <a:gd name="connsiteX3" fmla="*/ 15823 w 30857"/>
                <a:gd name="connsiteY3" fmla="*/ 18223 h 18000"/>
                <a:gd name="connsiteX4" fmla="*/ 31354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54" y="9240"/>
                  </a:moveTo>
                  <a:lnTo>
                    <a:pt x="15823" y="257"/>
                  </a:lnTo>
                  <a:lnTo>
                    <a:pt x="257" y="9240"/>
                  </a:lnTo>
                  <a:lnTo>
                    <a:pt x="15823" y="18223"/>
                  </a:lnTo>
                  <a:lnTo>
                    <a:pt x="31354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6" name="Freeform: Shape 455">
              <a:extLst>
                <a:ext uri="{FF2B5EF4-FFF2-40B4-BE49-F238E27FC236}">
                  <a16:creationId xmlns:a16="http://schemas.microsoft.com/office/drawing/2014/main" id="{BCA5FE1F-3D66-4F2B-B320-551191948E58}"/>
                </a:ext>
              </a:extLst>
            </p:cNvPr>
            <p:cNvSpPr/>
            <p:nvPr/>
          </p:nvSpPr>
          <p:spPr>
            <a:xfrm>
              <a:off x="6453874" y="1242662"/>
              <a:ext cx="18000" cy="18000"/>
            </a:xfrm>
            <a:custGeom>
              <a:avLst/>
              <a:gdLst>
                <a:gd name="connsiteX0" fmla="*/ 3037 w 18000"/>
                <a:gd name="connsiteY0" fmla="*/ 18203 h 18000"/>
                <a:gd name="connsiteX1" fmla="*/ 18605 w 18000"/>
                <a:gd name="connsiteY1" fmla="*/ 9214 h 18000"/>
                <a:gd name="connsiteX2" fmla="*/ 3037 w 18000"/>
                <a:gd name="connsiteY2" fmla="*/ 258 h 18000"/>
                <a:gd name="connsiteX3" fmla="*/ 3037 w 18000"/>
                <a:gd name="connsiteY3" fmla="*/ 258 h 18000"/>
                <a:gd name="connsiteX4" fmla="*/ 419 w 18000"/>
                <a:gd name="connsiteY4" fmla="*/ 1808 h 18000"/>
                <a:gd name="connsiteX5" fmla="*/ 1935 w 18000"/>
                <a:gd name="connsiteY5" fmla="*/ 17549 h 18000"/>
                <a:gd name="connsiteX6" fmla="*/ 3037 w 18000"/>
                <a:gd name="connsiteY6" fmla="*/ 1820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00" h="18000">
                  <a:moveTo>
                    <a:pt x="3037" y="18203"/>
                  </a:moveTo>
                  <a:lnTo>
                    <a:pt x="18605" y="9214"/>
                  </a:lnTo>
                  <a:lnTo>
                    <a:pt x="3037" y="258"/>
                  </a:lnTo>
                  <a:lnTo>
                    <a:pt x="3037" y="258"/>
                  </a:lnTo>
                  <a:lnTo>
                    <a:pt x="419" y="1808"/>
                  </a:lnTo>
                  <a:cubicBezTo>
                    <a:pt x="-29" y="7078"/>
                    <a:pt x="454" y="12382"/>
                    <a:pt x="1935" y="17549"/>
                  </a:cubicBezTo>
                  <a:lnTo>
                    <a:pt x="3037" y="18203"/>
                  </a:lnTo>
                </a:path>
              </a:pathLst>
            </a:custGeom>
            <a:solidFill>
              <a:srgbClr val="969A9E"/>
            </a:solidFill>
            <a:ln w="12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7" name="Freeform: Shape 456">
              <a:extLst>
                <a:ext uri="{FF2B5EF4-FFF2-40B4-BE49-F238E27FC236}">
                  <a16:creationId xmlns:a16="http://schemas.microsoft.com/office/drawing/2014/main" id="{D96CBB87-5640-412C-9FDF-E04AFCAF40ED}"/>
                </a:ext>
              </a:extLst>
            </p:cNvPr>
            <p:cNvSpPr/>
            <p:nvPr/>
          </p:nvSpPr>
          <p:spPr>
            <a:xfrm>
              <a:off x="6441120" y="1350017"/>
              <a:ext cx="30857" cy="18000"/>
            </a:xfrm>
            <a:custGeom>
              <a:avLst/>
              <a:gdLst>
                <a:gd name="connsiteX0" fmla="*/ 15789 w 30857"/>
                <a:gd name="connsiteY0" fmla="*/ 257 h 18000"/>
                <a:gd name="connsiteX1" fmla="*/ 257 w 30857"/>
                <a:gd name="connsiteY1" fmla="*/ 9206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54 w 30857"/>
                <a:gd name="connsiteY4" fmla="*/ 9240 h 18000"/>
                <a:gd name="connsiteX5" fmla="*/ 31354 w 30857"/>
                <a:gd name="connsiteY5" fmla="*/ 9206 h 18000"/>
                <a:gd name="connsiteX6" fmla="*/ 31354 w 30857"/>
                <a:gd name="connsiteY6" fmla="*/ 9206 h 18000"/>
                <a:gd name="connsiteX7" fmla="*/ 15789 w 30857"/>
                <a:gd name="connsiteY7" fmla="*/ 257 h 18000"/>
                <a:gd name="connsiteX8" fmla="*/ 15789 w 30857"/>
                <a:gd name="connsiteY8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7" h="18000">
                  <a:moveTo>
                    <a:pt x="15789" y="257"/>
                  </a:moveTo>
                  <a:lnTo>
                    <a:pt x="257" y="9206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54" y="9240"/>
                  </a:lnTo>
                  <a:lnTo>
                    <a:pt x="31354" y="9206"/>
                  </a:lnTo>
                  <a:lnTo>
                    <a:pt x="31354" y="9206"/>
                  </a:lnTo>
                  <a:lnTo>
                    <a:pt x="15789" y="257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8" name="Freeform: Shape 457">
              <a:extLst>
                <a:ext uri="{FF2B5EF4-FFF2-40B4-BE49-F238E27FC236}">
                  <a16:creationId xmlns:a16="http://schemas.microsoft.com/office/drawing/2014/main" id="{1CC999BC-DFB9-4658-B4A7-7EAA03271F06}"/>
                </a:ext>
              </a:extLst>
            </p:cNvPr>
            <p:cNvSpPr/>
            <p:nvPr/>
          </p:nvSpPr>
          <p:spPr>
            <a:xfrm>
              <a:off x="6424526" y="1323172"/>
              <a:ext cx="23143" cy="18000"/>
            </a:xfrm>
            <a:custGeom>
              <a:avLst/>
              <a:gdLst>
                <a:gd name="connsiteX0" fmla="*/ 25320 w 23142"/>
                <a:gd name="connsiteY0" fmla="*/ 9240 h 18000"/>
                <a:gd name="connsiteX1" fmla="*/ 9789 w 23142"/>
                <a:gd name="connsiteY1" fmla="*/ 257 h 18000"/>
                <a:gd name="connsiteX2" fmla="*/ 5846 w 23142"/>
                <a:gd name="connsiteY2" fmla="*/ 2554 h 18000"/>
                <a:gd name="connsiteX3" fmla="*/ 257 w 23142"/>
                <a:gd name="connsiteY3" fmla="*/ 12703 h 18000"/>
                <a:gd name="connsiteX4" fmla="*/ 9789 w 23142"/>
                <a:gd name="connsiteY4" fmla="*/ 18189 h 18000"/>
                <a:gd name="connsiteX5" fmla="*/ 25320 w 23142"/>
                <a:gd name="connsiteY5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42" h="18000">
                  <a:moveTo>
                    <a:pt x="25320" y="9240"/>
                  </a:moveTo>
                  <a:lnTo>
                    <a:pt x="9789" y="257"/>
                  </a:lnTo>
                  <a:lnTo>
                    <a:pt x="5846" y="2554"/>
                  </a:lnTo>
                  <a:cubicBezTo>
                    <a:pt x="3377" y="5743"/>
                    <a:pt x="1526" y="9137"/>
                    <a:pt x="257" y="12703"/>
                  </a:cubicBezTo>
                  <a:lnTo>
                    <a:pt x="9789" y="18189"/>
                  </a:lnTo>
                  <a:lnTo>
                    <a:pt x="25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9" name="Freeform: Shape 458">
              <a:extLst>
                <a:ext uri="{FF2B5EF4-FFF2-40B4-BE49-F238E27FC236}">
                  <a16:creationId xmlns:a16="http://schemas.microsoft.com/office/drawing/2014/main" id="{AC858BFD-AA9B-4D50-A984-A06CB67AA122}"/>
                </a:ext>
              </a:extLst>
            </p:cNvPr>
            <p:cNvSpPr/>
            <p:nvPr/>
          </p:nvSpPr>
          <p:spPr>
            <a:xfrm>
              <a:off x="6450205" y="1302052"/>
              <a:ext cx="20571" cy="10286"/>
            </a:xfrm>
            <a:custGeom>
              <a:avLst/>
              <a:gdLst>
                <a:gd name="connsiteX0" fmla="*/ 22269 w 20571"/>
                <a:gd name="connsiteY0" fmla="*/ 3514 h 10285"/>
                <a:gd name="connsiteX1" fmla="*/ 16611 w 20571"/>
                <a:gd name="connsiteY1" fmla="*/ 257 h 10285"/>
                <a:gd name="connsiteX2" fmla="*/ 257 w 20571"/>
                <a:gd name="connsiteY2" fmla="*/ 8760 h 10285"/>
                <a:gd name="connsiteX3" fmla="*/ 6703 w 20571"/>
                <a:gd name="connsiteY3" fmla="*/ 12497 h 10285"/>
                <a:gd name="connsiteX4" fmla="*/ 22269 w 20571"/>
                <a:gd name="connsiteY4" fmla="*/ 3514 h 1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71" h="10285">
                  <a:moveTo>
                    <a:pt x="22269" y="3514"/>
                  </a:moveTo>
                  <a:lnTo>
                    <a:pt x="16611" y="257"/>
                  </a:lnTo>
                  <a:cubicBezTo>
                    <a:pt x="11297" y="3274"/>
                    <a:pt x="5846" y="6086"/>
                    <a:pt x="257" y="8760"/>
                  </a:cubicBezTo>
                  <a:lnTo>
                    <a:pt x="6703" y="12497"/>
                  </a:lnTo>
                  <a:lnTo>
                    <a:pt x="22269" y="3514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0" name="Freeform: Shape 459">
              <a:extLst>
                <a:ext uri="{FF2B5EF4-FFF2-40B4-BE49-F238E27FC236}">
                  <a16:creationId xmlns:a16="http://schemas.microsoft.com/office/drawing/2014/main" id="{3CE86BC5-2461-4BB5-9EC1-93F33B9C0C70}"/>
                </a:ext>
              </a:extLst>
            </p:cNvPr>
            <p:cNvSpPr/>
            <p:nvPr/>
          </p:nvSpPr>
          <p:spPr>
            <a:xfrm>
              <a:off x="6431828" y="1376863"/>
              <a:ext cx="18000" cy="18000"/>
            </a:xfrm>
            <a:custGeom>
              <a:avLst/>
              <a:gdLst>
                <a:gd name="connsiteX0" fmla="*/ 257 w 18000"/>
                <a:gd name="connsiteY0" fmla="*/ 1526 h 18000"/>
                <a:gd name="connsiteX1" fmla="*/ 10920 w 18000"/>
                <a:gd name="connsiteY1" fmla="*/ 13286 h 18000"/>
                <a:gd name="connsiteX2" fmla="*/ 2931 w 18000"/>
                <a:gd name="connsiteY2" fmla="*/ 16440 h 18000"/>
                <a:gd name="connsiteX3" fmla="*/ 1148 w 18000"/>
                <a:gd name="connsiteY3" fmla="*/ 17400 h 18000"/>
                <a:gd name="connsiteX4" fmla="*/ 2486 w 18000"/>
                <a:gd name="connsiteY4" fmla="*/ 18189 h 18000"/>
                <a:gd name="connsiteX5" fmla="*/ 18017 w 18000"/>
                <a:gd name="connsiteY5" fmla="*/ 9206 h 18000"/>
                <a:gd name="connsiteX6" fmla="*/ 2486 w 18000"/>
                <a:gd name="connsiteY6" fmla="*/ 257 h 18000"/>
                <a:gd name="connsiteX7" fmla="*/ 257 w 18000"/>
                <a:gd name="connsiteY7" fmla="*/ 152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0" h="18000">
                  <a:moveTo>
                    <a:pt x="257" y="1526"/>
                  </a:moveTo>
                  <a:cubicBezTo>
                    <a:pt x="3240" y="5880"/>
                    <a:pt x="6806" y="9857"/>
                    <a:pt x="10920" y="13286"/>
                  </a:cubicBezTo>
                  <a:cubicBezTo>
                    <a:pt x="8246" y="14075"/>
                    <a:pt x="5571" y="15103"/>
                    <a:pt x="2931" y="16440"/>
                  </a:cubicBezTo>
                  <a:cubicBezTo>
                    <a:pt x="2348" y="16749"/>
                    <a:pt x="1731" y="17092"/>
                    <a:pt x="1148" y="17400"/>
                  </a:cubicBezTo>
                  <a:lnTo>
                    <a:pt x="2486" y="18189"/>
                  </a:lnTo>
                  <a:lnTo>
                    <a:pt x="18017" y="9206"/>
                  </a:lnTo>
                  <a:lnTo>
                    <a:pt x="2486" y="257"/>
                  </a:lnTo>
                  <a:lnTo>
                    <a:pt x="257" y="152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1" name="Freeform: Shape 460">
              <a:extLst>
                <a:ext uri="{FF2B5EF4-FFF2-40B4-BE49-F238E27FC236}">
                  <a16:creationId xmlns:a16="http://schemas.microsoft.com/office/drawing/2014/main" id="{976A18AB-D3ED-4105-B040-A627ED1F4A7F}"/>
                </a:ext>
              </a:extLst>
            </p:cNvPr>
            <p:cNvSpPr/>
            <p:nvPr/>
          </p:nvSpPr>
          <p:spPr>
            <a:xfrm>
              <a:off x="6441120" y="1457366"/>
              <a:ext cx="30857" cy="18000"/>
            </a:xfrm>
            <a:custGeom>
              <a:avLst/>
              <a:gdLst>
                <a:gd name="connsiteX0" fmla="*/ 6292 w 30857"/>
                <a:gd name="connsiteY0" fmla="*/ 5743 h 18000"/>
                <a:gd name="connsiteX1" fmla="*/ 257 w 30857"/>
                <a:gd name="connsiteY1" fmla="*/ 9206 h 18000"/>
                <a:gd name="connsiteX2" fmla="*/ 257 w 30857"/>
                <a:gd name="connsiteY2" fmla="*/ 9206 h 18000"/>
                <a:gd name="connsiteX3" fmla="*/ 15789 w 30857"/>
                <a:gd name="connsiteY3" fmla="*/ 18189 h 18000"/>
                <a:gd name="connsiteX4" fmla="*/ 31354 w 30857"/>
                <a:gd name="connsiteY4" fmla="*/ 9206 h 18000"/>
                <a:gd name="connsiteX5" fmla="*/ 31354 w 30857"/>
                <a:gd name="connsiteY5" fmla="*/ 9206 h 18000"/>
                <a:gd name="connsiteX6" fmla="*/ 31354 w 30857"/>
                <a:gd name="connsiteY6" fmla="*/ 9206 h 18000"/>
                <a:gd name="connsiteX7" fmla="*/ 23571 w 30857"/>
                <a:gd name="connsiteY7" fmla="*/ 4714 h 18000"/>
                <a:gd name="connsiteX8" fmla="*/ 15789 w 30857"/>
                <a:gd name="connsiteY8" fmla="*/ 257 h 18000"/>
                <a:gd name="connsiteX9" fmla="*/ 15789 w 30857"/>
                <a:gd name="connsiteY9" fmla="*/ 257 h 18000"/>
                <a:gd name="connsiteX10" fmla="*/ 8040 w 30857"/>
                <a:gd name="connsiteY10" fmla="*/ 4714 h 18000"/>
                <a:gd name="connsiteX11" fmla="*/ 6292 w 30857"/>
                <a:gd name="connsiteY11" fmla="*/ 574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857" h="18000">
                  <a:moveTo>
                    <a:pt x="6292" y="5743"/>
                  </a:moveTo>
                  <a:lnTo>
                    <a:pt x="257" y="9206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54" y="9206"/>
                  </a:lnTo>
                  <a:lnTo>
                    <a:pt x="31354" y="9206"/>
                  </a:lnTo>
                  <a:lnTo>
                    <a:pt x="31354" y="9206"/>
                  </a:lnTo>
                  <a:lnTo>
                    <a:pt x="23571" y="4714"/>
                  </a:lnTo>
                  <a:lnTo>
                    <a:pt x="15789" y="257"/>
                  </a:lnTo>
                  <a:lnTo>
                    <a:pt x="15789" y="257"/>
                  </a:lnTo>
                  <a:lnTo>
                    <a:pt x="8040" y="4714"/>
                  </a:lnTo>
                  <a:lnTo>
                    <a:pt x="6292" y="5743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2" name="Freeform: Shape 461">
              <a:extLst>
                <a:ext uri="{FF2B5EF4-FFF2-40B4-BE49-F238E27FC236}">
                  <a16:creationId xmlns:a16="http://schemas.microsoft.com/office/drawing/2014/main" id="{BCE81D89-2D30-45A3-831F-B9B69882584E}"/>
                </a:ext>
              </a:extLst>
            </p:cNvPr>
            <p:cNvSpPr/>
            <p:nvPr/>
          </p:nvSpPr>
          <p:spPr>
            <a:xfrm>
              <a:off x="6418526" y="1430520"/>
              <a:ext cx="30857" cy="18000"/>
            </a:xfrm>
            <a:custGeom>
              <a:avLst/>
              <a:gdLst>
                <a:gd name="connsiteX0" fmla="*/ 15789 w 30857"/>
                <a:gd name="connsiteY0" fmla="*/ 18189 h 18000"/>
                <a:gd name="connsiteX1" fmla="*/ 31320 w 30857"/>
                <a:gd name="connsiteY1" fmla="*/ 9206 h 18000"/>
                <a:gd name="connsiteX2" fmla="*/ 15789 w 30857"/>
                <a:gd name="connsiteY2" fmla="*/ 257 h 18000"/>
                <a:gd name="connsiteX3" fmla="*/ 257 w 30857"/>
                <a:gd name="connsiteY3" fmla="*/ 9206 h 18000"/>
                <a:gd name="connsiteX4" fmla="*/ 15789 w 30857"/>
                <a:gd name="connsiteY4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89" y="18189"/>
                  </a:move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  <a:lnTo>
                    <a:pt x="15789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3" name="Freeform: Shape 462">
              <a:extLst>
                <a:ext uri="{FF2B5EF4-FFF2-40B4-BE49-F238E27FC236}">
                  <a16:creationId xmlns:a16="http://schemas.microsoft.com/office/drawing/2014/main" id="{12313510-9E0C-4E03-91F0-6C98C33D33E9}"/>
                </a:ext>
              </a:extLst>
            </p:cNvPr>
            <p:cNvSpPr/>
            <p:nvPr/>
          </p:nvSpPr>
          <p:spPr>
            <a:xfrm>
              <a:off x="6418526" y="1484177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4" name="Freeform: Shape 463">
              <a:extLst>
                <a:ext uri="{FF2B5EF4-FFF2-40B4-BE49-F238E27FC236}">
                  <a16:creationId xmlns:a16="http://schemas.microsoft.com/office/drawing/2014/main" id="{5DAEB552-6F99-4B65-BF2F-D9F2A71CCD7A}"/>
                </a:ext>
              </a:extLst>
            </p:cNvPr>
            <p:cNvSpPr/>
            <p:nvPr/>
          </p:nvSpPr>
          <p:spPr>
            <a:xfrm>
              <a:off x="6418526" y="1591526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5" name="Freeform: Shape 464">
              <a:extLst>
                <a:ext uri="{FF2B5EF4-FFF2-40B4-BE49-F238E27FC236}">
                  <a16:creationId xmlns:a16="http://schemas.microsoft.com/office/drawing/2014/main" id="{41B463C0-DD14-490A-8E6F-3EF464B0E3F0}"/>
                </a:ext>
              </a:extLst>
            </p:cNvPr>
            <p:cNvSpPr/>
            <p:nvPr/>
          </p:nvSpPr>
          <p:spPr>
            <a:xfrm>
              <a:off x="6418526" y="1645183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6" name="Freeform: Shape 465">
              <a:extLst>
                <a:ext uri="{FF2B5EF4-FFF2-40B4-BE49-F238E27FC236}">
                  <a16:creationId xmlns:a16="http://schemas.microsoft.com/office/drawing/2014/main" id="{70EF5901-F5E5-4ED9-AA89-0131578103B3}"/>
                </a:ext>
              </a:extLst>
            </p:cNvPr>
            <p:cNvSpPr/>
            <p:nvPr/>
          </p:nvSpPr>
          <p:spPr>
            <a:xfrm>
              <a:off x="6441120" y="1725686"/>
              <a:ext cx="30857" cy="15429"/>
            </a:xfrm>
            <a:custGeom>
              <a:avLst/>
              <a:gdLst>
                <a:gd name="connsiteX0" fmla="*/ 15789 w 30857"/>
                <a:gd name="connsiteY0" fmla="*/ 257 h 15428"/>
                <a:gd name="connsiteX1" fmla="*/ 15789 w 30857"/>
                <a:gd name="connsiteY1" fmla="*/ 257 h 15428"/>
                <a:gd name="connsiteX2" fmla="*/ 257 w 30857"/>
                <a:gd name="connsiteY2" fmla="*/ 9240 h 15428"/>
                <a:gd name="connsiteX3" fmla="*/ 13594 w 30857"/>
                <a:gd name="connsiteY3" fmla="*/ 16920 h 15428"/>
                <a:gd name="connsiteX4" fmla="*/ 18429 w 30857"/>
                <a:gd name="connsiteY4" fmla="*/ 16680 h 15428"/>
                <a:gd name="connsiteX5" fmla="*/ 31354 w 30857"/>
                <a:gd name="connsiteY5" fmla="*/ 9240 h 15428"/>
                <a:gd name="connsiteX6" fmla="*/ 15789 w 30857"/>
                <a:gd name="connsiteY6" fmla="*/ 257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5428">
                  <a:moveTo>
                    <a:pt x="15789" y="257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3594" y="16920"/>
                  </a:lnTo>
                  <a:cubicBezTo>
                    <a:pt x="15206" y="16852"/>
                    <a:pt x="16817" y="16748"/>
                    <a:pt x="18429" y="16680"/>
                  </a:cubicBezTo>
                  <a:lnTo>
                    <a:pt x="31354" y="9240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7" name="Freeform: Shape 466">
              <a:extLst>
                <a:ext uri="{FF2B5EF4-FFF2-40B4-BE49-F238E27FC236}">
                  <a16:creationId xmlns:a16="http://schemas.microsoft.com/office/drawing/2014/main" id="{A478E32F-30E7-4020-96DD-AE158E28E194}"/>
                </a:ext>
              </a:extLst>
            </p:cNvPr>
            <p:cNvSpPr/>
            <p:nvPr/>
          </p:nvSpPr>
          <p:spPr>
            <a:xfrm>
              <a:off x="6418526" y="1698840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223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8" name="Freeform: Shape 467">
              <a:extLst>
                <a:ext uri="{FF2B5EF4-FFF2-40B4-BE49-F238E27FC236}">
                  <a16:creationId xmlns:a16="http://schemas.microsoft.com/office/drawing/2014/main" id="{0BFD16DB-CCC0-4681-8C46-F75203E2A797}"/>
                </a:ext>
              </a:extLst>
            </p:cNvPr>
            <p:cNvSpPr/>
            <p:nvPr/>
          </p:nvSpPr>
          <p:spPr>
            <a:xfrm>
              <a:off x="6441120" y="1672029"/>
              <a:ext cx="30857" cy="18000"/>
            </a:xfrm>
            <a:custGeom>
              <a:avLst/>
              <a:gdLst>
                <a:gd name="connsiteX0" fmla="*/ 31354 w 30857"/>
                <a:gd name="connsiteY0" fmla="*/ 9206 h 18000"/>
                <a:gd name="connsiteX1" fmla="*/ 15789 w 30857"/>
                <a:gd name="connsiteY1" fmla="*/ 257 h 18000"/>
                <a:gd name="connsiteX2" fmla="*/ 15789 w 30857"/>
                <a:gd name="connsiteY2" fmla="*/ 257 h 18000"/>
                <a:gd name="connsiteX3" fmla="*/ 257 w 30857"/>
                <a:gd name="connsiteY3" fmla="*/ 9206 h 18000"/>
                <a:gd name="connsiteX4" fmla="*/ 257 w 30857"/>
                <a:gd name="connsiteY4" fmla="*/ 9206 h 18000"/>
                <a:gd name="connsiteX5" fmla="*/ 15789 w 30857"/>
                <a:gd name="connsiteY5" fmla="*/ 18189 h 18000"/>
                <a:gd name="connsiteX6" fmla="*/ 31354 w 30857"/>
                <a:gd name="connsiteY6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8000">
                  <a:moveTo>
                    <a:pt x="31354" y="9206"/>
                  </a:moveTo>
                  <a:lnTo>
                    <a:pt x="15789" y="257"/>
                  </a:lnTo>
                  <a:lnTo>
                    <a:pt x="15789" y="257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54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69" name="Freeform: Shape 468">
              <a:extLst>
                <a:ext uri="{FF2B5EF4-FFF2-40B4-BE49-F238E27FC236}">
                  <a16:creationId xmlns:a16="http://schemas.microsoft.com/office/drawing/2014/main" id="{894B8DE5-C41B-4792-9C14-0B50065FE7CC}"/>
                </a:ext>
              </a:extLst>
            </p:cNvPr>
            <p:cNvSpPr/>
            <p:nvPr/>
          </p:nvSpPr>
          <p:spPr>
            <a:xfrm>
              <a:off x="6422846" y="1356566"/>
              <a:ext cx="2571" cy="2571"/>
            </a:xfrm>
            <a:custGeom>
              <a:avLst/>
              <a:gdLst>
                <a:gd name="connsiteX0" fmla="*/ 4406 w 2571"/>
                <a:gd name="connsiteY0" fmla="*/ 2691 h 2571"/>
                <a:gd name="connsiteX1" fmla="*/ 4406 w 2571"/>
                <a:gd name="connsiteY1" fmla="*/ 2657 h 2571"/>
                <a:gd name="connsiteX2" fmla="*/ 257 w 2571"/>
                <a:gd name="connsiteY2" fmla="*/ 257 h 2571"/>
                <a:gd name="connsiteX3" fmla="*/ 257 w 2571"/>
                <a:gd name="connsiteY3" fmla="*/ 257 h 2571"/>
                <a:gd name="connsiteX4" fmla="*/ 1114 w 2571"/>
                <a:gd name="connsiteY4" fmla="*/ 4577 h 2571"/>
                <a:gd name="connsiteX5" fmla="*/ 4406 w 2571"/>
                <a:gd name="connsiteY5" fmla="*/ 2691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71" h="2571">
                  <a:moveTo>
                    <a:pt x="4406" y="2691"/>
                  </a:moveTo>
                  <a:lnTo>
                    <a:pt x="4406" y="2657"/>
                  </a:lnTo>
                  <a:lnTo>
                    <a:pt x="257" y="257"/>
                  </a:lnTo>
                  <a:lnTo>
                    <a:pt x="257" y="257"/>
                  </a:lnTo>
                  <a:cubicBezTo>
                    <a:pt x="497" y="1697"/>
                    <a:pt x="737" y="3137"/>
                    <a:pt x="1114" y="4577"/>
                  </a:cubicBezTo>
                  <a:lnTo>
                    <a:pt x="4406" y="2691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0" name="Freeform: Shape 469">
              <a:extLst>
                <a:ext uri="{FF2B5EF4-FFF2-40B4-BE49-F238E27FC236}">
                  <a16:creationId xmlns:a16="http://schemas.microsoft.com/office/drawing/2014/main" id="{46ADA329-1232-4740-BA87-AC7D801577F6}"/>
                </a:ext>
              </a:extLst>
            </p:cNvPr>
            <p:cNvSpPr/>
            <p:nvPr/>
          </p:nvSpPr>
          <p:spPr>
            <a:xfrm>
              <a:off x="6350743" y="1457366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257 w 30857"/>
                <a:gd name="connsiteY1" fmla="*/ 9206 h 18000"/>
                <a:gd name="connsiteX2" fmla="*/ 257 w 30857"/>
                <a:gd name="connsiteY2" fmla="*/ 9206 h 18000"/>
                <a:gd name="connsiteX3" fmla="*/ 15789 w 30857"/>
                <a:gd name="connsiteY3" fmla="*/ 18189 h 18000"/>
                <a:gd name="connsiteX4" fmla="*/ 31320 w 30857"/>
                <a:gd name="connsiteY4" fmla="*/ 9206 h 18000"/>
                <a:gd name="connsiteX5" fmla="*/ 31320 w 30857"/>
                <a:gd name="connsiteY5" fmla="*/ 9206 h 18000"/>
                <a:gd name="connsiteX6" fmla="*/ 23571 w 30857"/>
                <a:gd name="connsiteY6" fmla="*/ 4714 h 18000"/>
                <a:gd name="connsiteX7" fmla="*/ 15789 w 30857"/>
                <a:gd name="connsiteY7" fmla="*/ 257 h 18000"/>
                <a:gd name="connsiteX8" fmla="*/ 8040 w 30857"/>
                <a:gd name="connsiteY8" fmla="*/ 4714 h 18000"/>
                <a:gd name="connsiteX9" fmla="*/ 257 w 30857"/>
                <a:gd name="connsiteY9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257" y="9206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  <a:lnTo>
                    <a:pt x="31320" y="9206"/>
                  </a:lnTo>
                  <a:lnTo>
                    <a:pt x="23571" y="4714"/>
                  </a:lnTo>
                  <a:lnTo>
                    <a:pt x="15789" y="257"/>
                  </a:lnTo>
                  <a:lnTo>
                    <a:pt x="8040" y="4714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1" name="Freeform: Shape 470">
              <a:extLst>
                <a:ext uri="{FF2B5EF4-FFF2-40B4-BE49-F238E27FC236}">
                  <a16:creationId xmlns:a16="http://schemas.microsoft.com/office/drawing/2014/main" id="{EBD07733-9520-4539-8F58-DD79F7E24EF6}"/>
                </a:ext>
              </a:extLst>
            </p:cNvPr>
            <p:cNvSpPr/>
            <p:nvPr/>
          </p:nvSpPr>
          <p:spPr>
            <a:xfrm>
              <a:off x="6373337" y="1430520"/>
              <a:ext cx="30857" cy="18000"/>
            </a:xfrm>
            <a:custGeom>
              <a:avLst/>
              <a:gdLst>
                <a:gd name="connsiteX0" fmla="*/ 31320 w 30857"/>
                <a:gd name="connsiteY0" fmla="*/ 9206 h 18000"/>
                <a:gd name="connsiteX1" fmla="*/ 15789 w 30857"/>
                <a:gd name="connsiteY1" fmla="*/ 257 h 18000"/>
                <a:gd name="connsiteX2" fmla="*/ 257 w 30857"/>
                <a:gd name="connsiteY2" fmla="*/ 9206 h 18000"/>
                <a:gd name="connsiteX3" fmla="*/ 15789 w 30857"/>
                <a:gd name="connsiteY3" fmla="*/ 18189 h 18000"/>
                <a:gd name="connsiteX4" fmla="*/ 31320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06"/>
                  </a:moveTo>
                  <a:lnTo>
                    <a:pt x="15789" y="257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2" name="Freeform: Shape 471">
              <a:extLst>
                <a:ext uri="{FF2B5EF4-FFF2-40B4-BE49-F238E27FC236}">
                  <a16:creationId xmlns:a16="http://schemas.microsoft.com/office/drawing/2014/main" id="{91F877AF-BA9A-4C6F-B7B0-6203C74232CB}"/>
                </a:ext>
              </a:extLst>
            </p:cNvPr>
            <p:cNvSpPr/>
            <p:nvPr/>
          </p:nvSpPr>
          <p:spPr>
            <a:xfrm>
              <a:off x="6397166" y="1404566"/>
              <a:ext cx="28286" cy="15429"/>
            </a:xfrm>
            <a:custGeom>
              <a:avLst/>
              <a:gdLst>
                <a:gd name="connsiteX0" fmla="*/ 30086 w 28285"/>
                <a:gd name="connsiteY0" fmla="*/ 8348 h 15428"/>
                <a:gd name="connsiteX1" fmla="*/ 30086 w 28285"/>
                <a:gd name="connsiteY1" fmla="*/ 8348 h 15428"/>
                <a:gd name="connsiteX2" fmla="*/ 30086 w 28285"/>
                <a:gd name="connsiteY2" fmla="*/ 8348 h 15428"/>
                <a:gd name="connsiteX3" fmla="*/ 22337 w 28285"/>
                <a:gd name="connsiteY3" fmla="*/ 3857 h 15428"/>
                <a:gd name="connsiteX4" fmla="*/ 16063 w 28285"/>
                <a:gd name="connsiteY4" fmla="*/ 257 h 15428"/>
                <a:gd name="connsiteX5" fmla="*/ 257 w 28285"/>
                <a:gd name="connsiteY5" fmla="*/ 9068 h 15428"/>
                <a:gd name="connsiteX6" fmla="*/ 14554 w 28285"/>
                <a:gd name="connsiteY6" fmla="*/ 17297 h 15428"/>
                <a:gd name="connsiteX7" fmla="*/ 30086 w 28285"/>
                <a:gd name="connsiteY7" fmla="*/ 8348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285" h="15428">
                  <a:moveTo>
                    <a:pt x="30086" y="8348"/>
                  </a:moveTo>
                  <a:lnTo>
                    <a:pt x="30086" y="8348"/>
                  </a:lnTo>
                  <a:lnTo>
                    <a:pt x="30086" y="8348"/>
                  </a:lnTo>
                  <a:lnTo>
                    <a:pt x="22337" y="3857"/>
                  </a:lnTo>
                  <a:lnTo>
                    <a:pt x="16063" y="257"/>
                  </a:lnTo>
                  <a:cubicBezTo>
                    <a:pt x="10783" y="3137"/>
                    <a:pt x="5503" y="6086"/>
                    <a:pt x="257" y="9068"/>
                  </a:cubicBezTo>
                  <a:lnTo>
                    <a:pt x="14554" y="17297"/>
                  </a:lnTo>
                  <a:lnTo>
                    <a:pt x="30086" y="83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3" name="Freeform: Shape 472">
              <a:extLst>
                <a:ext uri="{FF2B5EF4-FFF2-40B4-BE49-F238E27FC236}">
                  <a16:creationId xmlns:a16="http://schemas.microsoft.com/office/drawing/2014/main" id="{B2B54118-97D6-4638-BB3D-35E742F1D8EA}"/>
                </a:ext>
              </a:extLst>
            </p:cNvPr>
            <p:cNvSpPr/>
            <p:nvPr/>
          </p:nvSpPr>
          <p:spPr>
            <a:xfrm>
              <a:off x="6373337" y="1484177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4" name="Freeform: Shape 473">
              <a:extLst>
                <a:ext uri="{FF2B5EF4-FFF2-40B4-BE49-F238E27FC236}">
                  <a16:creationId xmlns:a16="http://schemas.microsoft.com/office/drawing/2014/main" id="{7B54DEF7-566D-434A-8EA3-06F5A103E518}"/>
                </a:ext>
              </a:extLst>
            </p:cNvPr>
            <p:cNvSpPr/>
            <p:nvPr/>
          </p:nvSpPr>
          <p:spPr>
            <a:xfrm>
              <a:off x="6395931" y="1457366"/>
              <a:ext cx="30857" cy="18000"/>
            </a:xfrm>
            <a:custGeom>
              <a:avLst/>
              <a:gdLst>
                <a:gd name="connsiteX0" fmla="*/ 8040 w 30857"/>
                <a:gd name="connsiteY0" fmla="*/ 4714 h 18000"/>
                <a:gd name="connsiteX1" fmla="*/ 6292 w 30857"/>
                <a:gd name="connsiteY1" fmla="*/ 5743 h 18000"/>
                <a:gd name="connsiteX2" fmla="*/ 257 w 30857"/>
                <a:gd name="connsiteY2" fmla="*/ 9206 h 18000"/>
                <a:gd name="connsiteX3" fmla="*/ 257 w 30857"/>
                <a:gd name="connsiteY3" fmla="*/ 9206 h 18000"/>
                <a:gd name="connsiteX4" fmla="*/ 15789 w 30857"/>
                <a:gd name="connsiteY4" fmla="*/ 18189 h 18000"/>
                <a:gd name="connsiteX5" fmla="*/ 31320 w 30857"/>
                <a:gd name="connsiteY5" fmla="*/ 9206 h 18000"/>
                <a:gd name="connsiteX6" fmla="*/ 31320 w 30857"/>
                <a:gd name="connsiteY6" fmla="*/ 9206 h 18000"/>
                <a:gd name="connsiteX7" fmla="*/ 31320 w 30857"/>
                <a:gd name="connsiteY7" fmla="*/ 9206 h 18000"/>
                <a:gd name="connsiteX8" fmla="*/ 23571 w 30857"/>
                <a:gd name="connsiteY8" fmla="*/ 4714 h 18000"/>
                <a:gd name="connsiteX9" fmla="*/ 15789 w 30857"/>
                <a:gd name="connsiteY9" fmla="*/ 257 h 18000"/>
                <a:gd name="connsiteX10" fmla="*/ 8040 w 30857"/>
                <a:gd name="connsiteY10" fmla="*/ 4714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7" h="18000">
                  <a:moveTo>
                    <a:pt x="8040" y="4714"/>
                  </a:moveTo>
                  <a:lnTo>
                    <a:pt x="6292" y="5743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  <a:lnTo>
                    <a:pt x="31320" y="9206"/>
                  </a:lnTo>
                  <a:lnTo>
                    <a:pt x="31320" y="9206"/>
                  </a:lnTo>
                  <a:lnTo>
                    <a:pt x="23571" y="4714"/>
                  </a:lnTo>
                  <a:lnTo>
                    <a:pt x="15789" y="257"/>
                  </a:lnTo>
                  <a:lnTo>
                    <a:pt x="8040" y="4714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5" name="Freeform: Shape 474">
              <a:extLst>
                <a:ext uri="{FF2B5EF4-FFF2-40B4-BE49-F238E27FC236}">
                  <a16:creationId xmlns:a16="http://schemas.microsoft.com/office/drawing/2014/main" id="{AA85A8D6-2137-449C-A72F-0F7220C422C5}"/>
                </a:ext>
              </a:extLst>
            </p:cNvPr>
            <p:cNvSpPr/>
            <p:nvPr/>
          </p:nvSpPr>
          <p:spPr>
            <a:xfrm>
              <a:off x="6395931" y="1511023"/>
              <a:ext cx="23143" cy="12857"/>
            </a:xfrm>
            <a:custGeom>
              <a:avLst/>
              <a:gdLst>
                <a:gd name="connsiteX0" fmla="*/ 8040 w 23142"/>
                <a:gd name="connsiteY0" fmla="*/ 4748 h 12857"/>
                <a:gd name="connsiteX1" fmla="*/ 6292 w 23142"/>
                <a:gd name="connsiteY1" fmla="*/ 5743 h 12857"/>
                <a:gd name="connsiteX2" fmla="*/ 257 w 23142"/>
                <a:gd name="connsiteY2" fmla="*/ 9240 h 12857"/>
                <a:gd name="connsiteX3" fmla="*/ 257 w 23142"/>
                <a:gd name="connsiteY3" fmla="*/ 9240 h 12857"/>
                <a:gd name="connsiteX4" fmla="*/ 8623 w 23142"/>
                <a:gd name="connsiteY4" fmla="*/ 14040 h 12857"/>
                <a:gd name="connsiteX5" fmla="*/ 24394 w 23142"/>
                <a:gd name="connsiteY5" fmla="*/ 5194 h 12857"/>
                <a:gd name="connsiteX6" fmla="*/ 23571 w 23142"/>
                <a:gd name="connsiteY6" fmla="*/ 4748 h 12857"/>
                <a:gd name="connsiteX7" fmla="*/ 15789 w 23142"/>
                <a:gd name="connsiteY7" fmla="*/ 257 h 12857"/>
                <a:gd name="connsiteX8" fmla="*/ 8040 w 23142"/>
                <a:gd name="connsiteY8" fmla="*/ 4748 h 1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142" h="12857">
                  <a:moveTo>
                    <a:pt x="8040" y="4748"/>
                  </a:moveTo>
                  <a:lnTo>
                    <a:pt x="6292" y="5743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8623" y="14040"/>
                  </a:lnTo>
                  <a:cubicBezTo>
                    <a:pt x="13869" y="11091"/>
                    <a:pt x="19149" y="8177"/>
                    <a:pt x="24394" y="5194"/>
                  </a:cubicBezTo>
                  <a:lnTo>
                    <a:pt x="23571" y="4748"/>
                  </a:lnTo>
                  <a:lnTo>
                    <a:pt x="15789" y="257"/>
                  </a:lnTo>
                  <a:lnTo>
                    <a:pt x="8040" y="47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6" name="Freeform: Shape 475">
              <a:extLst>
                <a:ext uri="{FF2B5EF4-FFF2-40B4-BE49-F238E27FC236}">
                  <a16:creationId xmlns:a16="http://schemas.microsoft.com/office/drawing/2014/main" id="{ABD137B8-4CA4-492C-89A4-E0D623DC7BF3}"/>
                </a:ext>
              </a:extLst>
            </p:cNvPr>
            <p:cNvSpPr/>
            <p:nvPr/>
          </p:nvSpPr>
          <p:spPr>
            <a:xfrm>
              <a:off x="6373337" y="1594029"/>
              <a:ext cx="30857" cy="15429"/>
            </a:xfrm>
            <a:custGeom>
              <a:avLst/>
              <a:gdLst>
                <a:gd name="connsiteX0" fmla="*/ 11434 w 30857"/>
                <a:gd name="connsiteY0" fmla="*/ 257 h 15428"/>
                <a:gd name="connsiteX1" fmla="*/ 257 w 30857"/>
                <a:gd name="connsiteY1" fmla="*/ 6703 h 15428"/>
                <a:gd name="connsiteX2" fmla="*/ 15789 w 30857"/>
                <a:gd name="connsiteY2" fmla="*/ 15686 h 15428"/>
                <a:gd name="connsiteX3" fmla="*/ 31320 w 30857"/>
                <a:gd name="connsiteY3" fmla="*/ 6703 h 15428"/>
                <a:gd name="connsiteX4" fmla="*/ 20691 w 30857"/>
                <a:gd name="connsiteY4" fmla="*/ 566 h 15428"/>
                <a:gd name="connsiteX5" fmla="*/ 11434 w 30857"/>
                <a:gd name="connsiteY5" fmla="*/ 257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57" h="15428">
                  <a:moveTo>
                    <a:pt x="11434" y="257"/>
                  </a:moveTo>
                  <a:lnTo>
                    <a:pt x="257" y="6703"/>
                  </a:lnTo>
                  <a:lnTo>
                    <a:pt x="15789" y="15686"/>
                  </a:lnTo>
                  <a:lnTo>
                    <a:pt x="31320" y="6703"/>
                  </a:lnTo>
                  <a:lnTo>
                    <a:pt x="20691" y="566"/>
                  </a:lnTo>
                  <a:cubicBezTo>
                    <a:pt x="17400" y="840"/>
                    <a:pt x="14314" y="737"/>
                    <a:pt x="11434" y="257"/>
                  </a:cubicBez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7" name="Freeform: Shape 476">
              <a:extLst>
                <a:ext uri="{FF2B5EF4-FFF2-40B4-BE49-F238E27FC236}">
                  <a16:creationId xmlns:a16="http://schemas.microsoft.com/office/drawing/2014/main" id="{741C796A-9C39-4AD8-B75B-661B274A2BF9}"/>
                </a:ext>
              </a:extLst>
            </p:cNvPr>
            <p:cNvSpPr/>
            <p:nvPr/>
          </p:nvSpPr>
          <p:spPr>
            <a:xfrm>
              <a:off x="6395931" y="1672029"/>
              <a:ext cx="30857" cy="18000"/>
            </a:xfrm>
            <a:custGeom>
              <a:avLst/>
              <a:gdLst>
                <a:gd name="connsiteX0" fmla="*/ 10097 w 30857"/>
                <a:gd name="connsiteY0" fmla="*/ 3548 h 18000"/>
                <a:gd name="connsiteX1" fmla="*/ 257 w 30857"/>
                <a:gd name="connsiteY1" fmla="*/ 9206 h 18000"/>
                <a:gd name="connsiteX2" fmla="*/ 257 w 30857"/>
                <a:gd name="connsiteY2" fmla="*/ 9206 h 18000"/>
                <a:gd name="connsiteX3" fmla="*/ 15789 w 30857"/>
                <a:gd name="connsiteY3" fmla="*/ 18189 h 18000"/>
                <a:gd name="connsiteX4" fmla="*/ 31320 w 30857"/>
                <a:gd name="connsiteY4" fmla="*/ 9206 h 18000"/>
                <a:gd name="connsiteX5" fmla="*/ 15789 w 30857"/>
                <a:gd name="connsiteY5" fmla="*/ 257 h 18000"/>
                <a:gd name="connsiteX6" fmla="*/ 10097 w 30857"/>
                <a:gd name="connsiteY6" fmla="*/ 3548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8000">
                  <a:moveTo>
                    <a:pt x="10097" y="3548"/>
                  </a:moveTo>
                  <a:lnTo>
                    <a:pt x="257" y="9206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10097" y="35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8" name="Freeform: Shape 477">
              <a:extLst>
                <a:ext uri="{FF2B5EF4-FFF2-40B4-BE49-F238E27FC236}">
                  <a16:creationId xmlns:a16="http://schemas.microsoft.com/office/drawing/2014/main" id="{39E90B56-D377-43C0-B234-6C8FC8F73B3F}"/>
                </a:ext>
              </a:extLst>
            </p:cNvPr>
            <p:cNvSpPr/>
            <p:nvPr/>
          </p:nvSpPr>
          <p:spPr>
            <a:xfrm>
              <a:off x="6350743" y="1672029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257 w 30857"/>
                <a:gd name="connsiteY1" fmla="*/ 9206 h 18000"/>
                <a:gd name="connsiteX2" fmla="*/ 257 w 30857"/>
                <a:gd name="connsiteY2" fmla="*/ 9206 h 18000"/>
                <a:gd name="connsiteX3" fmla="*/ 15789 w 30857"/>
                <a:gd name="connsiteY3" fmla="*/ 18189 h 18000"/>
                <a:gd name="connsiteX4" fmla="*/ 31320 w 30857"/>
                <a:gd name="connsiteY4" fmla="*/ 9206 h 18000"/>
                <a:gd name="connsiteX5" fmla="*/ 15789 w 30857"/>
                <a:gd name="connsiteY5" fmla="*/ 257 h 18000"/>
                <a:gd name="connsiteX6" fmla="*/ 257 w 30857"/>
                <a:gd name="connsiteY6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257" y="9206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79" name="Freeform: Shape 478">
              <a:extLst>
                <a:ext uri="{FF2B5EF4-FFF2-40B4-BE49-F238E27FC236}">
                  <a16:creationId xmlns:a16="http://schemas.microsoft.com/office/drawing/2014/main" id="{A3EE44CD-3C0C-45B5-9987-FE161CF6DCD5}"/>
                </a:ext>
              </a:extLst>
            </p:cNvPr>
            <p:cNvSpPr/>
            <p:nvPr/>
          </p:nvSpPr>
          <p:spPr>
            <a:xfrm>
              <a:off x="6373337" y="1645183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0" name="Freeform: Shape 479">
              <a:extLst>
                <a:ext uri="{FF2B5EF4-FFF2-40B4-BE49-F238E27FC236}">
                  <a16:creationId xmlns:a16="http://schemas.microsoft.com/office/drawing/2014/main" id="{4BDD669C-2A2C-44C8-82B9-7C9A59638709}"/>
                </a:ext>
              </a:extLst>
            </p:cNvPr>
            <p:cNvSpPr/>
            <p:nvPr/>
          </p:nvSpPr>
          <p:spPr>
            <a:xfrm>
              <a:off x="6395931" y="1618337"/>
              <a:ext cx="30857" cy="18000"/>
            </a:xfrm>
            <a:custGeom>
              <a:avLst/>
              <a:gdLst>
                <a:gd name="connsiteX0" fmla="*/ 8040 w 30857"/>
                <a:gd name="connsiteY0" fmla="*/ 4748 h 18000"/>
                <a:gd name="connsiteX1" fmla="*/ 6292 w 30857"/>
                <a:gd name="connsiteY1" fmla="*/ 5777 h 18000"/>
                <a:gd name="connsiteX2" fmla="*/ 257 w 30857"/>
                <a:gd name="connsiteY2" fmla="*/ 9240 h 18000"/>
                <a:gd name="connsiteX3" fmla="*/ 257 w 30857"/>
                <a:gd name="connsiteY3" fmla="*/ 9240 h 18000"/>
                <a:gd name="connsiteX4" fmla="*/ 15789 w 30857"/>
                <a:gd name="connsiteY4" fmla="*/ 18223 h 18000"/>
                <a:gd name="connsiteX5" fmla="*/ 31320 w 30857"/>
                <a:gd name="connsiteY5" fmla="*/ 9240 h 18000"/>
                <a:gd name="connsiteX6" fmla="*/ 15789 w 30857"/>
                <a:gd name="connsiteY6" fmla="*/ 257 h 18000"/>
                <a:gd name="connsiteX7" fmla="*/ 8040 w 30857"/>
                <a:gd name="connsiteY7" fmla="*/ 4748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8040" y="4748"/>
                  </a:moveTo>
                  <a:lnTo>
                    <a:pt x="6292" y="5777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8040" y="47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1" name="Freeform: Shape 480">
              <a:extLst>
                <a:ext uri="{FF2B5EF4-FFF2-40B4-BE49-F238E27FC236}">
                  <a16:creationId xmlns:a16="http://schemas.microsoft.com/office/drawing/2014/main" id="{959A2D4C-14C9-4B3E-BAD8-C69562903A26}"/>
                </a:ext>
              </a:extLst>
            </p:cNvPr>
            <p:cNvSpPr/>
            <p:nvPr/>
          </p:nvSpPr>
          <p:spPr>
            <a:xfrm>
              <a:off x="6395931" y="1725686"/>
              <a:ext cx="30857" cy="15429"/>
            </a:xfrm>
            <a:custGeom>
              <a:avLst/>
              <a:gdLst>
                <a:gd name="connsiteX0" fmla="*/ 17606 w 30857"/>
                <a:gd name="connsiteY0" fmla="*/ 17160 h 15428"/>
                <a:gd name="connsiteX1" fmla="*/ 31320 w 30857"/>
                <a:gd name="connsiteY1" fmla="*/ 9240 h 15428"/>
                <a:gd name="connsiteX2" fmla="*/ 15789 w 30857"/>
                <a:gd name="connsiteY2" fmla="*/ 257 h 15428"/>
                <a:gd name="connsiteX3" fmla="*/ 257 w 30857"/>
                <a:gd name="connsiteY3" fmla="*/ 9240 h 15428"/>
                <a:gd name="connsiteX4" fmla="*/ 13800 w 30857"/>
                <a:gd name="connsiteY4" fmla="*/ 17057 h 15428"/>
                <a:gd name="connsiteX5" fmla="*/ 17606 w 30857"/>
                <a:gd name="connsiteY5" fmla="*/ 17160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57" h="15428">
                  <a:moveTo>
                    <a:pt x="17606" y="17160"/>
                  </a:move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  <a:lnTo>
                    <a:pt x="13800" y="17057"/>
                  </a:lnTo>
                  <a:cubicBezTo>
                    <a:pt x="15069" y="17091"/>
                    <a:pt x="16337" y="17126"/>
                    <a:pt x="17606" y="17160"/>
                  </a:cubicBez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2" name="Freeform: Shape 481">
              <a:extLst>
                <a:ext uri="{FF2B5EF4-FFF2-40B4-BE49-F238E27FC236}">
                  <a16:creationId xmlns:a16="http://schemas.microsoft.com/office/drawing/2014/main" id="{4149E9B8-71C1-434B-9020-F641AF9DF8C1}"/>
                </a:ext>
              </a:extLst>
            </p:cNvPr>
            <p:cNvSpPr/>
            <p:nvPr/>
          </p:nvSpPr>
          <p:spPr>
            <a:xfrm>
              <a:off x="6373337" y="1698840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223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3" name="Freeform: Shape 482">
              <a:extLst>
                <a:ext uri="{FF2B5EF4-FFF2-40B4-BE49-F238E27FC236}">
                  <a16:creationId xmlns:a16="http://schemas.microsoft.com/office/drawing/2014/main" id="{1C427199-1CD5-415E-9937-DA91C8254D5F}"/>
                </a:ext>
              </a:extLst>
            </p:cNvPr>
            <p:cNvSpPr/>
            <p:nvPr/>
          </p:nvSpPr>
          <p:spPr>
            <a:xfrm>
              <a:off x="6338914" y="1437069"/>
              <a:ext cx="20571" cy="10286"/>
            </a:xfrm>
            <a:custGeom>
              <a:avLst/>
              <a:gdLst>
                <a:gd name="connsiteX0" fmla="*/ 20554 w 20571"/>
                <a:gd name="connsiteY0" fmla="*/ 2657 h 10285"/>
                <a:gd name="connsiteX1" fmla="*/ 16371 w 20571"/>
                <a:gd name="connsiteY1" fmla="*/ 257 h 10285"/>
                <a:gd name="connsiteX2" fmla="*/ 257 w 20571"/>
                <a:gd name="connsiteY2" fmla="*/ 8897 h 10285"/>
                <a:gd name="connsiteX3" fmla="*/ 5023 w 20571"/>
                <a:gd name="connsiteY3" fmla="*/ 11640 h 10285"/>
                <a:gd name="connsiteX4" fmla="*/ 20554 w 20571"/>
                <a:gd name="connsiteY4" fmla="*/ 2657 h 1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571" h="10285">
                  <a:moveTo>
                    <a:pt x="20554" y="2657"/>
                  </a:moveTo>
                  <a:lnTo>
                    <a:pt x="16371" y="257"/>
                  </a:lnTo>
                  <a:cubicBezTo>
                    <a:pt x="11023" y="3171"/>
                    <a:pt x="5640" y="6051"/>
                    <a:pt x="257" y="8897"/>
                  </a:cubicBezTo>
                  <a:lnTo>
                    <a:pt x="5023" y="11640"/>
                  </a:lnTo>
                  <a:lnTo>
                    <a:pt x="20554" y="26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4" name="Freeform: Shape 483">
              <a:extLst>
                <a:ext uri="{FF2B5EF4-FFF2-40B4-BE49-F238E27FC236}">
                  <a16:creationId xmlns:a16="http://schemas.microsoft.com/office/drawing/2014/main" id="{EC650EC2-2D0F-4097-8DA7-33C4024E75A1}"/>
                </a:ext>
              </a:extLst>
            </p:cNvPr>
            <p:cNvSpPr/>
            <p:nvPr/>
          </p:nvSpPr>
          <p:spPr>
            <a:xfrm>
              <a:off x="6328148" y="1484177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5" name="Freeform: Shape 484">
              <a:extLst>
                <a:ext uri="{FF2B5EF4-FFF2-40B4-BE49-F238E27FC236}">
                  <a16:creationId xmlns:a16="http://schemas.microsoft.com/office/drawing/2014/main" id="{3DF9E768-FFD6-4695-8C25-BD7821D2C232}"/>
                </a:ext>
              </a:extLst>
            </p:cNvPr>
            <p:cNvSpPr/>
            <p:nvPr/>
          </p:nvSpPr>
          <p:spPr>
            <a:xfrm>
              <a:off x="6328148" y="1537834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223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223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6" name="Freeform: Shape 485">
              <a:extLst>
                <a:ext uri="{FF2B5EF4-FFF2-40B4-BE49-F238E27FC236}">
                  <a16:creationId xmlns:a16="http://schemas.microsoft.com/office/drawing/2014/main" id="{71BBC022-4560-49CA-BD82-4615B3343E4C}"/>
                </a:ext>
              </a:extLst>
            </p:cNvPr>
            <p:cNvSpPr/>
            <p:nvPr/>
          </p:nvSpPr>
          <p:spPr>
            <a:xfrm>
              <a:off x="6350743" y="1511023"/>
              <a:ext cx="30857" cy="18000"/>
            </a:xfrm>
            <a:custGeom>
              <a:avLst/>
              <a:gdLst>
                <a:gd name="connsiteX0" fmla="*/ 8040 w 30857"/>
                <a:gd name="connsiteY0" fmla="*/ 4748 h 18000"/>
                <a:gd name="connsiteX1" fmla="*/ 257 w 30857"/>
                <a:gd name="connsiteY1" fmla="*/ 9240 h 18000"/>
                <a:gd name="connsiteX2" fmla="*/ 257 w 30857"/>
                <a:gd name="connsiteY2" fmla="*/ 9240 h 18000"/>
                <a:gd name="connsiteX3" fmla="*/ 257 w 30857"/>
                <a:gd name="connsiteY3" fmla="*/ 9240 h 18000"/>
                <a:gd name="connsiteX4" fmla="*/ 15789 w 30857"/>
                <a:gd name="connsiteY4" fmla="*/ 18189 h 18000"/>
                <a:gd name="connsiteX5" fmla="*/ 31320 w 30857"/>
                <a:gd name="connsiteY5" fmla="*/ 9240 h 18000"/>
                <a:gd name="connsiteX6" fmla="*/ 31320 w 30857"/>
                <a:gd name="connsiteY6" fmla="*/ 9240 h 18000"/>
                <a:gd name="connsiteX7" fmla="*/ 23571 w 30857"/>
                <a:gd name="connsiteY7" fmla="*/ 4748 h 18000"/>
                <a:gd name="connsiteX8" fmla="*/ 15789 w 30857"/>
                <a:gd name="connsiteY8" fmla="*/ 257 h 18000"/>
                <a:gd name="connsiteX9" fmla="*/ 8040 w 30857"/>
                <a:gd name="connsiteY9" fmla="*/ 4748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7" h="18000">
                  <a:moveTo>
                    <a:pt x="8040" y="4748"/>
                  </a:move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  <a:lnTo>
                    <a:pt x="31320" y="9240"/>
                  </a:lnTo>
                  <a:lnTo>
                    <a:pt x="23571" y="4748"/>
                  </a:lnTo>
                  <a:lnTo>
                    <a:pt x="15789" y="257"/>
                  </a:lnTo>
                  <a:lnTo>
                    <a:pt x="8040" y="47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7" name="Freeform: Shape 486">
              <a:extLst>
                <a:ext uri="{FF2B5EF4-FFF2-40B4-BE49-F238E27FC236}">
                  <a16:creationId xmlns:a16="http://schemas.microsoft.com/office/drawing/2014/main" id="{20BC3EDE-7B8F-4499-9DE3-50398D3306FF}"/>
                </a:ext>
              </a:extLst>
            </p:cNvPr>
            <p:cNvSpPr/>
            <p:nvPr/>
          </p:nvSpPr>
          <p:spPr>
            <a:xfrm>
              <a:off x="6335417" y="1594166"/>
              <a:ext cx="23143" cy="15429"/>
            </a:xfrm>
            <a:custGeom>
              <a:avLst/>
              <a:gdLst>
                <a:gd name="connsiteX0" fmla="*/ 13114 w 23142"/>
                <a:gd name="connsiteY0" fmla="*/ 257 h 15428"/>
                <a:gd name="connsiteX1" fmla="*/ 257 w 23142"/>
                <a:gd name="connsiteY1" fmla="*/ 10783 h 15428"/>
                <a:gd name="connsiteX2" fmla="*/ 8520 w 23142"/>
                <a:gd name="connsiteY2" fmla="*/ 15548 h 15428"/>
                <a:gd name="connsiteX3" fmla="*/ 24052 w 23142"/>
                <a:gd name="connsiteY3" fmla="*/ 6566 h 15428"/>
                <a:gd name="connsiteX4" fmla="*/ 13114 w 23142"/>
                <a:gd name="connsiteY4" fmla="*/ 257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42" h="15428">
                  <a:moveTo>
                    <a:pt x="13114" y="257"/>
                  </a:moveTo>
                  <a:cubicBezTo>
                    <a:pt x="8143" y="2794"/>
                    <a:pt x="3823" y="6394"/>
                    <a:pt x="257" y="10783"/>
                  </a:cubicBezTo>
                  <a:lnTo>
                    <a:pt x="8520" y="15548"/>
                  </a:lnTo>
                  <a:lnTo>
                    <a:pt x="24052" y="6566"/>
                  </a:lnTo>
                  <a:lnTo>
                    <a:pt x="13114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8" name="Freeform: Shape 487">
              <a:extLst>
                <a:ext uri="{FF2B5EF4-FFF2-40B4-BE49-F238E27FC236}">
                  <a16:creationId xmlns:a16="http://schemas.microsoft.com/office/drawing/2014/main" id="{3EFAA1AE-8BB6-4C70-90A1-59F91C04955D}"/>
                </a:ext>
              </a:extLst>
            </p:cNvPr>
            <p:cNvSpPr/>
            <p:nvPr/>
          </p:nvSpPr>
          <p:spPr>
            <a:xfrm>
              <a:off x="6328148" y="1645183"/>
              <a:ext cx="30857" cy="18000"/>
            </a:xfrm>
            <a:custGeom>
              <a:avLst/>
              <a:gdLst>
                <a:gd name="connsiteX0" fmla="*/ 15789 w 30857"/>
                <a:gd name="connsiteY0" fmla="*/ 18189 h 18000"/>
                <a:gd name="connsiteX1" fmla="*/ 31320 w 30857"/>
                <a:gd name="connsiteY1" fmla="*/ 9240 h 18000"/>
                <a:gd name="connsiteX2" fmla="*/ 15789 w 30857"/>
                <a:gd name="connsiteY2" fmla="*/ 257 h 18000"/>
                <a:gd name="connsiteX3" fmla="*/ 257 w 30857"/>
                <a:gd name="connsiteY3" fmla="*/ 9240 h 18000"/>
                <a:gd name="connsiteX4" fmla="*/ 15789 w 30857"/>
                <a:gd name="connsiteY4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89" y="18189"/>
                  </a:move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  <a:lnTo>
                    <a:pt x="15789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89" name="Freeform: Shape 488">
              <a:extLst>
                <a:ext uri="{FF2B5EF4-FFF2-40B4-BE49-F238E27FC236}">
                  <a16:creationId xmlns:a16="http://schemas.microsoft.com/office/drawing/2014/main" id="{F5862BEA-D596-474D-B3FD-11DB79CF4D04}"/>
                </a:ext>
              </a:extLst>
            </p:cNvPr>
            <p:cNvSpPr/>
            <p:nvPr/>
          </p:nvSpPr>
          <p:spPr>
            <a:xfrm>
              <a:off x="6350743" y="1618337"/>
              <a:ext cx="30857" cy="18000"/>
            </a:xfrm>
            <a:custGeom>
              <a:avLst/>
              <a:gdLst>
                <a:gd name="connsiteX0" fmla="*/ 8040 w 30857"/>
                <a:gd name="connsiteY0" fmla="*/ 4748 h 18000"/>
                <a:gd name="connsiteX1" fmla="*/ 257 w 30857"/>
                <a:gd name="connsiteY1" fmla="*/ 9240 h 18000"/>
                <a:gd name="connsiteX2" fmla="*/ 257 w 30857"/>
                <a:gd name="connsiteY2" fmla="*/ 9240 h 18000"/>
                <a:gd name="connsiteX3" fmla="*/ 257 w 30857"/>
                <a:gd name="connsiteY3" fmla="*/ 9240 h 18000"/>
                <a:gd name="connsiteX4" fmla="*/ 15789 w 30857"/>
                <a:gd name="connsiteY4" fmla="*/ 18223 h 18000"/>
                <a:gd name="connsiteX5" fmla="*/ 31320 w 30857"/>
                <a:gd name="connsiteY5" fmla="*/ 9240 h 18000"/>
                <a:gd name="connsiteX6" fmla="*/ 15789 w 30857"/>
                <a:gd name="connsiteY6" fmla="*/ 257 h 18000"/>
                <a:gd name="connsiteX7" fmla="*/ 8040 w 30857"/>
                <a:gd name="connsiteY7" fmla="*/ 4748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8040" y="4748"/>
                  </a:move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8040" y="47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0" name="Freeform: Shape 489">
              <a:extLst>
                <a:ext uri="{FF2B5EF4-FFF2-40B4-BE49-F238E27FC236}">
                  <a16:creationId xmlns:a16="http://schemas.microsoft.com/office/drawing/2014/main" id="{ADDD0577-981F-45B1-A817-A72535599DDA}"/>
                </a:ext>
              </a:extLst>
            </p:cNvPr>
            <p:cNvSpPr/>
            <p:nvPr/>
          </p:nvSpPr>
          <p:spPr>
            <a:xfrm>
              <a:off x="6350743" y="1725686"/>
              <a:ext cx="30857" cy="12857"/>
            </a:xfrm>
            <a:custGeom>
              <a:avLst/>
              <a:gdLst>
                <a:gd name="connsiteX0" fmla="*/ 13046 w 30857"/>
                <a:gd name="connsiteY0" fmla="*/ 13183 h 12857"/>
                <a:gd name="connsiteX1" fmla="*/ 22543 w 30857"/>
                <a:gd name="connsiteY1" fmla="*/ 14314 h 12857"/>
                <a:gd name="connsiteX2" fmla="*/ 31320 w 30857"/>
                <a:gd name="connsiteY2" fmla="*/ 9240 h 12857"/>
                <a:gd name="connsiteX3" fmla="*/ 15789 w 30857"/>
                <a:gd name="connsiteY3" fmla="*/ 257 h 12857"/>
                <a:gd name="connsiteX4" fmla="*/ 257 w 30857"/>
                <a:gd name="connsiteY4" fmla="*/ 9240 h 12857"/>
                <a:gd name="connsiteX5" fmla="*/ 5263 w 30857"/>
                <a:gd name="connsiteY5" fmla="*/ 12120 h 12857"/>
                <a:gd name="connsiteX6" fmla="*/ 13046 w 30857"/>
                <a:gd name="connsiteY6" fmla="*/ 13183 h 1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2857">
                  <a:moveTo>
                    <a:pt x="13046" y="13183"/>
                  </a:moveTo>
                  <a:cubicBezTo>
                    <a:pt x="16200" y="13629"/>
                    <a:pt x="19354" y="13937"/>
                    <a:pt x="22543" y="14314"/>
                  </a:cubicBez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  <a:lnTo>
                    <a:pt x="5263" y="12120"/>
                  </a:lnTo>
                  <a:cubicBezTo>
                    <a:pt x="7869" y="12497"/>
                    <a:pt x="10440" y="12840"/>
                    <a:pt x="13046" y="13183"/>
                  </a:cubicBez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1" name="Freeform: Shape 490">
              <a:extLst>
                <a:ext uri="{FF2B5EF4-FFF2-40B4-BE49-F238E27FC236}">
                  <a16:creationId xmlns:a16="http://schemas.microsoft.com/office/drawing/2014/main" id="{CFFED0CE-6B03-44DB-934B-5D55C1F2C391}"/>
                </a:ext>
              </a:extLst>
            </p:cNvPr>
            <p:cNvSpPr/>
            <p:nvPr/>
          </p:nvSpPr>
          <p:spPr>
            <a:xfrm>
              <a:off x="6328148" y="1698840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223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2" name="Freeform: Shape 491">
              <a:extLst>
                <a:ext uri="{FF2B5EF4-FFF2-40B4-BE49-F238E27FC236}">
                  <a16:creationId xmlns:a16="http://schemas.microsoft.com/office/drawing/2014/main" id="{9BAE5234-E7CD-48DB-BF96-42747B5E620E}"/>
                </a:ext>
              </a:extLst>
            </p:cNvPr>
            <p:cNvSpPr/>
            <p:nvPr/>
          </p:nvSpPr>
          <p:spPr>
            <a:xfrm>
              <a:off x="6282960" y="1484177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3" name="Freeform: Shape 492">
              <a:extLst>
                <a:ext uri="{FF2B5EF4-FFF2-40B4-BE49-F238E27FC236}">
                  <a16:creationId xmlns:a16="http://schemas.microsoft.com/office/drawing/2014/main" id="{04232BD6-8321-4106-AD13-A8B677E12A5C}"/>
                </a:ext>
              </a:extLst>
            </p:cNvPr>
            <p:cNvSpPr/>
            <p:nvPr/>
          </p:nvSpPr>
          <p:spPr>
            <a:xfrm>
              <a:off x="6305554" y="1457366"/>
              <a:ext cx="30857" cy="18000"/>
            </a:xfrm>
            <a:custGeom>
              <a:avLst/>
              <a:gdLst>
                <a:gd name="connsiteX0" fmla="*/ 15789 w 30857"/>
                <a:gd name="connsiteY0" fmla="*/ 18189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31320 w 30857"/>
                <a:gd name="connsiteY3" fmla="*/ 9206 h 18000"/>
                <a:gd name="connsiteX4" fmla="*/ 23571 w 30857"/>
                <a:gd name="connsiteY4" fmla="*/ 4714 h 18000"/>
                <a:gd name="connsiteX5" fmla="*/ 15789 w 30857"/>
                <a:gd name="connsiteY5" fmla="*/ 257 h 18000"/>
                <a:gd name="connsiteX6" fmla="*/ 8006 w 30857"/>
                <a:gd name="connsiteY6" fmla="*/ 4714 h 18000"/>
                <a:gd name="connsiteX7" fmla="*/ 257 w 30857"/>
                <a:gd name="connsiteY7" fmla="*/ 9206 h 18000"/>
                <a:gd name="connsiteX8" fmla="*/ 257 w 30857"/>
                <a:gd name="connsiteY8" fmla="*/ 9206 h 18000"/>
                <a:gd name="connsiteX9" fmla="*/ 257 w 30857"/>
                <a:gd name="connsiteY9" fmla="*/ 9206 h 18000"/>
                <a:gd name="connsiteX10" fmla="*/ 15789 w 30857"/>
                <a:gd name="connsiteY10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7" h="18000">
                  <a:moveTo>
                    <a:pt x="15789" y="18189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31320" y="9206"/>
                  </a:lnTo>
                  <a:lnTo>
                    <a:pt x="23571" y="4714"/>
                  </a:lnTo>
                  <a:lnTo>
                    <a:pt x="15789" y="257"/>
                  </a:lnTo>
                  <a:lnTo>
                    <a:pt x="8006" y="4714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15789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4" name="Freeform: Shape 493">
              <a:extLst>
                <a:ext uri="{FF2B5EF4-FFF2-40B4-BE49-F238E27FC236}">
                  <a16:creationId xmlns:a16="http://schemas.microsoft.com/office/drawing/2014/main" id="{234062EF-D665-41A8-8172-B67C0A507E69}"/>
                </a:ext>
              </a:extLst>
            </p:cNvPr>
            <p:cNvSpPr/>
            <p:nvPr/>
          </p:nvSpPr>
          <p:spPr>
            <a:xfrm>
              <a:off x="6282960" y="1537834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223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223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5" name="Freeform: Shape 494">
              <a:extLst>
                <a:ext uri="{FF2B5EF4-FFF2-40B4-BE49-F238E27FC236}">
                  <a16:creationId xmlns:a16="http://schemas.microsoft.com/office/drawing/2014/main" id="{4D25B180-CD08-46E3-AF7D-3537D9885696}"/>
                </a:ext>
              </a:extLst>
            </p:cNvPr>
            <p:cNvSpPr/>
            <p:nvPr/>
          </p:nvSpPr>
          <p:spPr>
            <a:xfrm>
              <a:off x="6305554" y="1511023"/>
              <a:ext cx="30857" cy="18000"/>
            </a:xfrm>
            <a:custGeom>
              <a:avLst/>
              <a:gdLst>
                <a:gd name="connsiteX0" fmla="*/ 15789 w 30857"/>
                <a:gd name="connsiteY0" fmla="*/ 18189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31320 w 30857"/>
                <a:gd name="connsiteY3" fmla="*/ 9240 h 18000"/>
                <a:gd name="connsiteX4" fmla="*/ 23571 w 30857"/>
                <a:gd name="connsiteY4" fmla="*/ 4748 h 18000"/>
                <a:gd name="connsiteX5" fmla="*/ 15789 w 30857"/>
                <a:gd name="connsiteY5" fmla="*/ 257 h 18000"/>
                <a:gd name="connsiteX6" fmla="*/ 8006 w 30857"/>
                <a:gd name="connsiteY6" fmla="*/ 4748 h 18000"/>
                <a:gd name="connsiteX7" fmla="*/ 257 w 30857"/>
                <a:gd name="connsiteY7" fmla="*/ 9240 h 18000"/>
                <a:gd name="connsiteX8" fmla="*/ 257 w 30857"/>
                <a:gd name="connsiteY8" fmla="*/ 9240 h 18000"/>
                <a:gd name="connsiteX9" fmla="*/ 257 w 30857"/>
                <a:gd name="connsiteY9" fmla="*/ 9240 h 18000"/>
                <a:gd name="connsiteX10" fmla="*/ 15789 w 30857"/>
                <a:gd name="connsiteY10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7" h="18000">
                  <a:moveTo>
                    <a:pt x="15789" y="18189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31320" y="9240"/>
                  </a:lnTo>
                  <a:lnTo>
                    <a:pt x="23571" y="4748"/>
                  </a:lnTo>
                  <a:lnTo>
                    <a:pt x="15789" y="257"/>
                  </a:lnTo>
                  <a:lnTo>
                    <a:pt x="8006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6" name="Freeform: Shape 495">
              <a:extLst>
                <a:ext uri="{FF2B5EF4-FFF2-40B4-BE49-F238E27FC236}">
                  <a16:creationId xmlns:a16="http://schemas.microsoft.com/office/drawing/2014/main" id="{6532E815-411D-4D33-812F-CC70EF1D533F}"/>
                </a:ext>
              </a:extLst>
            </p:cNvPr>
            <p:cNvSpPr/>
            <p:nvPr/>
          </p:nvSpPr>
          <p:spPr>
            <a:xfrm>
              <a:off x="6305554" y="1564680"/>
              <a:ext cx="20571" cy="10286"/>
            </a:xfrm>
            <a:custGeom>
              <a:avLst/>
              <a:gdLst>
                <a:gd name="connsiteX0" fmla="*/ 4680 w 20571"/>
                <a:gd name="connsiteY0" fmla="*/ 11777 h 10285"/>
                <a:gd name="connsiteX1" fmla="*/ 20966 w 20571"/>
                <a:gd name="connsiteY1" fmla="*/ 3240 h 10285"/>
                <a:gd name="connsiteX2" fmla="*/ 15789 w 20571"/>
                <a:gd name="connsiteY2" fmla="*/ 257 h 10285"/>
                <a:gd name="connsiteX3" fmla="*/ 8006 w 20571"/>
                <a:gd name="connsiteY3" fmla="*/ 4748 h 10285"/>
                <a:gd name="connsiteX4" fmla="*/ 257 w 20571"/>
                <a:gd name="connsiteY4" fmla="*/ 9240 h 10285"/>
                <a:gd name="connsiteX5" fmla="*/ 257 w 20571"/>
                <a:gd name="connsiteY5" fmla="*/ 9240 h 10285"/>
                <a:gd name="connsiteX6" fmla="*/ 257 w 20571"/>
                <a:gd name="connsiteY6" fmla="*/ 9240 h 10285"/>
                <a:gd name="connsiteX7" fmla="*/ 4680 w 20571"/>
                <a:gd name="connsiteY7" fmla="*/ 11777 h 1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571" h="10285">
                  <a:moveTo>
                    <a:pt x="4680" y="11777"/>
                  </a:moveTo>
                  <a:cubicBezTo>
                    <a:pt x="10097" y="8931"/>
                    <a:pt x="15548" y="6120"/>
                    <a:pt x="20966" y="3240"/>
                  </a:cubicBezTo>
                  <a:lnTo>
                    <a:pt x="15789" y="257"/>
                  </a:lnTo>
                  <a:lnTo>
                    <a:pt x="8006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4680" y="1177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7" name="Freeform: Shape 496">
              <a:extLst>
                <a:ext uri="{FF2B5EF4-FFF2-40B4-BE49-F238E27FC236}">
                  <a16:creationId xmlns:a16="http://schemas.microsoft.com/office/drawing/2014/main" id="{396996E8-3DA9-4620-996F-FF1B3BAD7566}"/>
                </a:ext>
              </a:extLst>
            </p:cNvPr>
            <p:cNvSpPr/>
            <p:nvPr/>
          </p:nvSpPr>
          <p:spPr>
            <a:xfrm>
              <a:off x="6323863" y="1621457"/>
              <a:ext cx="12857" cy="12857"/>
            </a:xfrm>
            <a:custGeom>
              <a:avLst/>
              <a:gdLst>
                <a:gd name="connsiteX0" fmla="*/ 257 w 12857"/>
                <a:gd name="connsiteY0" fmla="*/ 13491 h 12857"/>
                <a:gd name="connsiteX1" fmla="*/ 13011 w 12857"/>
                <a:gd name="connsiteY1" fmla="*/ 6120 h 12857"/>
                <a:gd name="connsiteX2" fmla="*/ 2829 w 12857"/>
                <a:gd name="connsiteY2" fmla="*/ 257 h 12857"/>
                <a:gd name="connsiteX3" fmla="*/ 257 w 12857"/>
                <a:gd name="connsiteY3" fmla="*/ 13491 h 1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857" h="12857">
                  <a:moveTo>
                    <a:pt x="257" y="13491"/>
                  </a:moveTo>
                  <a:lnTo>
                    <a:pt x="13011" y="6120"/>
                  </a:lnTo>
                  <a:lnTo>
                    <a:pt x="2829" y="257"/>
                  </a:lnTo>
                  <a:cubicBezTo>
                    <a:pt x="1457" y="4509"/>
                    <a:pt x="600" y="8966"/>
                    <a:pt x="257" y="13491"/>
                  </a:cubicBez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8" name="Freeform: Shape 497">
              <a:extLst>
                <a:ext uri="{FF2B5EF4-FFF2-40B4-BE49-F238E27FC236}">
                  <a16:creationId xmlns:a16="http://schemas.microsoft.com/office/drawing/2014/main" id="{BC5CE1E8-6A40-456A-BB22-40BED2FE0654}"/>
                </a:ext>
              </a:extLst>
            </p:cNvPr>
            <p:cNvSpPr/>
            <p:nvPr/>
          </p:nvSpPr>
          <p:spPr>
            <a:xfrm>
              <a:off x="6315771" y="1725686"/>
              <a:ext cx="18000" cy="7714"/>
            </a:xfrm>
            <a:custGeom>
              <a:avLst/>
              <a:gdLst>
                <a:gd name="connsiteX0" fmla="*/ 257 w 18000"/>
                <a:gd name="connsiteY0" fmla="*/ 3309 h 7714"/>
                <a:gd name="connsiteX1" fmla="*/ 20280 w 18000"/>
                <a:gd name="connsiteY1" fmla="*/ 8760 h 7714"/>
                <a:gd name="connsiteX2" fmla="*/ 5571 w 18000"/>
                <a:gd name="connsiteY2" fmla="*/ 257 h 7714"/>
                <a:gd name="connsiteX3" fmla="*/ 257 w 18000"/>
                <a:gd name="connsiteY3" fmla="*/ 3309 h 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0" h="7714">
                  <a:moveTo>
                    <a:pt x="257" y="3309"/>
                  </a:moveTo>
                  <a:cubicBezTo>
                    <a:pt x="6703" y="5606"/>
                    <a:pt x="13423" y="7354"/>
                    <a:pt x="20280" y="8760"/>
                  </a:cubicBezTo>
                  <a:lnTo>
                    <a:pt x="5571" y="257"/>
                  </a:lnTo>
                  <a:lnTo>
                    <a:pt x="257" y="330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9" name="Freeform: Shape 498">
              <a:extLst>
                <a:ext uri="{FF2B5EF4-FFF2-40B4-BE49-F238E27FC236}">
                  <a16:creationId xmlns:a16="http://schemas.microsoft.com/office/drawing/2014/main" id="{EC583814-0D01-4EA7-A059-71A241E167C1}"/>
                </a:ext>
              </a:extLst>
            </p:cNvPr>
            <p:cNvSpPr/>
            <p:nvPr/>
          </p:nvSpPr>
          <p:spPr>
            <a:xfrm>
              <a:off x="6283269" y="1698840"/>
              <a:ext cx="30857" cy="18000"/>
            </a:xfrm>
            <a:custGeom>
              <a:avLst/>
              <a:gdLst>
                <a:gd name="connsiteX0" fmla="*/ 31011 w 30857"/>
                <a:gd name="connsiteY0" fmla="*/ 9240 h 18000"/>
                <a:gd name="connsiteX1" fmla="*/ 15480 w 30857"/>
                <a:gd name="connsiteY1" fmla="*/ 257 h 18000"/>
                <a:gd name="connsiteX2" fmla="*/ 257 w 30857"/>
                <a:gd name="connsiteY2" fmla="*/ 9069 h 18000"/>
                <a:gd name="connsiteX3" fmla="*/ 840 w 30857"/>
                <a:gd name="connsiteY3" fmla="*/ 9754 h 18000"/>
                <a:gd name="connsiteX4" fmla="*/ 15480 w 30857"/>
                <a:gd name="connsiteY4" fmla="*/ 18223 h 18000"/>
                <a:gd name="connsiteX5" fmla="*/ 31011 w 30857"/>
                <a:gd name="connsiteY5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57" h="18000">
                  <a:moveTo>
                    <a:pt x="31011" y="9240"/>
                  </a:moveTo>
                  <a:lnTo>
                    <a:pt x="15480" y="257"/>
                  </a:lnTo>
                  <a:lnTo>
                    <a:pt x="257" y="9069"/>
                  </a:lnTo>
                  <a:cubicBezTo>
                    <a:pt x="429" y="9308"/>
                    <a:pt x="634" y="9514"/>
                    <a:pt x="840" y="9754"/>
                  </a:cubicBezTo>
                  <a:lnTo>
                    <a:pt x="15480" y="18223"/>
                  </a:lnTo>
                  <a:lnTo>
                    <a:pt x="31011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0" name="Freeform: Shape 499">
              <a:extLst>
                <a:ext uri="{FF2B5EF4-FFF2-40B4-BE49-F238E27FC236}">
                  <a16:creationId xmlns:a16="http://schemas.microsoft.com/office/drawing/2014/main" id="{B98E989F-B8A8-468E-ACD0-7E83698712E9}"/>
                </a:ext>
              </a:extLst>
            </p:cNvPr>
            <p:cNvSpPr/>
            <p:nvPr/>
          </p:nvSpPr>
          <p:spPr>
            <a:xfrm>
              <a:off x="6305554" y="1672029"/>
              <a:ext cx="30857" cy="18000"/>
            </a:xfrm>
            <a:custGeom>
              <a:avLst/>
              <a:gdLst>
                <a:gd name="connsiteX0" fmla="*/ 15789 w 30857"/>
                <a:gd name="connsiteY0" fmla="*/ 18189 h 18000"/>
                <a:gd name="connsiteX1" fmla="*/ 15789 w 30857"/>
                <a:gd name="connsiteY1" fmla="*/ 18189 h 18000"/>
                <a:gd name="connsiteX2" fmla="*/ 31320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  <a:gd name="connsiteX5" fmla="*/ 257 w 30857"/>
                <a:gd name="connsiteY5" fmla="*/ 9206 h 18000"/>
                <a:gd name="connsiteX6" fmla="*/ 257 w 30857"/>
                <a:gd name="connsiteY6" fmla="*/ 9206 h 18000"/>
                <a:gd name="connsiteX7" fmla="*/ 15789 w 30857"/>
                <a:gd name="connsiteY7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15789" y="18189"/>
                  </a:moveTo>
                  <a:lnTo>
                    <a:pt x="15789" y="18189"/>
                  </a:lnTo>
                  <a:lnTo>
                    <a:pt x="31320" y="9206"/>
                  </a:lnTo>
                  <a:lnTo>
                    <a:pt x="15789" y="257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257" y="9206"/>
                  </a:lnTo>
                  <a:lnTo>
                    <a:pt x="15789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1" name="Freeform: Shape 500">
              <a:extLst>
                <a:ext uri="{FF2B5EF4-FFF2-40B4-BE49-F238E27FC236}">
                  <a16:creationId xmlns:a16="http://schemas.microsoft.com/office/drawing/2014/main" id="{468DDB83-0DCD-4F9C-A928-B73E452B20E9}"/>
                </a:ext>
              </a:extLst>
            </p:cNvPr>
            <p:cNvSpPr/>
            <p:nvPr/>
          </p:nvSpPr>
          <p:spPr>
            <a:xfrm>
              <a:off x="6260366" y="1511023"/>
              <a:ext cx="30857" cy="18000"/>
            </a:xfrm>
            <a:custGeom>
              <a:avLst/>
              <a:gdLst>
                <a:gd name="connsiteX0" fmla="*/ 23537 w 30857"/>
                <a:gd name="connsiteY0" fmla="*/ 4748 h 18000"/>
                <a:gd name="connsiteX1" fmla="*/ 15789 w 30857"/>
                <a:gd name="connsiteY1" fmla="*/ 257 h 18000"/>
                <a:gd name="connsiteX2" fmla="*/ 8006 w 30857"/>
                <a:gd name="connsiteY2" fmla="*/ 4748 h 18000"/>
                <a:gd name="connsiteX3" fmla="*/ 257 w 30857"/>
                <a:gd name="connsiteY3" fmla="*/ 9240 h 18000"/>
                <a:gd name="connsiteX4" fmla="*/ 257 w 30857"/>
                <a:gd name="connsiteY4" fmla="*/ 9240 h 18000"/>
                <a:gd name="connsiteX5" fmla="*/ 15789 w 30857"/>
                <a:gd name="connsiteY5" fmla="*/ 18189 h 18000"/>
                <a:gd name="connsiteX6" fmla="*/ 31320 w 30857"/>
                <a:gd name="connsiteY6" fmla="*/ 9240 h 18000"/>
                <a:gd name="connsiteX7" fmla="*/ 31320 w 30857"/>
                <a:gd name="connsiteY7" fmla="*/ 9240 h 18000"/>
                <a:gd name="connsiteX8" fmla="*/ 31320 w 30857"/>
                <a:gd name="connsiteY8" fmla="*/ 9240 h 18000"/>
                <a:gd name="connsiteX9" fmla="*/ 23537 w 30857"/>
                <a:gd name="connsiteY9" fmla="*/ 4748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7" h="18000">
                  <a:moveTo>
                    <a:pt x="23537" y="4748"/>
                  </a:moveTo>
                  <a:lnTo>
                    <a:pt x="15789" y="257"/>
                  </a:lnTo>
                  <a:lnTo>
                    <a:pt x="8006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  <a:lnTo>
                    <a:pt x="31320" y="9240"/>
                  </a:lnTo>
                  <a:lnTo>
                    <a:pt x="31320" y="9240"/>
                  </a:lnTo>
                  <a:lnTo>
                    <a:pt x="23537" y="47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2" name="Freeform: Shape 501">
              <a:extLst>
                <a:ext uri="{FF2B5EF4-FFF2-40B4-BE49-F238E27FC236}">
                  <a16:creationId xmlns:a16="http://schemas.microsoft.com/office/drawing/2014/main" id="{E2D401C5-ADB7-42DB-9F8E-D0B3760E8265}"/>
                </a:ext>
              </a:extLst>
            </p:cNvPr>
            <p:cNvSpPr/>
            <p:nvPr/>
          </p:nvSpPr>
          <p:spPr>
            <a:xfrm>
              <a:off x="6237771" y="1484177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20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3" name="Freeform: Shape 502">
              <a:extLst>
                <a:ext uri="{FF2B5EF4-FFF2-40B4-BE49-F238E27FC236}">
                  <a16:creationId xmlns:a16="http://schemas.microsoft.com/office/drawing/2014/main" id="{C6519A28-0B3C-472D-955C-641E7CAB7A9A}"/>
                </a:ext>
              </a:extLst>
            </p:cNvPr>
            <p:cNvSpPr/>
            <p:nvPr/>
          </p:nvSpPr>
          <p:spPr>
            <a:xfrm>
              <a:off x="6275348" y="1473412"/>
              <a:ext cx="2571" cy="2571"/>
            </a:xfrm>
            <a:custGeom>
              <a:avLst/>
              <a:gdLst>
                <a:gd name="connsiteX0" fmla="*/ 4063 w 2571"/>
                <a:gd name="connsiteY0" fmla="*/ 257 h 0"/>
                <a:gd name="connsiteX1" fmla="*/ 257 w 2571"/>
                <a:gd name="connsiteY1" fmla="*/ 1834 h 0"/>
                <a:gd name="connsiteX2" fmla="*/ 806 w 2571"/>
                <a:gd name="connsiteY2" fmla="*/ 2143 h 0"/>
                <a:gd name="connsiteX3" fmla="*/ 4063 w 2571"/>
                <a:gd name="connsiteY3" fmla="*/ 257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1">
                  <a:moveTo>
                    <a:pt x="4063" y="257"/>
                  </a:moveTo>
                  <a:cubicBezTo>
                    <a:pt x="2794" y="771"/>
                    <a:pt x="1526" y="1286"/>
                    <a:pt x="257" y="1834"/>
                  </a:cubicBezTo>
                  <a:lnTo>
                    <a:pt x="806" y="2143"/>
                  </a:lnTo>
                  <a:lnTo>
                    <a:pt x="4063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4" name="Freeform: Shape 503">
              <a:extLst>
                <a:ext uri="{FF2B5EF4-FFF2-40B4-BE49-F238E27FC236}">
                  <a16:creationId xmlns:a16="http://schemas.microsoft.com/office/drawing/2014/main" id="{167FF035-D08B-4F7B-9CB1-A7F16495235B}"/>
                </a:ext>
              </a:extLst>
            </p:cNvPr>
            <p:cNvSpPr/>
            <p:nvPr/>
          </p:nvSpPr>
          <p:spPr>
            <a:xfrm>
              <a:off x="6260366" y="1564680"/>
              <a:ext cx="30857" cy="18000"/>
            </a:xfrm>
            <a:custGeom>
              <a:avLst/>
              <a:gdLst>
                <a:gd name="connsiteX0" fmla="*/ 23537 w 30857"/>
                <a:gd name="connsiteY0" fmla="*/ 4748 h 18000"/>
                <a:gd name="connsiteX1" fmla="*/ 15789 w 30857"/>
                <a:gd name="connsiteY1" fmla="*/ 257 h 18000"/>
                <a:gd name="connsiteX2" fmla="*/ 8006 w 30857"/>
                <a:gd name="connsiteY2" fmla="*/ 4748 h 18000"/>
                <a:gd name="connsiteX3" fmla="*/ 257 w 30857"/>
                <a:gd name="connsiteY3" fmla="*/ 9240 h 18000"/>
                <a:gd name="connsiteX4" fmla="*/ 257 w 30857"/>
                <a:gd name="connsiteY4" fmla="*/ 9240 h 18000"/>
                <a:gd name="connsiteX5" fmla="*/ 15789 w 30857"/>
                <a:gd name="connsiteY5" fmla="*/ 18189 h 18000"/>
                <a:gd name="connsiteX6" fmla="*/ 31320 w 30857"/>
                <a:gd name="connsiteY6" fmla="*/ 9240 h 18000"/>
                <a:gd name="connsiteX7" fmla="*/ 31320 w 30857"/>
                <a:gd name="connsiteY7" fmla="*/ 9240 h 18000"/>
                <a:gd name="connsiteX8" fmla="*/ 31320 w 30857"/>
                <a:gd name="connsiteY8" fmla="*/ 9240 h 18000"/>
                <a:gd name="connsiteX9" fmla="*/ 23537 w 30857"/>
                <a:gd name="connsiteY9" fmla="*/ 4748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7" h="18000">
                  <a:moveTo>
                    <a:pt x="23537" y="4748"/>
                  </a:moveTo>
                  <a:lnTo>
                    <a:pt x="15789" y="257"/>
                  </a:lnTo>
                  <a:lnTo>
                    <a:pt x="8006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  <a:lnTo>
                    <a:pt x="31320" y="9240"/>
                  </a:lnTo>
                  <a:lnTo>
                    <a:pt x="31320" y="9240"/>
                  </a:lnTo>
                  <a:lnTo>
                    <a:pt x="23537" y="47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5" name="Freeform: Shape 504">
              <a:extLst>
                <a:ext uri="{FF2B5EF4-FFF2-40B4-BE49-F238E27FC236}">
                  <a16:creationId xmlns:a16="http://schemas.microsoft.com/office/drawing/2014/main" id="{C5948D7D-F20D-43F9-9AC6-86E2168A051F}"/>
                </a:ext>
              </a:extLst>
            </p:cNvPr>
            <p:cNvSpPr/>
            <p:nvPr/>
          </p:nvSpPr>
          <p:spPr>
            <a:xfrm>
              <a:off x="6237771" y="1537834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223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223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6" name="Freeform: Shape 505">
              <a:extLst>
                <a:ext uri="{FF2B5EF4-FFF2-40B4-BE49-F238E27FC236}">
                  <a16:creationId xmlns:a16="http://schemas.microsoft.com/office/drawing/2014/main" id="{A2C3143F-CF19-4D5A-B429-45085C7AD110}"/>
                </a:ext>
              </a:extLst>
            </p:cNvPr>
            <p:cNvSpPr/>
            <p:nvPr/>
          </p:nvSpPr>
          <p:spPr>
            <a:xfrm>
              <a:off x="6237771" y="1591526"/>
              <a:ext cx="28286" cy="15429"/>
            </a:xfrm>
            <a:custGeom>
              <a:avLst/>
              <a:gdLst>
                <a:gd name="connsiteX0" fmla="*/ 257 w 28285"/>
                <a:gd name="connsiteY0" fmla="*/ 9206 h 15428"/>
                <a:gd name="connsiteX1" fmla="*/ 11914 w 28285"/>
                <a:gd name="connsiteY1" fmla="*/ 15960 h 15428"/>
                <a:gd name="connsiteX2" fmla="*/ 28509 w 28285"/>
                <a:gd name="connsiteY2" fmla="*/ 7594 h 15428"/>
                <a:gd name="connsiteX3" fmla="*/ 15789 w 28285"/>
                <a:gd name="connsiteY3" fmla="*/ 257 h 15428"/>
                <a:gd name="connsiteX4" fmla="*/ 257 w 28285"/>
                <a:gd name="connsiteY4" fmla="*/ 9206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285" h="15428">
                  <a:moveTo>
                    <a:pt x="257" y="9206"/>
                  </a:moveTo>
                  <a:lnTo>
                    <a:pt x="11914" y="15960"/>
                  </a:lnTo>
                  <a:cubicBezTo>
                    <a:pt x="17434" y="13183"/>
                    <a:pt x="22954" y="10371"/>
                    <a:pt x="28509" y="7594"/>
                  </a:cubicBez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7" name="Freeform: Shape 506">
              <a:extLst>
                <a:ext uri="{FF2B5EF4-FFF2-40B4-BE49-F238E27FC236}">
                  <a16:creationId xmlns:a16="http://schemas.microsoft.com/office/drawing/2014/main" id="{4B405958-0357-4DEC-A2F1-F4824AB414E6}"/>
                </a:ext>
              </a:extLst>
            </p:cNvPr>
            <p:cNvSpPr/>
            <p:nvPr/>
          </p:nvSpPr>
          <p:spPr>
            <a:xfrm>
              <a:off x="6274011" y="1674395"/>
              <a:ext cx="15429" cy="15429"/>
            </a:xfrm>
            <a:custGeom>
              <a:avLst/>
              <a:gdLst>
                <a:gd name="connsiteX0" fmla="*/ 2143 w 15428"/>
                <a:gd name="connsiteY0" fmla="*/ 15823 h 15428"/>
                <a:gd name="connsiteX1" fmla="*/ 17674 w 15428"/>
                <a:gd name="connsiteY1" fmla="*/ 6840 h 15428"/>
                <a:gd name="connsiteX2" fmla="*/ 6257 w 15428"/>
                <a:gd name="connsiteY2" fmla="*/ 257 h 15428"/>
                <a:gd name="connsiteX3" fmla="*/ 257 w 15428"/>
                <a:gd name="connsiteY3" fmla="*/ 14725 h 15428"/>
                <a:gd name="connsiteX4" fmla="*/ 2143 w 15428"/>
                <a:gd name="connsiteY4" fmla="*/ 15823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28" h="15428">
                  <a:moveTo>
                    <a:pt x="2143" y="15823"/>
                  </a:moveTo>
                  <a:lnTo>
                    <a:pt x="17674" y="6840"/>
                  </a:lnTo>
                  <a:lnTo>
                    <a:pt x="6257" y="257"/>
                  </a:lnTo>
                  <a:cubicBezTo>
                    <a:pt x="2554" y="4268"/>
                    <a:pt x="326" y="9411"/>
                    <a:pt x="257" y="14725"/>
                  </a:cubicBezTo>
                  <a:lnTo>
                    <a:pt x="2143" y="15823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8" name="Freeform: Shape 507">
              <a:extLst>
                <a:ext uri="{FF2B5EF4-FFF2-40B4-BE49-F238E27FC236}">
                  <a16:creationId xmlns:a16="http://schemas.microsoft.com/office/drawing/2014/main" id="{E4EB331E-8655-4DEF-9D45-8499824D257F}"/>
                </a:ext>
              </a:extLst>
            </p:cNvPr>
            <p:cNvSpPr/>
            <p:nvPr/>
          </p:nvSpPr>
          <p:spPr>
            <a:xfrm>
              <a:off x="6192583" y="1537834"/>
              <a:ext cx="30857" cy="18000"/>
            </a:xfrm>
            <a:custGeom>
              <a:avLst/>
              <a:gdLst>
                <a:gd name="connsiteX0" fmla="*/ 15789 w 30857"/>
                <a:gd name="connsiteY0" fmla="*/ 18223 h 18000"/>
                <a:gd name="connsiteX1" fmla="*/ 31320 w 30857"/>
                <a:gd name="connsiteY1" fmla="*/ 9240 h 18000"/>
                <a:gd name="connsiteX2" fmla="*/ 15789 w 30857"/>
                <a:gd name="connsiteY2" fmla="*/ 257 h 18000"/>
                <a:gd name="connsiteX3" fmla="*/ 257 w 30857"/>
                <a:gd name="connsiteY3" fmla="*/ 9240 h 18000"/>
                <a:gd name="connsiteX4" fmla="*/ 15789 w 30857"/>
                <a:gd name="connsiteY4" fmla="*/ 1822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89" y="18223"/>
                  </a:move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  <a:lnTo>
                    <a:pt x="15789" y="18223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9" name="Freeform: Shape 508">
              <a:extLst>
                <a:ext uri="{FF2B5EF4-FFF2-40B4-BE49-F238E27FC236}">
                  <a16:creationId xmlns:a16="http://schemas.microsoft.com/office/drawing/2014/main" id="{C7DE2998-4F0B-42E5-953D-BFE2EC9B3854}"/>
                </a:ext>
              </a:extLst>
            </p:cNvPr>
            <p:cNvSpPr/>
            <p:nvPr/>
          </p:nvSpPr>
          <p:spPr>
            <a:xfrm>
              <a:off x="6215177" y="1511023"/>
              <a:ext cx="30857" cy="18000"/>
            </a:xfrm>
            <a:custGeom>
              <a:avLst/>
              <a:gdLst>
                <a:gd name="connsiteX0" fmla="*/ 31320 w 30857"/>
                <a:gd name="connsiteY0" fmla="*/ 9240 h 18000"/>
                <a:gd name="connsiteX1" fmla="*/ 31320 w 30857"/>
                <a:gd name="connsiteY1" fmla="*/ 9240 h 18000"/>
                <a:gd name="connsiteX2" fmla="*/ 31320 w 30857"/>
                <a:gd name="connsiteY2" fmla="*/ 9240 h 18000"/>
                <a:gd name="connsiteX3" fmla="*/ 23537 w 30857"/>
                <a:gd name="connsiteY3" fmla="*/ 4748 h 18000"/>
                <a:gd name="connsiteX4" fmla="*/ 15789 w 30857"/>
                <a:gd name="connsiteY4" fmla="*/ 257 h 18000"/>
                <a:gd name="connsiteX5" fmla="*/ 8006 w 30857"/>
                <a:gd name="connsiteY5" fmla="*/ 4748 h 18000"/>
                <a:gd name="connsiteX6" fmla="*/ 257 w 30857"/>
                <a:gd name="connsiteY6" fmla="*/ 9240 h 18000"/>
                <a:gd name="connsiteX7" fmla="*/ 257 w 30857"/>
                <a:gd name="connsiteY7" fmla="*/ 9240 h 18000"/>
                <a:gd name="connsiteX8" fmla="*/ 15789 w 30857"/>
                <a:gd name="connsiteY8" fmla="*/ 18189 h 18000"/>
                <a:gd name="connsiteX9" fmla="*/ 31320 w 30857"/>
                <a:gd name="connsiteY9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7" h="18000">
                  <a:moveTo>
                    <a:pt x="31320" y="9240"/>
                  </a:moveTo>
                  <a:lnTo>
                    <a:pt x="31320" y="9240"/>
                  </a:lnTo>
                  <a:lnTo>
                    <a:pt x="31320" y="9240"/>
                  </a:lnTo>
                  <a:lnTo>
                    <a:pt x="23537" y="4748"/>
                  </a:lnTo>
                  <a:lnTo>
                    <a:pt x="15789" y="257"/>
                  </a:lnTo>
                  <a:lnTo>
                    <a:pt x="8006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0" name="Freeform: Shape 509">
              <a:extLst>
                <a:ext uri="{FF2B5EF4-FFF2-40B4-BE49-F238E27FC236}">
                  <a16:creationId xmlns:a16="http://schemas.microsoft.com/office/drawing/2014/main" id="{17B5248E-1795-472A-9E80-B5865EE47FCC}"/>
                </a:ext>
              </a:extLst>
            </p:cNvPr>
            <p:cNvSpPr/>
            <p:nvPr/>
          </p:nvSpPr>
          <p:spPr>
            <a:xfrm>
              <a:off x="6192583" y="1591526"/>
              <a:ext cx="30857" cy="18000"/>
            </a:xfrm>
            <a:custGeom>
              <a:avLst/>
              <a:gdLst>
                <a:gd name="connsiteX0" fmla="*/ 31320 w 30857"/>
                <a:gd name="connsiteY0" fmla="*/ 9206 h 18000"/>
                <a:gd name="connsiteX1" fmla="*/ 15789 w 30857"/>
                <a:gd name="connsiteY1" fmla="*/ 257 h 18000"/>
                <a:gd name="connsiteX2" fmla="*/ 257 w 30857"/>
                <a:gd name="connsiteY2" fmla="*/ 9206 h 18000"/>
                <a:gd name="connsiteX3" fmla="*/ 15789 w 30857"/>
                <a:gd name="connsiteY3" fmla="*/ 18189 h 18000"/>
                <a:gd name="connsiteX4" fmla="*/ 31320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06"/>
                  </a:moveTo>
                  <a:lnTo>
                    <a:pt x="15789" y="257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1" name="Freeform: Shape 510">
              <a:extLst>
                <a:ext uri="{FF2B5EF4-FFF2-40B4-BE49-F238E27FC236}">
                  <a16:creationId xmlns:a16="http://schemas.microsoft.com/office/drawing/2014/main" id="{C325B729-AB25-4D50-A22D-DA002ADD6059}"/>
                </a:ext>
              </a:extLst>
            </p:cNvPr>
            <p:cNvSpPr/>
            <p:nvPr/>
          </p:nvSpPr>
          <p:spPr>
            <a:xfrm>
              <a:off x="6215177" y="1564680"/>
              <a:ext cx="30857" cy="18000"/>
            </a:xfrm>
            <a:custGeom>
              <a:avLst/>
              <a:gdLst>
                <a:gd name="connsiteX0" fmla="*/ 8006 w 30857"/>
                <a:gd name="connsiteY0" fmla="*/ 4748 h 18000"/>
                <a:gd name="connsiteX1" fmla="*/ 257 w 30857"/>
                <a:gd name="connsiteY1" fmla="*/ 9240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20 w 30857"/>
                <a:gd name="connsiteY4" fmla="*/ 9240 h 18000"/>
                <a:gd name="connsiteX5" fmla="*/ 31320 w 30857"/>
                <a:gd name="connsiteY5" fmla="*/ 9240 h 18000"/>
                <a:gd name="connsiteX6" fmla="*/ 31320 w 30857"/>
                <a:gd name="connsiteY6" fmla="*/ 9240 h 18000"/>
                <a:gd name="connsiteX7" fmla="*/ 23537 w 30857"/>
                <a:gd name="connsiteY7" fmla="*/ 4748 h 18000"/>
                <a:gd name="connsiteX8" fmla="*/ 15789 w 30857"/>
                <a:gd name="connsiteY8" fmla="*/ 257 h 18000"/>
                <a:gd name="connsiteX9" fmla="*/ 8006 w 30857"/>
                <a:gd name="connsiteY9" fmla="*/ 4748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7" h="18000">
                  <a:moveTo>
                    <a:pt x="8006" y="4748"/>
                  </a:moveTo>
                  <a:lnTo>
                    <a:pt x="257" y="9240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20" y="9240"/>
                  </a:lnTo>
                  <a:lnTo>
                    <a:pt x="31320" y="9240"/>
                  </a:lnTo>
                  <a:lnTo>
                    <a:pt x="31320" y="9240"/>
                  </a:lnTo>
                  <a:lnTo>
                    <a:pt x="23537" y="4748"/>
                  </a:lnTo>
                  <a:lnTo>
                    <a:pt x="15789" y="257"/>
                  </a:lnTo>
                  <a:lnTo>
                    <a:pt x="8006" y="47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2" name="Freeform: Shape 511">
              <a:extLst>
                <a:ext uri="{FF2B5EF4-FFF2-40B4-BE49-F238E27FC236}">
                  <a16:creationId xmlns:a16="http://schemas.microsoft.com/office/drawing/2014/main" id="{5B5AEF87-B6B3-4CD9-9560-E0A60EF5CCAE}"/>
                </a:ext>
              </a:extLst>
            </p:cNvPr>
            <p:cNvSpPr/>
            <p:nvPr/>
          </p:nvSpPr>
          <p:spPr>
            <a:xfrm>
              <a:off x="6147360" y="1537834"/>
              <a:ext cx="30857" cy="18000"/>
            </a:xfrm>
            <a:custGeom>
              <a:avLst/>
              <a:gdLst>
                <a:gd name="connsiteX0" fmla="*/ 31354 w 30857"/>
                <a:gd name="connsiteY0" fmla="*/ 9240 h 18000"/>
                <a:gd name="connsiteX1" fmla="*/ 15789 w 30857"/>
                <a:gd name="connsiteY1" fmla="*/ 257 h 18000"/>
                <a:gd name="connsiteX2" fmla="*/ 257 w 30857"/>
                <a:gd name="connsiteY2" fmla="*/ 9240 h 18000"/>
                <a:gd name="connsiteX3" fmla="*/ 15789 w 30857"/>
                <a:gd name="connsiteY3" fmla="*/ 18223 h 18000"/>
                <a:gd name="connsiteX4" fmla="*/ 31354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54" y="9240"/>
                  </a:moveTo>
                  <a:lnTo>
                    <a:pt x="15789" y="257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54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3" name="Freeform: Shape 512">
              <a:extLst>
                <a:ext uri="{FF2B5EF4-FFF2-40B4-BE49-F238E27FC236}">
                  <a16:creationId xmlns:a16="http://schemas.microsoft.com/office/drawing/2014/main" id="{BE0956C0-99D4-4F73-A773-16FA9F91BA4C}"/>
                </a:ext>
              </a:extLst>
            </p:cNvPr>
            <p:cNvSpPr/>
            <p:nvPr/>
          </p:nvSpPr>
          <p:spPr>
            <a:xfrm>
              <a:off x="6169954" y="1511572"/>
              <a:ext cx="30857" cy="15429"/>
            </a:xfrm>
            <a:custGeom>
              <a:avLst/>
              <a:gdLst>
                <a:gd name="connsiteX0" fmla="*/ 15823 w 30857"/>
                <a:gd name="connsiteY0" fmla="*/ 17640 h 15428"/>
                <a:gd name="connsiteX1" fmla="*/ 31354 w 30857"/>
                <a:gd name="connsiteY1" fmla="*/ 8691 h 15428"/>
                <a:gd name="connsiteX2" fmla="*/ 31354 w 30857"/>
                <a:gd name="connsiteY2" fmla="*/ 8691 h 15428"/>
                <a:gd name="connsiteX3" fmla="*/ 31354 w 30857"/>
                <a:gd name="connsiteY3" fmla="*/ 8691 h 15428"/>
                <a:gd name="connsiteX4" fmla="*/ 23571 w 30857"/>
                <a:gd name="connsiteY4" fmla="*/ 4200 h 15428"/>
                <a:gd name="connsiteX5" fmla="*/ 16748 w 30857"/>
                <a:gd name="connsiteY5" fmla="*/ 257 h 15428"/>
                <a:gd name="connsiteX6" fmla="*/ 8657 w 30857"/>
                <a:gd name="connsiteY6" fmla="*/ 3823 h 15428"/>
                <a:gd name="connsiteX7" fmla="*/ 8040 w 30857"/>
                <a:gd name="connsiteY7" fmla="*/ 4200 h 15428"/>
                <a:gd name="connsiteX8" fmla="*/ 257 w 30857"/>
                <a:gd name="connsiteY8" fmla="*/ 8691 h 15428"/>
                <a:gd name="connsiteX9" fmla="*/ 257 w 30857"/>
                <a:gd name="connsiteY9" fmla="*/ 8691 h 15428"/>
                <a:gd name="connsiteX10" fmla="*/ 257 w 30857"/>
                <a:gd name="connsiteY10" fmla="*/ 8691 h 15428"/>
                <a:gd name="connsiteX11" fmla="*/ 15823 w 30857"/>
                <a:gd name="connsiteY11" fmla="*/ 17640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857" h="15428">
                  <a:moveTo>
                    <a:pt x="15823" y="17640"/>
                  </a:moveTo>
                  <a:lnTo>
                    <a:pt x="31354" y="8691"/>
                  </a:lnTo>
                  <a:lnTo>
                    <a:pt x="31354" y="8691"/>
                  </a:lnTo>
                  <a:lnTo>
                    <a:pt x="31354" y="8691"/>
                  </a:lnTo>
                  <a:lnTo>
                    <a:pt x="23571" y="4200"/>
                  </a:lnTo>
                  <a:lnTo>
                    <a:pt x="16748" y="257"/>
                  </a:lnTo>
                  <a:cubicBezTo>
                    <a:pt x="14040" y="1423"/>
                    <a:pt x="11366" y="2623"/>
                    <a:pt x="8657" y="3823"/>
                  </a:cubicBezTo>
                  <a:lnTo>
                    <a:pt x="8040" y="4200"/>
                  </a:lnTo>
                  <a:lnTo>
                    <a:pt x="257" y="8691"/>
                  </a:lnTo>
                  <a:lnTo>
                    <a:pt x="257" y="8691"/>
                  </a:lnTo>
                  <a:lnTo>
                    <a:pt x="257" y="8691"/>
                  </a:lnTo>
                  <a:lnTo>
                    <a:pt x="15823" y="176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4" name="Freeform: Shape 513">
              <a:extLst>
                <a:ext uri="{FF2B5EF4-FFF2-40B4-BE49-F238E27FC236}">
                  <a16:creationId xmlns:a16="http://schemas.microsoft.com/office/drawing/2014/main" id="{27A4F36F-6D1A-4C76-93EC-CE5BE3AF1BB7}"/>
                </a:ext>
              </a:extLst>
            </p:cNvPr>
            <p:cNvSpPr/>
            <p:nvPr/>
          </p:nvSpPr>
          <p:spPr>
            <a:xfrm>
              <a:off x="6147360" y="1591526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15789 w 30857"/>
                <a:gd name="connsiteY1" fmla="*/ 18189 h 18000"/>
                <a:gd name="connsiteX2" fmla="*/ 31354 w 30857"/>
                <a:gd name="connsiteY2" fmla="*/ 9206 h 18000"/>
                <a:gd name="connsiteX3" fmla="*/ 15789 w 30857"/>
                <a:gd name="connsiteY3" fmla="*/ 257 h 18000"/>
                <a:gd name="connsiteX4" fmla="*/ 257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15789" y="18189"/>
                  </a:lnTo>
                  <a:lnTo>
                    <a:pt x="31354" y="9206"/>
                  </a:ln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5" name="Freeform: Shape 514">
              <a:extLst>
                <a:ext uri="{FF2B5EF4-FFF2-40B4-BE49-F238E27FC236}">
                  <a16:creationId xmlns:a16="http://schemas.microsoft.com/office/drawing/2014/main" id="{C1E24232-9AAB-46C5-B06F-82E1928ED49F}"/>
                </a:ext>
              </a:extLst>
            </p:cNvPr>
            <p:cNvSpPr/>
            <p:nvPr/>
          </p:nvSpPr>
          <p:spPr>
            <a:xfrm>
              <a:off x="6169954" y="1564680"/>
              <a:ext cx="30857" cy="18000"/>
            </a:xfrm>
            <a:custGeom>
              <a:avLst/>
              <a:gdLst>
                <a:gd name="connsiteX0" fmla="*/ 31354 w 30857"/>
                <a:gd name="connsiteY0" fmla="*/ 9240 h 18000"/>
                <a:gd name="connsiteX1" fmla="*/ 31354 w 30857"/>
                <a:gd name="connsiteY1" fmla="*/ 9240 h 18000"/>
                <a:gd name="connsiteX2" fmla="*/ 31354 w 30857"/>
                <a:gd name="connsiteY2" fmla="*/ 9240 h 18000"/>
                <a:gd name="connsiteX3" fmla="*/ 23571 w 30857"/>
                <a:gd name="connsiteY3" fmla="*/ 4748 h 18000"/>
                <a:gd name="connsiteX4" fmla="*/ 15823 w 30857"/>
                <a:gd name="connsiteY4" fmla="*/ 257 h 18000"/>
                <a:gd name="connsiteX5" fmla="*/ 8040 w 30857"/>
                <a:gd name="connsiteY5" fmla="*/ 4748 h 18000"/>
                <a:gd name="connsiteX6" fmla="*/ 257 w 30857"/>
                <a:gd name="connsiteY6" fmla="*/ 9240 h 18000"/>
                <a:gd name="connsiteX7" fmla="*/ 257 w 30857"/>
                <a:gd name="connsiteY7" fmla="*/ 9240 h 18000"/>
                <a:gd name="connsiteX8" fmla="*/ 257 w 30857"/>
                <a:gd name="connsiteY8" fmla="*/ 9240 h 18000"/>
                <a:gd name="connsiteX9" fmla="*/ 15823 w 30857"/>
                <a:gd name="connsiteY9" fmla="*/ 18189 h 18000"/>
                <a:gd name="connsiteX10" fmla="*/ 31354 w 30857"/>
                <a:gd name="connsiteY10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857" h="18000">
                  <a:moveTo>
                    <a:pt x="31354" y="9240"/>
                  </a:moveTo>
                  <a:lnTo>
                    <a:pt x="31354" y="9240"/>
                  </a:lnTo>
                  <a:lnTo>
                    <a:pt x="31354" y="9240"/>
                  </a:lnTo>
                  <a:lnTo>
                    <a:pt x="23571" y="4748"/>
                  </a:lnTo>
                  <a:lnTo>
                    <a:pt x="15823" y="257"/>
                  </a:lnTo>
                  <a:lnTo>
                    <a:pt x="8040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823" y="18189"/>
                  </a:lnTo>
                  <a:lnTo>
                    <a:pt x="31354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6" name="Freeform: Shape 515">
              <a:extLst>
                <a:ext uri="{FF2B5EF4-FFF2-40B4-BE49-F238E27FC236}">
                  <a16:creationId xmlns:a16="http://schemas.microsoft.com/office/drawing/2014/main" id="{7C138012-CD06-44B4-904C-66E02980B5E4}"/>
                </a:ext>
              </a:extLst>
            </p:cNvPr>
            <p:cNvSpPr/>
            <p:nvPr/>
          </p:nvSpPr>
          <p:spPr>
            <a:xfrm>
              <a:off x="6147360" y="1645183"/>
              <a:ext cx="18000" cy="10286"/>
            </a:xfrm>
            <a:custGeom>
              <a:avLst/>
              <a:gdLst>
                <a:gd name="connsiteX0" fmla="*/ 257 w 18000"/>
                <a:gd name="connsiteY0" fmla="*/ 9240 h 10285"/>
                <a:gd name="connsiteX1" fmla="*/ 2177 w 18000"/>
                <a:gd name="connsiteY1" fmla="*/ 10337 h 10285"/>
                <a:gd name="connsiteX2" fmla="*/ 19320 w 18000"/>
                <a:gd name="connsiteY2" fmla="*/ 2280 h 10285"/>
                <a:gd name="connsiteX3" fmla="*/ 15789 w 18000"/>
                <a:gd name="connsiteY3" fmla="*/ 257 h 10285"/>
                <a:gd name="connsiteX4" fmla="*/ 257 w 18000"/>
                <a:gd name="connsiteY4" fmla="*/ 9240 h 1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00" h="10285">
                  <a:moveTo>
                    <a:pt x="257" y="9240"/>
                  </a:moveTo>
                  <a:lnTo>
                    <a:pt x="2177" y="10337"/>
                  </a:lnTo>
                  <a:cubicBezTo>
                    <a:pt x="7903" y="7697"/>
                    <a:pt x="13594" y="4954"/>
                    <a:pt x="19320" y="2280"/>
                  </a:cubicBez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7" name="Freeform: Shape 516">
              <a:extLst>
                <a:ext uri="{FF2B5EF4-FFF2-40B4-BE49-F238E27FC236}">
                  <a16:creationId xmlns:a16="http://schemas.microsoft.com/office/drawing/2014/main" id="{231DCFB3-2184-4AFF-9394-1875DFBCD242}"/>
                </a:ext>
              </a:extLst>
            </p:cNvPr>
            <p:cNvSpPr/>
            <p:nvPr/>
          </p:nvSpPr>
          <p:spPr>
            <a:xfrm>
              <a:off x="6169954" y="1618337"/>
              <a:ext cx="30857" cy="18000"/>
            </a:xfrm>
            <a:custGeom>
              <a:avLst/>
              <a:gdLst>
                <a:gd name="connsiteX0" fmla="*/ 15823 w 30857"/>
                <a:gd name="connsiteY0" fmla="*/ 18223 h 18000"/>
                <a:gd name="connsiteX1" fmla="*/ 31354 w 30857"/>
                <a:gd name="connsiteY1" fmla="*/ 9240 h 18000"/>
                <a:gd name="connsiteX2" fmla="*/ 15823 w 30857"/>
                <a:gd name="connsiteY2" fmla="*/ 257 h 18000"/>
                <a:gd name="connsiteX3" fmla="*/ 8040 w 30857"/>
                <a:gd name="connsiteY3" fmla="*/ 4748 h 18000"/>
                <a:gd name="connsiteX4" fmla="*/ 257 w 30857"/>
                <a:gd name="connsiteY4" fmla="*/ 9240 h 18000"/>
                <a:gd name="connsiteX5" fmla="*/ 257 w 30857"/>
                <a:gd name="connsiteY5" fmla="*/ 9240 h 18000"/>
                <a:gd name="connsiteX6" fmla="*/ 257 w 30857"/>
                <a:gd name="connsiteY6" fmla="*/ 9240 h 18000"/>
                <a:gd name="connsiteX7" fmla="*/ 15823 w 30857"/>
                <a:gd name="connsiteY7" fmla="*/ 1822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15823" y="18223"/>
                  </a:moveTo>
                  <a:lnTo>
                    <a:pt x="31354" y="9240"/>
                  </a:lnTo>
                  <a:lnTo>
                    <a:pt x="15823" y="257"/>
                  </a:lnTo>
                  <a:lnTo>
                    <a:pt x="8040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823" y="18223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8" name="Freeform: Shape 517">
              <a:extLst>
                <a:ext uri="{FF2B5EF4-FFF2-40B4-BE49-F238E27FC236}">
                  <a16:creationId xmlns:a16="http://schemas.microsoft.com/office/drawing/2014/main" id="{BEB52C17-5ED8-4D50-8DB7-B190B1D24D20}"/>
                </a:ext>
              </a:extLst>
            </p:cNvPr>
            <p:cNvSpPr/>
            <p:nvPr/>
          </p:nvSpPr>
          <p:spPr>
            <a:xfrm>
              <a:off x="6124766" y="1564680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257 w 30857"/>
                <a:gd name="connsiteY1" fmla="*/ 9240 h 18000"/>
                <a:gd name="connsiteX2" fmla="*/ 257 w 30857"/>
                <a:gd name="connsiteY2" fmla="*/ 9240 h 18000"/>
                <a:gd name="connsiteX3" fmla="*/ 15789 w 30857"/>
                <a:gd name="connsiteY3" fmla="*/ 18189 h 18000"/>
                <a:gd name="connsiteX4" fmla="*/ 31354 w 30857"/>
                <a:gd name="connsiteY4" fmla="*/ 9240 h 18000"/>
                <a:gd name="connsiteX5" fmla="*/ 31354 w 30857"/>
                <a:gd name="connsiteY5" fmla="*/ 9240 h 18000"/>
                <a:gd name="connsiteX6" fmla="*/ 23571 w 30857"/>
                <a:gd name="connsiteY6" fmla="*/ 4748 h 18000"/>
                <a:gd name="connsiteX7" fmla="*/ 15789 w 30857"/>
                <a:gd name="connsiteY7" fmla="*/ 257 h 18000"/>
                <a:gd name="connsiteX8" fmla="*/ 8040 w 30857"/>
                <a:gd name="connsiteY8" fmla="*/ 4748 h 18000"/>
                <a:gd name="connsiteX9" fmla="*/ 257 w 30857"/>
                <a:gd name="connsiteY9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257" y="9240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54" y="9240"/>
                  </a:lnTo>
                  <a:lnTo>
                    <a:pt x="31354" y="9240"/>
                  </a:lnTo>
                  <a:lnTo>
                    <a:pt x="23571" y="4748"/>
                  </a:lnTo>
                  <a:lnTo>
                    <a:pt x="15789" y="257"/>
                  </a:lnTo>
                  <a:lnTo>
                    <a:pt x="8040" y="4748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9" name="Freeform: Shape 518">
              <a:extLst>
                <a:ext uri="{FF2B5EF4-FFF2-40B4-BE49-F238E27FC236}">
                  <a16:creationId xmlns:a16="http://schemas.microsoft.com/office/drawing/2014/main" id="{48AF9454-D4A3-469D-9E7A-187EDB8C205B}"/>
                </a:ext>
              </a:extLst>
            </p:cNvPr>
            <p:cNvSpPr/>
            <p:nvPr/>
          </p:nvSpPr>
          <p:spPr>
            <a:xfrm>
              <a:off x="6106663" y="1541057"/>
              <a:ext cx="25714" cy="12857"/>
            </a:xfrm>
            <a:custGeom>
              <a:avLst/>
              <a:gdLst>
                <a:gd name="connsiteX0" fmla="*/ 26829 w 25714"/>
                <a:gd name="connsiteY0" fmla="*/ 6017 h 12857"/>
                <a:gd name="connsiteX1" fmla="*/ 16852 w 25714"/>
                <a:gd name="connsiteY1" fmla="*/ 257 h 12857"/>
                <a:gd name="connsiteX2" fmla="*/ 257 w 25714"/>
                <a:gd name="connsiteY2" fmla="*/ 8589 h 12857"/>
                <a:gd name="connsiteX3" fmla="*/ 11297 w 25714"/>
                <a:gd name="connsiteY3" fmla="*/ 15000 h 12857"/>
                <a:gd name="connsiteX4" fmla="*/ 26829 w 25714"/>
                <a:gd name="connsiteY4" fmla="*/ 6017 h 1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714" h="12857">
                  <a:moveTo>
                    <a:pt x="26829" y="6017"/>
                  </a:moveTo>
                  <a:lnTo>
                    <a:pt x="16852" y="257"/>
                  </a:lnTo>
                  <a:cubicBezTo>
                    <a:pt x="11297" y="3034"/>
                    <a:pt x="5777" y="5777"/>
                    <a:pt x="257" y="8589"/>
                  </a:cubicBezTo>
                  <a:lnTo>
                    <a:pt x="11297" y="15000"/>
                  </a:lnTo>
                  <a:lnTo>
                    <a:pt x="26829" y="601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0" name="Freeform: Shape 519">
              <a:extLst>
                <a:ext uri="{FF2B5EF4-FFF2-40B4-BE49-F238E27FC236}">
                  <a16:creationId xmlns:a16="http://schemas.microsoft.com/office/drawing/2014/main" id="{7EE2A5A3-C6E4-4BA3-BD3B-F6DACCDE37FD}"/>
                </a:ext>
              </a:extLst>
            </p:cNvPr>
            <p:cNvSpPr/>
            <p:nvPr/>
          </p:nvSpPr>
          <p:spPr>
            <a:xfrm>
              <a:off x="6102171" y="1591526"/>
              <a:ext cx="30857" cy="18000"/>
            </a:xfrm>
            <a:custGeom>
              <a:avLst/>
              <a:gdLst>
                <a:gd name="connsiteX0" fmla="*/ 31320 w 30857"/>
                <a:gd name="connsiteY0" fmla="*/ 9206 h 18000"/>
                <a:gd name="connsiteX1" fmla="*/ 15789 w 30857"/>
                <a:gd name="connsiteY1" fmla="*/ 257 h 18000"/>
                <a:gd name="connsiteX2" fmla="*/ 257 w 30857"/>
                <a:gd name="connsiteY2" fmla="*/ 9206 h 18000"/>
                <a:gd name="connsiteX3" fmla="*/ 15789 w 30857"/>
                <a:gd name="connsiteY3" fmla="*/ 18189 h 18000"/>
                <a:gd name="connsiteX4" fmla="*/ 31320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20" y="9206"/>
                  </a:moveTo>
                  <a:lnTo>
                    <a:pt x="15789" y="257"/>
                  </a:lnTo>
                  <a:lnTo>
                    <a:pt x="257" y="9206"/>
                  </a:lnTo>
                  <a:lnTo>
                    <a:pt x="15789" y="18189"/>
                  </a:lnTo>
                  <a:lnTo>
                    <a:pt x="31320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1" name="Freeform: Shape 520">
              <a:extLst>
                <a:ext uri="{FF2B5EF4-FFF2-40B4-BE49-F238E27FC236}">
                  <a16:creationId xmlns:a16="http://schemas.microsoft.com/office/drawing/2014/main" id="{CD689414-347A-45CB-9CD0-665B33B874B7}"/>
                </a:ext>
              </a:extLst>
            </p:cNvPr>
            <p:cNvSpPr/>
            <p:nvPr/>
          </p:nvSpPr>
          <p:spPr>
            <a:xfrm>
              <a:off x="6102171" y="1645183"/>
              <a:ext cx="30857" cy="18000"/>
            </a:xfrm>
            <a:custGeom>
              <a:avLst/>
              <a:gdLst>
                <a:gd name="connsiteX0" fmla="*/ 257 w 30857"/>
                <a:gd name="connsiteY0" fmla="*/ 9240 h 18000"/>
                <a:gd name="connsiteX1" fmla="*/ 15789 w 30857"/>
                <a:gd name="connsiteY1" fmla="*/ 18189 h 18000"/>
                <a:gd name="connsiteX2" fmla="*/ 31320 w 30857"/>
                <a:gd name="connsiteY2" fmla="*/ 9240 h 18000"/>
                <a:gd name="connsiteX3" fmla="*/ 15789 w 30857"/>
                <a:gd name="connsiteY3" fmla="*/ 257 h 18000"/>
                <a:gd name="connsiteX4" fmla="*/ 257 w 30857"/>
                <a:gd name="connsiteY4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257" y="9240"/>
                  </a:moveTo>
                  <a:lnTo>
                    <a:pt x="15789" y="18189"/>
                  </a:lnTo>
                  <a:lnTo>
                    <a:pt x="31320" y="9240"/>
                  </a:lnTo>
                  <a:lnTo>
                    <a:pt x="15789" y="257"/>
                  </a:lnTo>
                  <a:lnTo>
                    <a:pt x="257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2" name="Freeform: Shape 521">
              <a:extLst>
                <a:ext uri="{FF2B5EF4-FFF2-40B4-BE49-F238E27FC236}">
                  <a16:creationId xmlns:a16="http://schemas.microsoft.com/office/drawing/2014/main" id="{0F9173FF-32AA-49FB-AF30-5198DF6273DC}"/>
                </a:ext>
              </a:extLst>
            </p:cNvPr>
            <p:cNvSpPr/>
            <p:nvPr/>
          </p:nvSpPr>
          <p:spPr>
            <a:xfrm>
              <a:off x="6124766" y="1618337"/>
              <a:ext cx="30857" cy="18000"/>
            </a:xfrm>
            <a:custGeom>
              <a:avLst/>
              <a:gdLst>
                <a:gd name="connsiteX0" fmla="*/ 15789 w 30857"/>
                <a:gd name="connsiteY0" fmla="*/ 257 h 18000"/>
                <a:gd name="connsiteX1" fmla="*/ 8040 w 30857"/>
                <a:gd name="connsiteY1" fmla="*/ 4748 h 18000"/>
                <a:gd name="connsiteX2" fmla="*/ 257 w 30857"/>
                <a:gd name="connsiteY2" fmla="*/ 9240 h 18000"/>
                <a:gd name="connsiteX3" fmla="*/ 257 w 30857"/>
                <a:gd name="connsiteY3" fmla="*/ 9240 h 18000"/>
                <a:gd name="connsiteX4" fmla="*/ 257 w 30857"/>
                <a:gd name="connsiteY4" fmla="*/ 9240 h 18000"/>
                <a:gd name="connsiteX5" fmla="*/ 15789 w 30857"/>
                <a:gd name="connsiteY5" fmla="*/ 18223 h 18000"/>
                <a:gd name="connsiteX6" fmla="*/ 31354 w 30857"/>
                <a:gd name="connsiteY6" fmla="*/ 9240 h 18000"/>
                <a:gd name="connsiteX7" fmla="*/ 15789 w 30857"/>
                <a:gd name="connsiteY7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15789" y="257"/>
                  </a:moveTo>
                  <a:lnTo>
                    <a:pt x="8040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54" y="9240"/>
                  </a:lnTo>
                  <a:lnTo>
                    <a:pt x="15789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3" name="Freeform: Shape 522">
              <a:extLst>
                <a:ext uri="{FF2B5EF4-FFF2-40B4-BE49-F238E27FC236}">
                  <a16:creationId xmlns:a16="http://schemas.microsoft.com/office/drawing/2014/main" id="{04E05277-7E52-48C0-B7A7-9CE2B1CCD6CE}"/>
                </a:ext>
              </a:extLst>
            </p:cNvPr>
            <p:cNvSpPr/>
            <p:nvPr/>
          </p:nvSpPr>
          <p:spPr>
            <a:xfrm>
              <a:off x="6056986" y="1591526"/>
              <a:ext cx="30857" cy="18000"/>
            </a:xfrm>
            <a:custGeom>
              <a:avLst/>
              <a:gdLst>
                <a:gd name="connsiteX0" fmla="*/ 15792 w 30857"/>
                <a:gd name="connsiteY0" fmla="*/ 18189 h 18000"/>
                <a:gd name="connsiteX1" fmla="*/ 31327 w 30857"/>
                <a:gd name="connsiteY1" fmla="*/ 9206 h 18000"/>
                <a:gd name="connsiteX2" fmla="*/ 15792 w 30857"/>
                <a:gd name="connsiteY2" fmla="*/ 257 h 18000"/>
                <a:gd name="connsiteX3" fmla="*/ 257 w 30857"/>
                <a:gd name="connsiteY3" fmla="*/ 9206 h 18000"/>
                <a:gd name="connsiteX4" fmla="*/ 15792 w 30857"/>
                <a:gd name="connsiteY4" fmla="*/ 18189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92" y="18189"/>
                  </a:moveTo>
                  <a:lnTo>
                    <a:pt x="31327" y="9206"/>
                  </a:lnTo>
                  <a:lnTo>
                    <a:pt x="15792" y="257"/>
                  </a:lnTo>
                  <a:lnTo>
                    <a:pt x="257" y="9206"/>
                  </a:lnTo>
                  <a:lnTo>
                    <a:pt x="15792" y="18189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4" name="Freeform: Shape 523">
              <a:extLst>
                <a:ext uri="{FF2B5EF4-FFF2-40B4-BE49-F238E27FC236}">
                  <a16:creationId xmlns:a16="http://schemas.microsoft.com/office/drawing/2014/main" id="{9A708EF8-A9A8-42A4-99A8-FC9DE706C693}"/>
                </a:ext>
              </a:extLst>
            </p:cNvPr>
            <p:cNvSpPr/>
            <p:nvPr/>
          </p:nvSpPr>
          <p:spPr>
            <a:xfrm>
              <a:off x="6079584" y="1564680"/>
              <a:ext cx="30857" cy="18000"/>
            </a:xfrm>
            <a:custGeom>
              <a:avLst/>
              <a:gdLst>
                <a:gd name="connsiteX0" fmla="*/ 31313 w 30857"/>
                <a:gd name="connsiteY0" fmla="*/ 9240 h 18000"/>
                <a:gd name="connsiteX1" fmla="*/ 31313 w 30857"/>
                <a:gd name="connsiteY1" fmla="*/ 9240 h 18000"/>
                <a:gd name="connsiteX2" fmla="*/ 23564 w 30857"/>
                <a:gd name="connsiteY2" fmla="*/ 4748 h 18000"/>
                <a:gd name="connsiteX3" fmla="*/ 15789 w 30857"/>
                <a:gd name="connsiteY3" fmla="*/ 257 h 18000"/>
                <a:gd name="connsiteX4" fmla="*/ 8023 w 30857"/>
                <a:gd name="connsiteY4" fmla="*/ 4748 h 18000"/>
                <a:gd name="connsiteX5" fmla="*/ 257 w 30857"/>
                <a:gd name="connsiteY5" fmla="*/ 9240 h 18000"/>
                <a:gd name="connsiteX6" fmla="*/ 257 w 30857"/>
                <a:gd name="connsiteY6" fmla="*/ 9240 h 18000"/>
                <a:gd name="connsiteX7" fmla="*/ 15789 w 30857"/>
                <a:gd name="connsiteY7" fmla="*/ 18189 h 18000"/>
                <a:gd name="connsiteX8" fmla="*/ 31313 w 30857"/>
                <a:gd name="connsiteY8" fmla="*/ 9240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0857" h="18000">
                  <a:moveTo>
                    <a:pt x="31313" y="9240"/>
                  </a:moveTo>
                  <a:lnTo>
                    <a:pt x="31313" y="9240"/>
                  </a:lnTo>
                  <a:lnTo>
                    <a:pt x="23564" y="4748"/>
                  </a:lnTo>
                  <a:lnTo>
                    <a:pt x="15789" y="257"/>
                  </a:lnTo>
                  <a:lnTo>
                    <a:pt x="8023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89" y="18189"/>
                  </a:lnTo>
                  <a:lnTo>
                    <a:pt x="31313" y="9240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5" name="Freeform: Shape 524">
              <a:extLst>
                <a:ext uri="{FF2B5EF4-FFF2-40B4-BE49-F238E27FC236}">
                  <a16:creationId xmlns:a16="http://schemas.microsoft.com/office/drawing/2014/main" id="{B4862458-5A88-48B0-92D6-EC74A4EA1E5E}"/>
                </a:ext>
              </a:extLst>
            </p:cNvPr>
            <p:cNvSpPr/>
            <p:nvPr/>
          </p:nvSpPr>
          <p:spPr>
            <a:xfrm>
              <a:off x="6056986" y="1645183"/>
              <a:ext cx="30857" cy="18000"/>
            </a:xfrm>
            <a:custGeom>
              <a:avLst/>
              <a:gdLst>
                <a:gd name="connsiteX0" fmla="*/ 15792 w 30857"/>
                <a:gd name="connsiteY0" fmla="*/ 257 h 18000"/>
                <a:gd name="connsiteX1" fmla="*/ 257 w 30857"/>
                <a:gd name="connsiteY1" fmla="*/ 9240 h 18000"/>
                <a:gd name="connsiteX2" fmla="*/ 15792 w 30857"/>
                <a:gd name="connsiteY2" fmla="*/ 18189 h 18000"/>
                <a:gd name="connsiteX3" fmla="*/ 31327 w 30857"/>
                <a:gd name="connsiteY3" fmla="*/ 9240 h 18000"/>
                <a:gd name="connsiteX4" fmla="*/ 15792 w 30857"/>
                <a:gd name="connsiteY4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92" y="257"/>
                  </a:moveTo>
                  <a:lnTo>
                    <a:pt x="257" y="9240"/>
                  </a:lnTo>
                  <a:lnTo>
                    <a:pt x="15792" y="18189"/>
                  </a:lnTo>
                  <a:lnTo>
                    <a:pt x="31327" y="9240"/>
                  </a:lnTo>
                  <a:lnTo>
                    <a:pt x="15792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6" name="Freeform: Shape 525">
              <a:extLst>
                <a:ext uri="{FF2B5EF4-FFF2-40B4-BE49-F238E27FC236}">
                  <a16:creationId xmlns:a16="http://schemas.microsoft.com/office/drawing/2014/main" id="{A726CCAD-1AEF-4B34-906C-1874D3270430}"/>
                </a:ext>
              </a:extLst>
            </p:cNvPr>
            <p:cNvSpPr/>
            <p:nvPr/>
          </p:nvSpPr>
          <p:spPr>
            <a:xfrm>
              <a:off x="6079584" y="1618337"/>
              <a:ext cx="30857" cy="18000"/>
            </a:xfrm>
            <a:custGeom>
              <a:avLst/>
              <a:gdLst>
                <a:gd name="connsiteX0" fmla="*/ 8023 w 30857"/>
                <a:gd name="connsiteY0" fmla="*/ 4748 h 18000"/>
                <a:gd name="connsiteX1" fmla="*/ 257 w 30857"/>
                <a:gd name="connsiteY1" fmla="*/ 9240 h 18000"/>
                <a:gd name="connsiteX2" fmla="*/ 257 w 30857"/>
                <a:gd name="connsiteY2" fmla="*/ 9240 h 18000"/>
                <a:gd name="connsiteX3" fmla="*/ 15789 w 30857"/>
                <a:gd name="connsiteY3" fmla="*/ 18223 h 18000"/>
                <a:gd name="connsiteX4" fmla="*/ 31313 w 30857"/>
                <a:gd name="connsiteY4" fmla="*/ 9240 h 18000"/>
                <a:gd name="connsiteX5" fmla="*/ 15789 w 30857"/>
                <a:gd name="connsiteY5" fmla="*/ 257 h 18000"/>
                <a:gd name="connsiteX6" fmla="*/ 8023 w 30857"/>
                <a:gd name="connsiteY6" fmla="*/ 4748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8000">
                  <a:moveTo>
                    <a:pt x="8023" y="4748"/>
                  </a:moveTo>
                  <a:lnTo>
                    <a:pt x="257" y="9240"/>
                  </a:lnTo>
                  <a:lnTo>
                    <a:pt x="257" y="9240"/>
                  </a:lnTo>
                  <a:lnTo>
                    <a:pt x="15789" y="18223"/>
                  </a:lnTo>
                  <a:lnTo>
                    <a:pt x="31313" y="9240"/>
                  </a:lnTo>
                  <a:lnTo>
                    <a:pt x="15789" y="257"/>
                  </a:lnTo>
                  <a:lnTo>
                    <a:pt x="8023" y="47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7" name="Freeform: Shape 526">
              <a:extLst>
                <a:ext uri="{FF2B5EF4-FFF2-40B4-BE49-F238E27FC236}">
                  <a16:creationId xmlns:a16="http://schemas.microsoft.com/office/drawing/2014/main" id="{C6BF879E-50C1-42EE-A842-D2EEDCE6FA3D}"/>
                </a:ext>
              </a:extLst>
            </p:cNvPr>
            <p:cNvSpPr/>
            <p:nvPr/>
          </p:nvSpPr>
          <p:spPr>
            <a:xfrm>
              <a:off x="6079584" y="1672029"/>
              <a:ext cx="23143" cy="10286"/>
            </a:xfrm>
            <a:custGeom>
              <a:avLst/>
              <a:gdLst>
                <a:gd name="connsiteX0" fmla="*/ 257 w 23142"/>
                <a:gd name="connsiteY0" fmla="*/ 9206 h 10285"/>
                <a:gd name="connsiteX1" fmla="*/ 257 w 23142"/>
                <a:gd name="connsiteY1" fmla="*/ 9206 h 10285"/>
                <a:gd name="connsiteX2" fmla="*/ 5239 w 23142"/>
                <a:gd name="connsiteY2" fmla="*/ 12086 h 10285"/>
                <a:gd name="connsiteX3" fmla="*/ 23702 w 23142"/>
                <a:gd name="connsiteY3" fmla="*/ 4817 h 10285"/>
                <a:gd name="connsiteX4" fmla="*/ 15789 w 23142"/>
                <a:gd name="connsiteY4" fmla="*/ 257 h 10285"/>
                <a:gd name="connsiteX5" fmla="*/ 257 w 23142"/>
                <a:gd name="connsiteY5" fmla="*/ 9206 h 1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142" h="10285">
                  <a:moveTo>
                    <a:pt x="257" y="9206"/>
                  </a:moveTo>
                  <a:lnTo>
                    <a:pt x="257" y="9206"/>
                  </a:lnTo>
                  <a:lnTo>
                    <a:pt x="5239" y="12086"/>
                  </a:lnTo>
                  <a:cubicBezTo>
                    <a:pt x="11462" y="9857"/>
                    <a:pt x="17633" y="7423"/>
                    <a:pt x="23702" y="4817"/>
                  </a:cubicBezTo>
                  <a:lnTo>
                    <a:pt x="15789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8" name="Freeform: Shape 527">
              <a:extLst>
                <a:ext uri="{FF2B5EF4-FFF2-40B4-BE49-F238E27FC236}">
                  <a16:creationId xmlns:a16="http://schemas.microsoft.com/office/drawing/2014/main" id="{A06DC082-DA2F-46C0-8CD7-3EF7B892E365}"/>
                </a:ext>
              </a:extLst>
            </p:cNvPr>
            <p:cNvSpPr/>
            <p:nvPr/>
          </p:nvSpPr>
          <p:spPr>
            <a:xfrm>
              <a:off x="6011791" y="1591526"/>
              <a:ext cx="30857" cy="18000"/>
            </a:xfrm>
            <a:custGeom>
              <a:avLst/>
              <a:gdLst>
                <a:gd name="connsiteX0" fmla="*/ 31330 w 30857"/>
                <a:gd name="connsiteY0" fmla="*/ 9206 h 18000"/>
                <a:gd name="connsiteX1" fmla="*/ 15792 w 30857"/>
                <a:gd name="connsiteY1" fmla="*/ 257 h 18000"/>
                <a:gd name="connsiteX2" fmla="*/ 257 w 30857"/>
                <a:gd name="connsiteY2" fmla="*/ 9206 h 18000"/>
                <a:gd name="connsiteX3" fmla="*/ 15792 w 30857"/>
                <a:gd name="connsiteY3" fmla="*/ 18189 h 18000"/>
                <a:gd name="connsiteX4" fmla="*/ 31330 w 30857"/>
                <a:gd name="connsiteY4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31330" y="9206"/>
                  </a:moveTo>
                  <a:lnTo>
                    <a:pt x="15792" y="257"/>
                  </a:lnTo>
                  <a:lnTo>
                    <a:pt x="257" y="9206"/>
                  </a:lnTo>
                  <a:lnTo>
                    <a:pt x="15792" y="18189"/>
                  </a:lnTo>
                  <a:lnTo>
                    <a:pt x="31330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9" name="Freeform: Shape 528">
              <a:extLst>
                <a:ext uri="{FF2B5EF4-FFF2-40B4-BE49-F238E27FC236}">
                  <a16:creationId xmlns:a16="http://schemas.microsoft.com/office/drawing/2014/main" id="{220A1CCE-39DE-4E50-9B98-B8171685590F}"/>
                </a:ext>
              </a:extLst>
            </p:cNvPr>
            <p:cNvSpPr/>
            <p:nvPr/>
          </p:nvSpPr>
          <p:spPr>
            <a:xfrm>
              <a:off x="6046100" y="1572052"/>
              <a:ext cx="18000" cy="10286"/>
            </a:xfrm>
            <a:custGeom>
              <a:avLst/>
              <a:gdLst>
                <a:gd name="connsiteX0" fmla="*/ 19615 w 18000"/>
                <a:gd name="connsiteY0" fmla="*/ 1868 h 10285"/>
                <a:gd name="connsiteX1" fmla="*/ 19615 w 18000"/>
                <a:gd name="connsiteY1" fmla="*/ 1868 h 10285"/>
                <a:gd name="connsiteX2" fmla="*/ 19615 w 18000"/>
                <a:gd name="connsiteY2" fmla="*/ 1868 h 10285"/>
                <a:gd name="connsiteX3" fmla="*/ 16824 w 18000"/>
                <a:gd name="connsiteY3" fmla="*/ 257 h 10285"/>
                <a:gd name="connsiteX4" fmla="*/ 257 w 18000"/>
                <a:gd name="connsiteY4" fmla="*/ 8623 h 10285"/>
                <a:gd name="connsiteX5" fmla="*/ 4080 w 18000"/>
                <a:gd name="connsiteY5" fmla="*/ 10817 h 10285"/>
                <a:gd name="connsiteX6" fmla="*/ 19615 w 18000"/>
                <a:gd name="connsiteY6" fmla="*/ 1868 h 1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00" h="10285">
                  <a:moveTo>
                    <a:pt x="19615" y="1868"/>
                  </a:moveTo>
                  <a:lnTo>
                    <a:pt x="19615" y="1868"/>
                  </a:lnTo>
                  <a:lnTo>
                    <a:pt x="19615" y="1868"/>
                  </a:lnTo>
                  <a:lnTo>
                    <a:pt x="16824" y="257"/>
                  </a:lnTo>
                  <a:cubicBezTo>
                    <a:pt x="11452" y="3000"/>
                    <a:pt x="5911" y="5777"/>
                    <a:pt x="257" y="8623"/>
                  </a:cubicBezTo>
                  <a:lnTo>
                    <a:pt x="4080" y="10817"/>
                  </a:lnTo>
                  <a:lnTo>
                    <a:pt x="19615" y="186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0" name="Freeform: Shape 529">
              <a:extLst>
                <a:ext uri="{FF2B5EF4-FFF2-40B4-BE49-F238E27FC236}">
                  <a16:creationId xmlns:a16="http://schemas.microsoft.com/office/drawing/2014/main" id="{D756F8D3-FFE4-4B76-892A-617F11DDD243}"/>
                </a:ext>
              </a:extLst>
            </p:cNvPr>
            <p:cNvSpPr/>
            <p:nvPr/>
          </p:nvSpPr>
          <p:spPr>
            <a:xfrm>
              <a:off x="6011791" y="1645183"/>
              <a:ext cx="30857" cy="18000"/>
            </a:xfrm>
            <a:custGeom>
              <a:avLst/>
              <a:gdLst>
                <a:gd name="connsiteX0" fmla="*/ 15792 w 30857"/>
                <a:gd name="connsiteY0" fmla="*/ 257 h 18000"/>
                <a:gd name="connsiteX1" fmla="*/ 257 w 30857"/>
                <a:gd name="connsiteY1" fmla="*/ 9240 h 18000"/>
                <a:gd name="connsiteX2" fmla="*/ 15792 w 30857"/>
                <a:gd name="connsiteY2" fmla="*/ 18189 h 18000"/>
                <a:gd name="connsiteX3" fmla="*/ 31330 w 30857"/>
                <a:gd name="connsiteY3" fmla="*/ 9240 h 18000"/>
                <a:gd name="connsiteX4" fmla="*/ 15792 w 30857"/>
                <a:gd name="connsiteY4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92" y="257"/>
                  </a:moveTo>
                  <a:lnTo>
                    <a:pt x="257" y="9240"/>
                  </a:lnTo>
                  <a:lnTo>
                    <a:pt x="15792" y="18189"/>
                  </a:lnTo>
                  <a:lnTo>
                    <a:pt x="31330" y="9240"/>
                  </a:lnTo>
                  <a:lnTo>
                    <a:pt x="15792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1" name="Freeform: Shape 530">
              <a:extLst>
                <a:ext uri="{FF2B5EF4-FFF2-40B4-BE49-F238E27FC236}">
                  <a16:creationId xmlns:a16="http://schemas.microsoft.com/office/drawing/2014/main" id="{08E82D38-11CA-4842-B2B2-A81B09102ADC}"/>
                </a:ext>
              </a:extLst>
            </p:cNvPr>
            <p:cNvSpPr/>
            <p:nvPr/>
          </p:nvSpPr>
          <p:spPr>
            <a:xfrm>
              <a:off x="6034388" y="1618337"/>
              <a:ext cx="30857" cy="18000"/>
            </a:xfrm>
            <a:custGeom>
              <a:avLst/>
              <a:gdLst>
                <a:gd name="connsiteX0" fmla="*/ 8026 w 30857"/>
                <a:gd name="connsiteY0" fmla="*/ 4748 h 18000"/>
                <a:gd name="connsiteX1" fmla="*/ 257 w 30857"/>
                <a:gd name="connsiteY1" fmla="*/ 9240 h 18000"/>
                <a:gd name="connsiteX2" fmla="*/ 257 w 30857"/>
                <a:gd name="connsiteY2" fmla="*/ 9240 h 18000"/>
                <a:gd name="connsiteX3" fmla="*/ 15792 w 30857"/>
                <a:gd name="connsiteY3" fmla="*/ 18223 h 18000"/>
                <a:gd name="connsiteX4" fmla="*/ 31327 w 30857"/>
                <a:gd name="connsiteY4" fmla="*/ 9240 h 18000"/>
                <a:gd name="connsiteX5" fmla="*/ 15792 w 30857"/>
                <a:gd name="connsiteY5" fmla="*/ 257 h 18000"/>
                <a:gd name="connsiteX6" fmla="*/ 8026 w 30857"/>
                <a:gd name="connsiteY6" fmla="*/ 4748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8000">
                  <a:moveTo>
                    <a:pt x="8026" y="4748"/>
                  </a:moveTo>
                  <a:lnTo>
                    <a:pt x="257" y="9240"/>
                  </a:lnTo>
                  <a:lnTo>
                    <a:pt x="257" y="9240"/>
                  </a:lnTo>
                  <a:lnTo>
                    <a:pt x="15792" y="18223"/>
                  </a:lnTo>
                  <a:lnTo>
                    <a:pt x="31327" y="9240"/>
                  </a:lnTo>
                  <a:lnTo>
                    <a:pt x="15792" y="257"/>
                  </a:lnTo>
                  <a:lnTo>
                    <a:pt x="8026" y="4748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2" name="Freeform: Shape 531">
              <a:extLst>
                <a:ext uri="{FF2B5EF4-FFF2-40B4-BE49-F238E27FC236}">
                  <a16:creationId xmlns:a16="http://schemas.microsoft.com/office/drawing/2014/main" id="{B90390CB-8AF5-4F05-AFAB-84485CFA3AFE}"/>
                </a:ext>
              </a:extLst>
            </p:cNvPr>
            <p:cNvSpPr/>
            <p:nvPr/>
          </p:nvSpPr>
          <p:spPr>
            <a:xfrm>
              <a:off x="6034388" y="1672029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257 w 30857"/>
                <a:gd name="connsiteY1" fmla="*/ 9206 h 18000"/>
                <a:gd name="connsiteX2" fmla="*/ 15792 w 30857"/>
                <a:gd name="connsiteY2" fmla="*/ 18189 h 18000"/>
                <a:gd name="connsiteX3" fmla="*/ 31327 w 30857"/>
                <a:gd name="connsiteY3" fmla="*/ 9206 h 18000"/>
                <a:gd name="connsiteX4" fmla="*/ 15792 w 30857"/>
                <a:gd name="connsiteY4" fmla="*/ 257 h 18000"/>
                <a:gd name="connsiteX5" fmla="*/ 257 w 30857"/>
                <a:gd name="connsiteY5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257" y="9206"/>
                  </a:lnTo>
                  <a:lnTo>
                    <a:pt x="15792" y="18189"/>
                  </a:lnTo>
                  <a:lnTo>
                    <a:pt x="31327" y="9206"/>
                  </a:lnTo>
                  <a:lnTo>
                    <a:pt x="15792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3" name="Freeform: Shape 532">
              <a:extLst>
                <a:ext uri="{FF2B5EF4-FFF2-40B4-BE49-F238E27FC236}">
                  <a16:creationId xmlns:a16="http://schemas.microsoft.com/office/drawing/2014/main" id="{38FB3584-250B-4A92-B661-577D3A22EC64}"/>
                </a:ext>
              </a:extLst>
            </p:cNvPr>
            <p:cNvSpPr/>
            <p:nvPr/>
          </p:nvSpPr>
          <p:spPr>
            <a:xfrm>
              <a:off x="5989193" y="1672029"/>
              <a:ext cx="30857" cy="18000"/>
            </a:xfrm>
            <a:custGeom>
              <a:avLst/>
              <a:gdLst>
                <a:gd name="connsiteX0" fmla="*/ 257 w 30857"/>
                <a:gd name="connsiteY0" fmla="*/ 9206 h 18000"/>
                <a:gd name="connsiteX1" fmla="*/ 257 w 30857"/>
                <a:gd name="connsiteY1" fmla="*/ 9206 h 18000"/>
                <a:gd name="connsiteX2" fmla="*/ 257 w 30857"/>
                <a:gd name="connsiteY2" fmla="*/ 9206 h 18000"/>
                <a:gd name="connsiteX3" fmla="*/ 15795 w 30857"/>
                <a:gd name="connsiteY3" fmla="*/ 18189 h 18000"/>
                <a:gd name="connsiteX4" fmla="*/ 31330 w 30857"/>
                <a:gd name="connsiteY4" fmla="*/ 9206 h 18000"/>
                <a:gd name="connsiteX5" fmla="*/ 15795 w 30857"/>
                <a:gd name="connsiteY5" fmla="*/ 257 h 18000"/>
                <a:gd name="connsiteX6" fmla="*/ 257 w 30857"/>
                <a:gd name="connsiteY6" fmla="*/ 9206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57" h="18000">
                  <a:moveTo>
                    <a:pt x="257" y="9206"/>
                  </a:moveTo>
                  <a:lnTo>
                    <a:pt x="257" y="9206"/>
                  </a:lnTo>
                  <a:lnTo>
                    <a:pt x="257" y="9206"/>
                  </a:lnTo>
                  <a:lnTo>
                    <a:pt x="15795" y="18189"/>
                  </a:lnTo>
                  <a:lnTo>
                    <a:pt x="31330" y="9206"/>
                  </a:lnTo>
                  <a:lnTo>
                    <a:pt x="15795" y="257"/>
                  </a:lnTo>
                  <a:lnTo>
                    <a:pt x="257" y="9206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4" name="Freeform: Shape 533">
              <a:extLst>
                <a:ext uri="{FF2B5EF4-FFF2-40B4-BE49-F238E27FC236}">
                  <a16:creationId xmlns:a16="http://schemas.microsoft.com/office/drawing/2014/main" id="{20E87B91-3918-4AB2-8E81-5ED45545DE5A}"/>
                </a:ext>
              </a:extLst>
            </p:cNvPr>
            <p:cNvSpPr/>
            <p:nvPr/>
          </p:nvSpPr>
          <p:spPr>
            <a:xfrm>
              <a:off x="5966595" y="1645183"/>
              <a:ext cx="30857" cy="18000"/>
            </a:xfrm>
            <a:custGeom>
              <a:avLst/>
              <a:gdLst>
                <a:gd name="connsiteX0" fmla="*/ 15795 w 30857"/>
                <a:gd name="connsiteY0" fmla="*/ 257 h 18000"/>
                <a:gd name="connsiteX1" fmla="*/ 257 w 30857"/>
                <a:gd name="connsiteY1" fmla="*/ 9240 h 18000"/>
                <a:gd name="connsiteX2" fmla="*/ 15795 w 30857"/>
                <a:gd name="connsiteY2" fmla="*/ 18189 h 18000"/>
                <a:gd name="connsiteX3" fmla="*/ 31330 w 30857"/>
                <a:gd name="connsiteY3" fmla="*/ 9240 h 18000"/>
                <a:gd name="connsiteX4" fmla="*/ 15795 w 30857"/>
                <a:gd name="connsiteY4" fmla="*/ 257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857" h="18000">
                  <a:moveTo>
                    <a:pt x="15795" y="257"/>
                  </a:moveTo>
                  <a:lnTo>
                    <a:pt x="257" y="9240"/>
                  </a:lnTo>
                  <a:lnTo>
                    <a:pt x="15795" y="18189"/>
                  </a:lnTo>
                  <a:lnTo>
                    <a:pt x="31330" y="9240"/>
                  </a:lnTo>
                  <a:lnTo>
                    <a:pt x="15795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5" name="Freeform: Shape 534">
              <a:extLst>
                <a:ext uri="{FF2B5EF4-FFF2-40B4-BE49-F238E27FC236}">
                  <a16:creationId xmlns:a16="http://schemas.microsoft.com/office/drawing/2014/main" id="{4268BB57-25ED-4EF2-AD2C-F8A5CFAE7375}"/>
                </a:ext>
              </a:extLst>
            </p:cNvPr>
            <p:cNvSpPr/>
            <p:nvPr/>
          </p:nvSpPr>
          <p:spPr>
            <a:xfrm>
              <a:off x="5989193" y="1618337"/>
              <a:ext cx="30857" cy="18000"/>
            </a:xfrm>
            <a:custGeom>
              <a:avLst/>
              <a:gdLst>
                <a:gd name="connsiteX0" fmla="*/ 15795 w 30857"/>
                <a:gd name="connsiteY0" fmla="*/ 18223 h 18000"/>
                <a:gd name="connsiteX1" fmla="*/ 31330 w 30857"/>
                <a:gd name="connsiteY1" fmla="*/ 9240 h 18000"/>
                <a:gd name="connsiteX2" fmla="*/ 15795 w 30857"/>
                <a:gd name="connsiteY2" fmla="*/ 257 h 18000"/>
                <a:gd name="connsiteX3" fmla="*/ 8026 w 30857"/>
                <a:gd name="connsiteY3" fmla="*/ 4748 h 18000"/>
                <a:gd name="connsiteX4" fmla="*/ 257 w 30857"/>
                <a:gd name="connsiteY4" fmla="*/ 9240 h 18000"/>
                <a:gd name="connsiteX5" fmla="*/ 257 w 30857"/>
                <a:gd name="connsiteY5" fmla="*/ 9240 h 18000"/>
                <a:gd name="connsiteX6" fmla="*/ 257 w 30857"/>
                <a:gd name="connsiteY6" fmla="*/ 9240 h 18000"/>
                <a:gd name="connsiteX7" fmla="*/ 15795 w 30857"/>
                <a:gd name="connsiteY7" fmla="*/ 18223 h 1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857" h="18000">
                  <a:moveTo>
                    <a:pt x="15795" y="18223"/>
                  </a:moveTo>
                  <a:lnTo>
                    <a:pt x="31330" y="9240"/>
                  </a:lnTo>
                  <a:lnTo>
                    <a:pt x="15795" y="257"/>
                  </a:lnTo>
                  <a:lnTo>
                    <a:pt x="8026" y="4748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257" y="9240"/>
                  </a:lnTo>
                  <a:lnTo>
                    <a:pt x="15795" y="18223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6" name="Freeform: Shape 535">
              <a:extLst>
                <a:ext uri="{FF2B5EF4-FFF2-40B4-BE49-F238E27FC236}">
                  <a16:creationId xmlns:a16="http://schemas.microsoft.com/office/drawing/2014/main" id="{860CCD09-1020-441D-BE01-B85645AD0D07}"/>
                </a:ext>
              </a:extLst>
            </p:cNvPr>
            <p:cNvSpPr/>
            <p:nvPr/>
          </p:nvSpPr>
          <p:spPr>
            <a:xfrm>
              <a:off x="5947076" y="1672029"/>
              <a:ext cx="28286" cy="15429"/>
            </a:xfrm>
            <a:custGeom>
              <a:avLst/>
              <a:gdLst>
                <a:gd name="connsiteX0" fmla="*/ 257 w 28285"/>
                <a:gd name="connsiteY0" fmla="*/ 7457 h 15428"/>
                <a:gd name="connsiteX1" fmla="*/ 257 w 28285"/>
                <a:gd name="connsiteY1" fmla="*/ 7457 h 15428"/>
                <a:gd name="connsiteX2" fmla="*/ 14205 w 28285"/>
                <a:gd name="connsiteY2" fmla="*/ 17331 h 15428"/>
                <a:gd name="connsiteX3" fmla="*/ 28252 w 28285"/>
                <a:gd name="connsiteY3" fmla="*/ 9206 h 15428"/>
                <a:gd name="connsiteX4" fmla="*/ 12717 w 28285"/>
                <a:gd name="connsiteY4" fmla="*/ 257 h 15428"/>
                <a:gd name="connsiteX5" fmla="*/ 257 w 28285"/>
                <a:gd name="connsiteY5" fmla="*/ 7457 h 15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285" h="15428">
                  <a:moveTo>
                    <a:pt x="257" y="7457"/>
                  </a:moveTo>
                  <a:lnTo>
                    <a:pt x="257" y="7457"/>
                  </a:lnTo>
                  <a:cubicBezTo>
                    <a:pt x="3230" y="12154"/>
                    <a:pt x="7913" y="15754"/>
                    <a:pt x="14205" y="17331"/>
                  </a:cubicBezTo>
                  <a:lnTo>
                    <a:pt x="28252" y="9206"/>
                  </a:lnTo>
                  <a:lnTo>
                    <a:pt x="12717" y="257"/>
                  </a:lnTo>
                  <a:lnTo>
                    <a:pt x="257" y="74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7" name="Freeform: Shape 536">
              <a:extLst>
                <a:ext uri="{FF2B5EF4-FFF2-40B4-BE49-F238E27FC236}">
                  <a16:creationId xmlns:a16="http://schemas.microsoft.com/office/drawing/2014/main" id="{29405D98-4311-4F7D-AC4C-0E117289CBE3}"/>
                </a:ext>
              </a:extLst>
            </p:cNvPr>
            <p:cNvSpPr/>
            <p:nvPr/>
          </p:nvSpPr>
          <p:spPr>
            <a:xfrm>
              <a:off x="5944059" y="1651080"/>
              <a:ext cx="7714" cy="7714"/>
            </a:xfrm>
            <a:custGeom>
              <a:avLst/>
              <a:gdLst>
                <a:gd name="connsiteX0" fmla="*/ 3353 w 7714"/>
                <a:gd name="connsiteY0" fmla="*/ 257 h 7714"/>
                <a:gd name="connsiteX1" fmla="*/ 257 w 7714"/>
                <a:gd name="connsiteY1" fmla="*/ 8211 h 7714"/>
                <a:gd name="connsiteX2" fmla="*/ 8671 w 7714"/>
                <a:gd name="connsiteY2" fmla="*/ 3343 h 7714"/>
                <a:gd name="connsiteX3" fmla="*/ 3353 w 7714"/>
                <a:gd name="connsiteY3" fmla="*/ 257 h 7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4" h="7714">
                  <a:moveTo>
                    <a:pt x="3353" y="257"/>
                  </a:moveTo>
                  <a:cubicBezTo>
                    <a:pt x="1906" y="2794"/>
                    <a:pt x="898" y="5468"/>
                    <a:pt x="257" y="8211"/>
                  </a:cubicBezTo>
                  <a:lnTo>
                    <a:pt x="8671" y="3343"/>
                  </a:lnTo>
                  <a:lnTo>
                    <a:pt x="3353" y="257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8" name="Freeform: Shape 537">
              <a:extLst>
                <a:ext uri="{FF2B5EF4-FFF2-40B4-BE49-F238E27FC236}">
                  <a16:creationId xmlns:a16="http://schemas.microsoft.com/office/drawing/2014/main" id="{94F4A3AB-F98C-4219-8E81-8295838B8902}"/>
                </a:ext>
              </a:extLst>
            </p:cNvPr>
            <p:cNvSpPr/>
            <p:nvPr/>
          </p:nvSpPr>
          <p:spPr>
            <a:xfrm>
              <a:off x="5959454" y="1625263"/>
              <a:ext cx="15429" cy="10286"/>
            </a:xfrm>
            <a:custGeom>
              <a:avLst/>
              <a:gdLst>
                <a:gd name="connsiteX0" fmla="*/ 15874 w 15428"/>
                <a:gd name="connsiteY0" fmla="*/ 2314 h 10285"/>
                <a:gd name="connsiteX1" fmla="*/ 12312 w 15428"/>
                <a:gd name="connsiteY1" fmla="*/ 257 h 10285"/>
                <a:gd name="connsiteX2" fmla="*/ 257 w 15428"/>
                <a:gd name="connsiteY2" fmla="*/ 11229 h 10285"/>
                <a:gd name="connsiteX3" fmla="*/ 340 w 15428"/>
                <a:gd name="connsiteY3" fmla="*/ 11297 h 10285"/>
                <a:gd name="connsiteX4" fmla="*/ 15874 w 15428"/>
                <a:gd name="connsiteY4" fmla="*/ 2314 h 1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428" h="10285">
                  <a:moveTo>
                    <a:pt x="15874" y="2314"/>
                  </a:moveTo>
                  <a:lnTo>
                    <a:pt x="12312" y="257"/>
                  </a:lnTo>
                  <a:cubicBezTo>
                    <a:pt x="8064" y="3754"/>
                    <a:pt x="4029" y="7423"/>
                    <a:pt x="257" y="11229"/>
                  </a:cubicBezTo>
                  <a:lnTo>
                    <a:pt x="340" y="11297"/>
                  </a:lnTo>
                  <a:lnTo>
                    <a:pt x="15874" y="2314"/>
                  </a:lnTo>
                </a:path>
              </a:pathLst>
            </a:custGeom>
            <a:solidFill>
              <a:srgbClr val="969A9E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9" name="Freeform: Shape 538">
              <a:extLst>
                <a:ext uri="{FF2B5EF4-FFF2-40B4-BE49-F238E27FC236}">
                  <a16:creationId xmlns:a16="http://schemas.microsoft.com/office/drawing/2014/main" id="{A9F56D09-EEBB-4B50-A236-6E0C97A0102A}"/>
                </a:ext>
              </a:extLst>
            </p:cNvPr>
            <p:cNvSpPr/>
            <p:nvPr/>
          </p:nvSpPr>
          <p:spPr>
            <a:xfrm>
              <a:off x="6614571" y="1745983"/>
              <a:ext cx="131143" cy="131143"/>
            </a:xfrm>
            <a:custGeom>
              <a:avLst/>
              <a:gdLst>
                <a:gd name="connsiteX0" fmla="*/ 132394 w 131142"/>
                <a:gd name="connsiteY0" fmla="*/ 66291 h 131142"/>
                <a:gd name="connsiteX1" fmla="*/ 66326 w 131142"/>
                <a:gd name="connsiteY1" fmla="*/ 257 h 131142"/>
                <a:gd name="connsiteX2" fmla="*/ 257 w 131142"/>
                <a:gd name="connsiteY2" fmla="*/ 66291 h 131142"/>
                <a:gd name="connsiteX3" fmla="*/ 66326 w 131142"/>
                <a:gd name="connsiteY3" fmla="*/ 132360 h 131142"/>
                <a:gd name="connsiteX4" fmla="*/ 132394 w 131142"/>
                <a:gd name="connsiteY4" fmla="*/ 66291 h 13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142" h="131142">
                  <a:moveTo>
                    <a:pt x="132394" y="66291"/>
                  </a:moveTo>
                  <a:cubicBezTo>
                    <a:pt x="132394" y="29811"/>
                    <a:pt x="102806" y="257"/>
                    <a:pt x="66326" y="257"/>
                  </a:cubicBezTo>
                  <a:cubicBezTo>
                    <a:pt x="29846" y="257"/>
                    <a:pt x="257" y="29811"/>
                    <a:pt x="257" y="66291"/>
                  </a:cubicBezTo>
                  <a:cubicBezTo>
                    <a:pt x="257" y="102771"/>
                    <a:pt x="29846" y="132360"/>
                    <a:pt x="66326" y="132360"/>
                  </a:cubicBezTo>
                  <a:cubicBezTo>
                    <a:pt x="102806" y="132360"/>
                    <a:pt x="132394" y="102771"/>
                    <a:pt x="132394" y="66291"/>
                  </a:cubicBez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0" name="Freeform: Shape 539">
              <a:extLst>
                <a:ext uri="{FF2B5EF4-FFF2-40B4-BE49-F238E27FC236}">
                  <a16:creationId xmlns:a16="http://schemas.microsoft.com/office/drawing/2014/main" id="{843CF2D9-DBED-4C25-B014-31D8C04EFBC6}"/>
                </a:ext>
              </a:extLst>
            </p:cNvPr>
            <p:cNvSpPr/>
            <p:nvPr/>
          </p:nvSpPr>
          <p:spPr>
            <a:xfrm>
              <a:off x="6604286" y="1735697"/>
              <a:ext cx="151714" cy="151714"/>
            </a:xfrm>
            <a:custGeom>
              <a:avLst/>
              <a:gdLst>
                <a:gd name="connsiteX0" fmla="*/ 76611 w 151714"/>
                <a:gd name="connsiteY0" fmla="*/ 20829 h 151714"/>
                <a:gd name="connsiteX1" fmla="*/ 20829 w 151714"/>
                <a:gd name="connsiteY1" fmla="*/ 76577 h 151714"/>
                <a:gd name="connsiteX2" fmla="*/ 76611 w 151714"/>
                <a:gd name="connsiteY2" fmla="*/ 132360 h 151714"/>
                <a:gd name="connsiteX3" fmla="*/ 132394 w 151714"/>
                <a:gd name="connsiteY3" fmla="*/ 76577 h 151714"/>
                <a:gd name="connsiteX4" fmla="*/ 76611 w 151714"/>
                <a:gd name="connsiteY4" fmla="*/ 20829 h 151714"/>
                <a:gd name="connsiteX5" fmla="*/ 76611 w 151714"/>
                <a:gd name="connsiteY5" fmla="*/ 152931 h 151714"/>
                <a:gd name="connsiteX6" fmla="*/ 257 w 151714"/>
                <a:gd name="connsiteY6" fmla="*/ 76577 h 151714"/>
                <a:gd name="connsiteX7" fmla="*/ 76611 w 151714"/>
                <a:gd name="connsiteY7" fmla="*/ 257 h 151714"/>
                <a:gd name="connsiteX8" fmla="*/ 152966 w 151714"/>
                <a:gd name="connsiteY8" fmla="*/ 76577 h 151714"/>
                <a:gd name="connsiteX9" fmla="*/ 76611 w 151714"/>
                <a:gd name="connsiteY9" fmla="*/ 152931 h 151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1714" h="151714">
                  <a:moveTo>
                    <a:pt x="76611" y="20829"/>
                  </a:moveTo>
                  <a:cubicBezTo>
                    <a:pt x="45857" y="20829"/>
                    <a:pt x="20829" y="45823"/>
                    <a:pt x="20829" y="76577"/>
                  </a:cubicBezTo>
                  <a:cubicBezTo>
                    <a:pt x="20829" y="107366"/>
                    <a:pt x="45857" y="132360"/>
                    <a:pt x="76611" y="132360"/>
                  </a:cubicBezTo>
                  <a:cubicBezTo>
                    <a:pt x="107366" y="132360"/>
                    <a:pt x="132394" y="107366"/>
                    <a:pt x="132394" y="76577"/>
                  </a:cubicBezTo>
                  <a:cubicBezTo>
                    <a:pt x="132394" y="45823"/>
                    <a:pt x="107366" y="20829"/>
                    <a:pt x="76611" y="20829"/>
                  </a:cubicBezTo>
                  <a:close/>
                  <a:moveTo>
                    <a:pt x="76611" y="152931"/>
                  </a:moveTo>
                  <a:cubicBezTo>
                    <a:pt x="34509" y="152931"/>
                    <a:pt x="257" y="118680"/>
                    <a:pt x="257" y="76577"/>
                  </a:cubicBezTo>
                  <a:cubicBezTo>
                    <a:pt x="257" y="34508"/>
                    <a:pt x="34509" y="257"/>
                    <a:pt x="76611" y="257"/>
                  </a:cubicBezTo>
                  <a:cubicBezTo>
                    <a:pt x="118714" y="257"/>
                    <a:pt x="152966" y="34508"/>
                    <a:pt x="152966" y="76577"/>
                  </a:cubicBezTo>
                  <a:cubicBezTo>
                    <a:pt x="152966" y="118680"/>
                    <a:pt x="118714" y="152931"/>
                    <a:pt x="76611" y="152931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1" name="Freeform: Shape 540">
              <a:extLst>
                <a:ext uri="{FF2B5EF4-FFF2-40B4-BE49-F238E27FC236}">
                  <a16:creationId xmlns:a16="http://schemas.microsoft.com/office/drawing/2014/main" id="{F3A5B736-35AE-497B-AC35-D2E7DBF7EC8B}"/>
                </a:ext>
              </a:extLst>
            </p:cNvPr>
            <p:cNvSpPr/>
            <p:nvPr/>
          </p:nvSpPr>
          <p:spPr>
            <a:xfrm>
              <a:off x="5661504" y="1452566"/>
              <a:ext cx="285429" cy="218571"/>
            </a:xfrm>
            <a:custGeom>
              <a:avLst/>
              <a:gdLst>
                <a:gd name="connsiteX0" fmla="*/ 257 w 285428"/>
                <a:gd name="connsiteY0" fmla="*/ 257 h 218571"/>
                <a:gd name="connsiteX1" fmla="*/ 257 w 285428"/>
                <a:gd name="connsiteY1" fmla="*/ 55457 h 218571"/>
                <a:gd name="connsiteX2" fmla="*/ 286306 w 285428"/>
                <a:gd name="connsiteY2" fmla="*/ 220611 h 218571"/>
                <a:gd name="connsiteX3" fmla="*/ 286306 w 285428"/>
                <a:gd name="connsiteY3" fmla="*/ 165411 h 218571"/>
                <a:gd name="connsiteX4" fmla="*/ 257 w 285428"/>
                <a:gd name="connsiteY4" fmla="*/ 257 h 218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428" h="218571">
                  <a:moveTo>
                    <a:pt x="257" y="257"/>
                  </a:moveTo>
                  <a:lnTo>
                    <a:pt x="257" y="55457"/>
                  </a:lnTo>
                  <a:lnTo>
                    <a:pt x="286306" y="220611"/>
                  </a:lnTo>
                  <a:lnTo>
                    <a:pt x="286306" y="165411"/>
                  </a:lnTo>
                  <a:lnTo>
                    <a:pt x="257" y="257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2" name="Freeform: Shape 541">
              <a:extLst>
                <a:ext uri="{FF2B5EF4-FFF2-40B4-BE49-F238E27FC236}">
                  <a16:creationId xmlns:a16="http://schemas.microsoft.com/office/drawing/2014/main" id="{8FCB1892-7188-48B5-A471-E53B7B2FDFBE}"/>
                </a:ext>
              </a:extLst>
            </p:cNvPr>
            <p:cNvSpPr/>
            <p:nvPr/>
          </p:nvSpPr>
          <p:spPr>
            <a:xfrm>
              <a:off x="5661504" y="1398977"/>
              <a:ext cx="285429" cy="218571"/>
            </a:xfrm>
            <a:custGeom>
              <a:avLst/>
              <a:gdLst>
                <a:gd name="connsiteX0" fmla="*/ 257 w 285428"/>
                <a:gd name="connsiteY0" fmla="*/ 257 h 218571"/>
                <a:gd name="connsiteX1" fmla="*/ 257 w 285428"/>
                <a:gd name="connsiteY1" fmla="*/ 53846 h 218571"/>
                <a:gd name="connsiteX2" fmla="*/ 286306 w 285428"/>
                <a:gd name="connsiteY2" fmla="*/ 219000 h 218571"/>
                <a:gd name="connsiteX3" fmla="*/ 286306 w 285428"/>
                <a:gd name="connsiteY3" fmla="*/ 165411 h 218571"/>
                <a:gd name="connsiteX4" fmla="*/ 257 w 285428"/>
                <a:gd name="connsiteY4" fmla="*/ 257 h 218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428" h="218571">
                  <a:moveTo>
                    <a:pt x="257" y="257"/>
                  </a:moveTo>
                  <a:lnTo>
                    <a:pt x="257" y="53846"/>
                  </a:lnTo>
                  <a:lnTo>
                    <a:pt x="286306" y="219000"/>
                  </a:lnTo>
                  <a:lnTo>
                    <a:pt x="286306" y="165411"/>
                  </a:lnTo>
                  <a:lnTo>
                    <a:pt x="257" y="257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3" name="Freeform: Shape 542">
              <a:extLst>
                <a:ext uri="{FF2B5EF4-FFF2-40B4-BE49-F238E27FC236}">
                  <a16:creationId xmlns:a16="http://schemas.microsoft.com/office/drawing/2014/main" id="{40BEE0CC-79DE-4995-9F4A-6435B0BB8650}"/>
                </a:ext>
              </a:extLst>
            </p:cNvPr>
            <p:cNvSpPr/>
            <p:nvPr/>
          </p:nvSpPr>
          <p:spPr>
            <a:xfrm>
              <a:off x="5661504" y="1343400"/>
              <a:ext cx="285429" cy="221143"/>
            </a:xfrm>
            <a:custGeom>
              <a:avLst/>
              <a:gdLst>
                <a:gd name="connsiteX0" fmla="*/ 257 w 285428"/>
                <a:gd name="connsiteY0" fmla="*/ 257 h 221142"/>
                <a:gd name="connsiteX1" fmla="*/ 257 w 285428"/>
                <a:gd name="connsiteY1" fmla="*/ 55834 h 221142"/>
                <a:gd name="connsiteX2" fmla="*/ 286306 w 285428"/>
                <a:gd name="connsiteY2" fmla="*/ 220989 h 221142"/>
                <a:gd name="connsiteX3" fmla="*/ 286306 w 285428"/>
                <a:gd name="connsiteY3" fmla="*/ 165411 h 221142"/>
                <a:gd name="connsiteX4" fmla="*/ 257 w 285428"/>
                <a:gd name="connsiteY4" fmla="*/ 257 h 22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5428" h="221142">
                  <a:moveTo>
                    <a:pt x="257" y="257"/>
                  </a:moveTo>
                  <a:lnTo>
                    <a:pt x="257" y="55834"/>
                  </a:lnTo>
                  <a:lnTo>
                    <a:pt x="286306" y="220989"/>
                  </a:lnTo>
                  <a:lnTo>
                    <a:pt x="286306" y="165411"/>
                  </a:lnTo>
                  <a:lnTo>
                    <a:pt x="257" y="257"/>
                  </a:lnTo>
                </a:path>
              </a:pathLst>
            </a:custGeom>
            <a:solidFill>
              <a:srgbClr val="FFFFFF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4" name="Freeform: Shape 543">
              <a:extLst>
                <a:ext uri="{FF2B5EF4-FFF2-40B4-BE49-F238E27FC236}">
                  <a16:creationId xmlns:a16="http://schemas.microsoft.com/office/drawing/2014/main" id="{8C50F2E6-52A1-417A-ABF8-CC446A833435}"/>
                </a:ext>
              </a:extLst>
            </p:cNvPr>
            <p:cNvSpPr/>
            <p:nvPr/>
          </p:nvSpPr>
          <p:spPr>
            <a:xfrm>
              <a:off x="5661501" y="991835"/>
              <a:ext cx="894857" cy="516857"/>
            </a:xfrm>
            <a:custGeom>
              <a:avLst/>
              <a:gdLst>
                <a:gd name="connsiteX0" fmla="*/ 379479 w 894857"/>
                <a:gd name="connsiteY0" fmla="*/ 297984 h 516857"/>
                <a:gd name="connsiteX1" fmla="*/ 379479 w 894857"/>
                <a:gd name="connsiteY1" fmla="*/ 219219 h 516857"/>
                <a:gd name="connsiteX2" fmla="*/ 515990 w 894857"/>
                <a:gd name="connsiteY2" fmla="*/ 219219 h 516857"/>
                <a:gd name="connsiteX3" fmla="*/ 515990 w 894857"/>
                <a:gd name="connsiteY3" fmla="*/ 297984 h 516857"/>
                <a:gd name="connsiteX4" fmla="*/ 379479 w 894857"/>
                <a:gd name="connsiteY4" fmla="*/ 297984 h 516857"/>
                <a:gd name="connsiteX5" fmla="*/ 270 w 894857"/>
                <a:gd name="connsiteY5" fmla="*/ 351812 h 516857"/>
                <a:gd name="connsiteX6" fmla="*/ 286322 w 894857"/>
                <a:gd name="connsiteY6" fmla="*/ 516969 h 516857"/>
                <a:gd name="connsiteX7" fmla="*/ 895279 w 894857"/>
                <a:gd name="connsiteY7" fmla="*/ 165426 h 516857"/>
                <a:gd name="connsiteX8" fmla="*/ 609187 w 894857"/>
                <a:gd name="connsiteY8" fmla="*/ 270 h 516857"/>
                <a:gd name="connsiteX9" fmla="*/ 270 w 894857"/>
                <a:gd name="connsiteY9" fmla="*/ 351812 h 516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94857" h="516857">
                  <a:moveTo>
                    <a:pt x="379479" y="297984"/>
                  </a:moveTo>
                  <a:cubicBezTo>
                    <a:pt x="341835" y="276250"/>
                    <a:pt x="341835" y="240916"/>
                    <a:pt x="379479" y="219219"/>
                  </a:cubicBezTo>
                  <a:cubicBezTo>
                    <a:pt x="417217" y="197414"/>
                    <a:pt x="478346" y="197414"/>
                    <a:pt x="515990" y="219219"/>
                  </a:cubicBezTo>
                  <a:cubicBezTo>
                    <a:pt x="553670" y="240916"/>
                    <a:pt x="553670" y="276250"/>
                    <a:pt x="515990" y="297984"/>
                  </a:cubicBezTo>
                  <a:cubicBezTo>
                    <a:pt x="478346" y="319789"/>
                    <a:pt x="417217" y="319789"/>
                    <a:pt x="379479" y="297984"/>
                  </a:cubicBezTo>
                  <a:close/>
                  <a:moveTo>
                    <a:pt x="270" y="351812"/>
                  </a:moveTo>
                  <a:lnTo>
                    <a:pt x="286322" y="516969"/>
                  </a:lnTo>
                  <a:lnTo>
                    <a:pt x="895279" y="165426"/>
                  </a:lnTo>
                  <a:lnTo>
                    <a:pt x="609187" y="270"/>
                  </a:lnTo>
                  <a:lnTo>
                    <a:pt x="270" y="351812"/>
                  </a:lnTo>
                </a:path>
              </a:pathLst>
            </a:custGeom>
            <a:solidFill>
              <a:srgbClr val="FFFFFF"/>
            </a:solidFill>
            <a:ln w="133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5" name="Freeform: Shape 544">
              <a:extLst>
                <a:ext uri="{FF2B5EF4-FFF2-40B4-BE49-F238E27FC236}">
                  <a16:creationId xmlns:a16="http://schemas.microsoft.com/office/drawing/2014/main" id="{5C0D0EBE-3087-4A63-B37C-7B25BC8011E9}"/>
                </a:ext>
              </a:extLst>
            </p:cNvPr>
            <p:cNvSpPr/>
            <p:nvPr/>
          </p:nvSpPr>
          <p:spPr>
            <a:xfrm>
              <a:off x="5947558" y="1266191"/>
              <a:ext cx="609429" cy="406286"/>
            </a:xfrm>
            <a:custGeom>
              <a:avLst/>
              <a:gdLst>
                <a:gd name="connsiteX0" fmla="*/ 257 w 609428"/>
                <a:gd name="connsiteY0" fmla="*/ 351785 h 406285"/>
                <a:gd name="connsiteX1" fmla="*/ 257 w 609428"/>
                <a:gd name="connsiteY1" fmla="*/ 406972 h 406285"/>
                <a:gd name="connsiteX2" fmla="*/ 609194 w 609428"/>
                <a:gd name="connsiteY2" fmla="*/ 55444 h 406285"/>
                <a:gd name="connsiteX3" fmla="*/ 609194 w 609428"/>
                <a:gd name="connsiteY3" fmla="*/ 257 h 406285"/>
                <a:gd name="connsiteX4" fmla="*/ 257 w 609428"/>
                <a:gd name="connsiteY4" fmla="*/ 351785 h 406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28" h="406285">
                  <a:moveTo>
                    <a:pt x="257" y="351785"/>
                  </a:moveTo>
                  <a:lnTo>
                    <a:pt x="257" y="406972"/>
                  </a:lnTo>
                  <a:lnTo>
                    <a:pt x="609194" y="55444"/>
                  </a:lnTo>
                  <a:lnTo>
                    <a:pt x="609194" y="257"/>
                  </a:lnTo>
                  <a:lnTo>
                    <a:pt x="257" y="351785"/>
                  </a:lnTo>
                </a:path>
              </a:pathLst>
            </a:custGeom>
            <a:solidFill>
              <a:schemeClr val="bg2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6" name="Freeform: Shape 545">
              <a:extLst>
                <a:ext uri="{FF2B5EF4-FFF2-40B4-BE49-F238E27FC236}">
                  <a16:creationId xmlns:a16="http://schemas.microsoft.com/office/drawing/2014/main" id="{BD9E4201-F37B-4259-8847-149A7E62DD58}"/>
                </a:ext>
              </a:extLst>
            </p:cNvPr>
            <p:cNvSpPr/>
            <p:nvPr/>
          </p:nvSpPr>
          <p:spPr>
            <a:xfrm>
              <a:off x="5947551" y="1212594"/>
              <a:ext cx="609429" cy="403714"/>
            </a:xfrm>
            <a:custGeom>
              <a:avLst/>
              <a:gdLst>
                <a:gd name="connsiteX0" fmla="*/ 260 w 609428"/>
                <a:gd name="connsiteY0" fmla="*/ 351799 h 403714"/>
                <a:gd name="connsiteX1" fmla="*/ 260 w 609428"/>
                <a:gd name="connsiteY1" fmla="*/ 405402 h 403714"/>
                <a:gd name="connsiteX2" fmla="*/ 609195 w 609428"/>
                <a:gd name="connsiteY2" fmla="*/ 53863 h 403714"/>
                <a:gd name="connsiteX3" fmla="*/ 609195 w 609428"/>
                <a:gd name="connsiteY3" fmla="*/ 260 h 403714"/>
                <a:gd name="connsiteX4" fmla="*/ 260 w 609428"/>
                <a:gd name="connsiteY4" fmla="*/ 351799 h 403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28" h="403714">
                  <a:moveTo>
                    <a:pt x="260" y="351799"/>
                  </a:moveTo>
                  <a:lnTo>
                    <a:pt x="260" y="405402"/>
                  </a:lnTo>
                  <a:lnTo>
                    <a:pt x="609195" y="53863"/>
                  </a:lnTo>
                  <a:lnTo>
                    <a:pt x="609195" y="260"/>
                  </a:lnTo>
                  <a:lnTo>
                    <a:pt x="260" y="351799"/>
                  </a:lnTo>
                </a:path>
              </a:pathLst>
            </a:custGeom>
            <a:solidFill>
              <a:schemeClr val="bg2"/>
            </a:solidFill>
            <a:ln w="128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7" name="Freeform: Shape 546">
              <a:extLst>
                <a:ext uri="{FF2B5EF4-FFF2-40B4-BE49-F238E27FC236}">
                  <a16:creationId xmlns:a16="http://schemas.microsoft.com/office/drawing/2014/main" id="{3B523783-935D-40DF-BDBB-5FF74CE503AD}"/>
                </a:ext>
              </a:extLst>
            </p:cNvPr>
            <p:cNvSpPr/>
            <p:nvPr/>
          </p:nvSpPr>
          <p:spPr>
            <a:xfrm>
              <a:off x="5947534" y="1157041"/>
              <a:ext cx="609429" cy="406286"/>
            </a:xfrm>
            <a:custGeom>
              <a:avLst/>
              <a:gdLst>
                <a:gd name="connsiteX0" fmla="*/ 262 w 609428"/>
                <a:gd name="connsiteY0" fmla="*/ 351799 h 406285"/>
                <a:gd name="connsiteX1" fmla="*/ 262 w 609428"/>
                <a:gd name="connsiteY1" fmla="*/ 407364 h 406285"/>
                <a:gd name="connsiteX2" fmla="*/ 609204 w 609428"/>
                <a:gd name="connsiteY2" fmla="*/ 55827 h 406285"/>
                <a:gd name="connsiteX3" fmla="*/ 609204 w 609428"/>
                <a:gd name="connsiteY3" fmla="*/ 262 h 406285"/>
                <a:gd name="connsiteX4" fmla="*/ 262 w 609428"/>
                <a:gd name="connsiteY4" fmla="*/ 351799 h 406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28" h="406285">
                  <a:moveTo>
                    <a:pt x="262" y="351799"/>
                  </a:moveTo>
                  <a:lnTo>
                    <a:pt x="262" y="407364"/>
                  </a:lnTo>
                  <a:lnTo>
                    <a:pt x="609204" y="55827"/>
                  </a:lnTo>
                  <a:lnTo>
                    <a:pt x="609204" y="262"/>
                  </a:lnTo>
                  <a:lnTo>
                    <a:pt x="262" y="351799"/>
                  </a:lnTo>
                </a:path>
              </a:pathLst>
            </a:custGeom>
            <a:solidFill>
              <a:schemeClr val="bg2"/>
            </a:solidFill>
            <a:ln w="129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8" name="Freeform: Shape 547">
              <a:extLst>
                <a:ext uri="{FF2B5EF4-FFF2-40B4-BE49-F238E27FC236}">
                  <a16:creationId xmlns:a16="http://schemas.microsoft.com/office/drawing/2014/main" id="{865508CB-3656-41D3-A8AE-58382AB55888}"/>
                </a:ext>
              </a:extLst>
            </p:cNvPr>
            <p:cNvSpPr/>
            <p:nvPr/>
          </p:nvSpPr>
          <p:spPr>
            <a:xfrm>
              <a:off x="6012480" y="1194451"/>
              <a:ext cx="192857" cy="110571"/>
            </a:xfrm>
            <a:custGeom>
              <a:avLst/>
              <a:gdLst>
                <a:gd name="connsiteX0" fmla="*/ 28497 w 192857"/>
                <a:gd name="connsiteY0" fmla="*/ 16586 h 110571"/>
                <a:gd name="connsiteX1" fmla="*/ 28497 w 192857"/>
                <a:gd name="connsiteY1" fmla="*/ 95380 h 110571"/>
                <a:gd name="connsiteX2" fmla="*/ 165020 w 192857"/>
                <a:gd name="connsiteY2" fmla="*/ 95380 h 110571"/>
                <a:gd name="connsiteX3" fmla="*/ 165020 w 192857"/>
                <a:gd name="connsiteY3" fmla="*/ 16586 h 110571"/>
                <a:gd name="connsiteX4" fmla="*/ 28497 w 192857"/>
                <a:gd name="connsiteY4" fmla="*/ 16586 h 110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857" h="110571">
                  <a:moveTo>
                    <a:pt x="28497" y="16586"/>
                  </a:moveTo>
                  <a:cubicBezTo>
                    <a:pt x="-9151" y="38319"/>
                    <a:pt x="-9151" y="73648"/>
                    <a:pt x="28497" y="95380"/>
                  </a:cubicBezTo>
                  <a:cubicBezTo>
                    <a:pt x="66232" y="117183"/>
                    <a:pt x="127361" y="117183"/>
                    <a:pt x="165020" y="95380"/>
                  </a:cubicBezTo>
                  <a:cubicBezTo>
                    <a:pt x="202678" y="73648"/>
                    <a:pt x="202678" y="38319"/>
                    <a:pt x="165020" y="16586"/>
                  </a:cubicBezTo>
                  <a:cubicBezTo>
                    <a:pt x="127361" y="-5181"/>
                    <a:pt x="66232" y="-5181"/>
                    <a:pt x="28497" y="16586"/>
                  </a:cubicBezTo>
                </a:path>
              </a:pathLst>
            </a:custGeom>
            <a:solidFill>
              <a:srgbClr val="E4E4EF"/>
            </a:solidFill>
            <a:ln w="12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9" name="Freeform: Shape 548">
              <a:extLst>
                <a:ext uri="{FF2B5EF4-FFF2-40B4-BE49-F238E27FC236}">
                  <a16:creationId xmlns:a16="http://schemas.microsoft.com/office/drawing/2014/main" id="{21396363-20EF-4F5D-87F6-4237E276DA07}"/>
                </a:ext>
              </a:extLst>
            </p:cNvPr>
            <p:cNvSpPr/>
            <p:nvPr/>
          </p:nvSpPr>
          <p:spPr>
            <a:xfrm>
              <a:off x="6198461" y="1034663"/>
              <a:ext cx="141429" cy="56571"/>
            </a:xfrm>
            <a:custGeom>
              <a:avLst/>
              <a:gdLst>
                <a:gd name="connsiteX0" fmla="*/ 10566 w 141428"/>
                <a:gd name="connsiteY0" fmla="*/ 56458 h 56571"/>
                <a:gd name="connsiteX1" fmla="*/ 1653 w 141428"/>
                <a:gd name="connsiteY1" fmla="*/ 51315 h 56571"/>
                <a:gd name="connsiteX2" fmla="*/ 5422 w 141428"/>
                <a:gd name="connsiteY2" fmla="*/ 37240 h 56571"/>
                <a:gd name="connsiteX3" fmla="*/ 67060 w 141428"/>
                <a:gd name="connsiteY3" fmla="*/ 1661 h 56571"/>
                <a:gd name="connsiteX4" fmla="*/ 77348 w 141428"/>
                <a:gd name="connsiteY4" fmla="*/ 1661 h 56571"/>
                <a:gd name="connsiteX5" fmla="*/ 137861 w 141428"/>
                <a:gd name="connsiteY5" fmla="*/ 36669 h 56571"/>
                <a:gd name="connsiteX6" fmla="*/ 141648 w 141428"/>
                <a:gd name="connsiteY6" fmla="*/ 50707 h 56571"/>
                <a:gd name="connsiteX7" fmla="*/ 127573 w 141428"/>
                <a:gd name="connsiteY7" fmla="*/ 54458 h 56571"/>
                <a:gd name="connsiteX8" fmla="*/ 72204 w 141428"/>
                <a:gd name="connsiteY8" fmla="*/ 22415 h 56571"/>
                <a:gd name="connsiteX9" fmla="*/ 15707 w 141428"/>
                <a:gd name="connsiteY9" fmla="*/ 55065 h 56571"/>
                <a:gd name="connsiteX10" fmla="*/ 10566 w 141428"/>
                <a:gd name="connsiteY10" fmla="*/ 56458 h 5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428" h="56571">
                  <a:moveTo>
                    <a:pt x="10566" y="56458"/>
                  </a:moveTo>
                  <a:cubicBezTo>
                    <a:pt x="7001" y="56458"/>
                    <a:pt x="3536" y="54601"/>
                    <a:pt x="1653" y="51315"/>
                  </a:cubicBezTo>
                  <a:cubicBezTo>
                    <a:pt x="-1194" y="46385"/>
                    <a:pt x="485" y="40098"/>
                    <a:pt x="5422" y="37240"/>
                  </a:cubicBezTo>
                  <a:lnTo>
                    <a:pt x="67060" y="1661"/>
                  </a:lnTo>
                  <a:cubicBezTo>
                    <a:pt x="70239" y="-196"/>
                    <a:pt x="74169" y="-196"/>
                    <a:pt x="77348" y="1661"/>
                  </a:cubicBezTo>
                  <a:lnTo>
                    <a:pt x="137861" y="36669"/>
                  </a:lnTo>
                  <a:cubicBezTo>
                    <a:pt x="142791" y="39490"/>
                    <a:pt x="144470" y="45813"/>
                    <a:pt x="141648" y="50707"/>
                  </a:cubicBezTo>
                  <a:cubicBezTo>
                    <a:pt x="138790" y="55637"/>
                    <a:pt x="132503" y="57316"/>
                    <a:pt x="127573" y="54458"/>
                  </a:cubicBezTo>
                  <a:lnTo>
                    <a:pt x="72204" y="22415"/>
                  </a:lnTo>
                  <a:lnTo>
                    <a:pt x="15707" y="55065"/>
                  </a:lnTo>
                  <a:cubicBezTo>
                    <a:pt x="14063" y="55994"/>
                    <a:pt x="12313" y="56458"/>
                    <a:pt x="10566" y="56458"/>
                  </a:cubicBezTo>
                </a:path>
              </a:pathLst>
            </a:custGeom>
            <a:solidFill>
              <a:srgbClr val="3A3A3A"/>
            </a:solidFill>
            <a:ln w="132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0" name="Freeform: Shape 549">
              <a:extLst>
                <a:ext uri="{FF2B5EF4-FFF2-40B4-BE49-F238E27FC236}">
                  <a16:creationId xmlns:a16="http://schemas.microsoft.com/office/drawing/2014/main" id="{531EB6EE-FD40-4357-ABE7-9640A657C952}"/>
                </a:ext>
              </a:extLst>
            </p:cNvPr>
            <p:cNvSpPr/>
            <p:nvPr/>
          </p:nvSpPr>
          <p:spPr>
            <a:xfrm>
              <a:off x="6392504" y="1111729"/>
              <a:ext cx="82286" cy="90000"/>
            </a:xfrm>
            <a:custGeom>
              <a:avLst/>
              <a:gdLst>
                <a:gd name="connsiteX0" fmla="*/ 10537 w 82285"/>
                <a:gd name="connsiteY0" fmla="*/ 91414 h 90000"/>
                <a:gd name="connsiteX1" fmla="*/ 1653 w 82285"/>
                <a:gd name="connsiteY1" fmla="*/ 86231 h 90000"/>
                <a:gd name="connsiteX2" fmla="*/ 5425 w 82285"/>
                <a:gd name="connsiteY2" fmla="*/ 72200 h 90000"/>
                <a:gd name="connsiteX3" fmla="*/ 51645 w 82285"/>
                <a:gd name="connsiteY3" fmla="*/ 45512 h 90000"/>
                <a:gd name="connsiteX4" fmla="*/ 6518 w 82285"/>
                <a:gd name="connsiteY4" fmla="*/ 19458 h 90000"/>
                <a:gd name="connsiteX5" fmla="*/ 2746 w 82285"/>
                <a:gd name="connsiteY5" fmla="*/ 5391 h 90000"/>
                <a:gd name="connsiteX6" fmla="*/ 16777 w 82285"/>
                <a:gd name="connsiteY6" fmla="*/ 1654 h 90000"/>
                <a:gd name="connsiteX7" fmla="*/ 77346 w 82285"/>
                <a:gd name="connsiteY7" fmla="*/ 36627 h 90000"/>
                <a:gd name="connsiteX8" fmla="*/ 82493 w 82285"/>
                <a:gd name="connsiteY8" fmla="*/ 45547 h 90000"/>
                <a:gd name="connsiteX9" fmla="*/ 77346 w 82285"/>
                <a:gd name="connsiteY9" fmla="*/ 54431 h 90000"/>
                <a:gd name="connsiteX10" fmla="*/ 15684 w 82285"/>
                <a:gd name="connsiteY10" fmla="*/ 90004 h 90000"/>
                <a:gd name="connsiteX11" fmla="*/ 10537 w 82285"/>
                <a:gd name="connsiteY11" fmla="*/ 91414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2285" h="90000">
                  <a:moveTo>
                    <a:pt x="10537" y="91414"/>
                  </a:moveTo>
                  <a:cubicBezTo>
                    <a:pt x="6976" y="91414"/>
                    <a:pt x="3521" y="89546"/>
                    <a:pt x="1653" y="86231"/>
                  </a:cubicBezTo>
                  <a:cubicBezTo>
                    <a:pt x="-1203" y="81331"/>
                    <a:pt x="489" y="75020"/>
                    <a:pt x="5425" y="72200"/>
                  </a:cubicBezTo>
                  <a:lnTo>
                    <a:pt x="51645" y="45512"/>
                  </a:lnTo>
                  <a:lnTo>
                    <a:pt x="6518" y="19458"/>
                  </a:lnTo>
                  <a:cubicBezTo>
                    <a:pt x="1582" y="16602"/>
                    <a:pt x="-110" y="10327"/>
                    <a:pt x="2746" y="5391"/>
                  </a:cubicBezTo>
                  <a:cubicBezTo>
                    <a:pt x="5566" y="490"/>
                    <a:pt x="11841" y="-1202"/>
                    <a:pt x="16777" y="1654"/>
                  </a:cubicBezTo>
                  <a:lnTo>
                    <a:pt x="77346" y="36627"/>
                  </a:lnTo>
                  <a:cubicBezTo>
                    <a:pt x="80519" y="38460"/>
                    <a:pt x="82493" y="41845"/>
                    <a:pt x="82493" y="45547"/>
                  </a:cubicBezTo>
                  <a:cubicBezTo>
                    <a:pt x="82493" y="49213"/>
                    <a:pt x="80519" y="52598"/>
                    <a:pt x="77346" y="54431"/>
                  </a:cubicBezTo>
                  <a:lnTo>
                    <a:pt x="15684" y="90004"/>
                  </a:lnTo>
                  <a:cubicBezTo>
                    <a:pt x="14062" y="90956"/>
                    <a:pt x="12300" y="91379"/>
                    <a:pt x="10537" y="91414"/>
                  </a:cubicBezTo>
                </a:path>
              </a:pathLst>
            </a:custGeom>
            <a:solidFill>
              <a:srgbClr val="3A3A3A"/>
            </a:solidFill>
            <a:ln w="13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1" name="Freeform: Shape 550">
              <a:extLst>
                <a:ext uri="{FF2B5EF4-FFF2-40B4-BE49-F238E27FC236}">
                  <a16:creationId xmlns:a16="http://schemas.microsoft.com/office/drawing/2014/main" id="{8CDD090B-1FA2-466A-81A3-29F02CA29734}"/>
                </a:ext>
              </a:extLst>
            </p:cNvPr>
            <p:cNvSpPr/>
            <p:nvPr/>
          </p:nvSpPr>
          <p:spPr>
            <a:xfrm>
              <a:off x="5743244" y="1297719"/>
              <a:ext cx="82286" cy="90000"/>
            </a:xfrm>
            <a:custGeom>
              <a:avLst/>
              <a:gdLst>
                <a:gd name="connsiteX0" fmla="*/ 71060 w 82285"/>
                <a:gd name="connsiteY0" fmla="*/ 91162 h 90000"/>
                <a:gd name="connsiteX1" fmla="*/ 65928 w 82285"/>
                <a:gd name="connsiteY1" fmla="*/ 89790 h 90000"/>
                <a:gd name="connsiteX2" fmla="*/ 5400 w 82285"/>
                <a:gd name="connsiteY2" fmla="*/ 54853 h 90000"/>
                <a:gd name="connsiteX3" fmla="*/ 257 w 82285"/>
                <a:gd name="connsiteY3" fmla="*/ 45939 h 90000"/>
                <a:gd name="connsiteX4" fmla="*/ 5403 w 82285"/>
                <a:gd name="connsiteY4" fmla="*/ 37024 h 90000"/>
                <a:gd name="connsiteX5" fmla="*/ 66747 w 82285"/>
                <a:gd name="connsiteY5" fmla="*/ 1641 h 90000"/>
                <a:gd name="connsiteX6" fmla="*/ 80798 w 82285"/>
                <a:gd name="connsiteY6" fmla="*/ 5413 h 90000"/>
                <a:gd name="connsiteX7" fmla="*/ 77026 w 82285"/>
                <a:gd name="connsiteY7" fmla="*/ 19470 h 90000"/>
                <a:gd name="connsiteX8" fmla="*/ 31118 w 82285"/>
                <a:gd name="connsiteY8" fmla="*/ 45939 h 90000"/>
                <a:gd name="connsiteX9" fmla="*/ 76214 w 82285"/>
                <a:gd name="connsiteY9" fmla="*/ 71962 h 90000"/>
                <a:gd name="connsiteX10" fmla="*/ 79975 w 82285"/>
                <a:gd name="connsiteY10" fmla="*/ 86019 h 90000"/>
                <a:gd name="connsiteX11" fmla="*/ 71060 w 82285"/>
                <a:gd name="connsiteY11" fmla="*/ 91162 h 9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2285" h="90000">
                  <a:moveTo>
                    <a:pt x="71060" y="91162"/>
                  </a:moveTo>
                  <a:cubicBezTo>
                    <a:pt x="69315" y="91162"/>
                    <a:pt x="67546" y="90716"/>
                    <a:pt x="65928" y="89790"/>
                  </a:cubicBezTo>
                  <a:lnTo>
                    <a:pt x="5400" y="54853"/>
                  </a:lnTo>
                  <a:cubicBezTo>
                    <a:pt x="2218" y="53001"/>
                    <a:pt x="257" y="49607"/>
                    <a:pt x="257" y="45939"/>
                  </a:cubicBezTo>
                  <a:cubicBezTo>
                    <a:pt x="257" y="42270"/>
                    <a:pt x="2222" y="38876"/>
                    <a:pt x="5403" y="37024"/>
                  </a:cubicBezTo>
                  <a:lnTo>
                    <a:pt x="66747" y="1641"/>
                  </a:lnTo>
                  <a:cubicBezTo>
                    <a:pt x="71668" y="-1204"/>
                    <a:pt x="77966" y="476"/>
                    <a:pt x="80798" y="5413"/>
                  </a:cubicBezTo>
                  <a:cubicBezTo>
                    <a:pt x="83637" y="10316"/>
                    <a:pt x="81950" y="16624"/>
                    <a:pt x="77026" y="19470"/>
                  </a:cubicBezTo>
                  <a:lnTo>
                    <a:pt x="31118" y="45939"/>
                  </a:lnTo>
                  <a:lnTo>
                    <a:pt x="76214" y="71962"/>
                  </a:lnTo>
                  <a:cubicBezTo>
                    <a:pt x="81130" y="74807"/>
                    <a:pt x="82821" y="81116"/>
                    <a:pt x="79975" y="86019"/>
                  </a:cubicBezTo>
                  <a:cubicBezTo>
                    <a:pt x="78072" y="89344"/>
                    <a:pt x="74616" y="91162"/>
                    <a:pt x="71060" y="91162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2" name="Freeform: Shape 551">
              <a:extLst>
                <a:ext uri="{FF2B5EF4-FFF2-40B4-BE49-F238E27FC236}">
                  <a16:creationId xmlns:a16="http://schemas.microsoft.com/office/drawing/2014/main" id="{DDD56360-4849-48EC-B051-5254A486C054}"/>
                </a:ext>
              </a:extLst>
            </p:cNvPr>
            <p:cNvSpPr/>
            <p:nvPr/>
          </p:nvSpPr>
          <p:spPr>
            <a:xfrm>
              <a:off x="5876707" y="1409738"/>
              <a:ext cx="141429" cy="54000"/>
            </a:xfrm>
            <a:custGeom>
              <a:avLst/>
              <a:gdLst>
                <a:gd name="connsiteX0" fmla="*/ 71103 w 141428"/>
                <a:gd name="connsiteY0" fmla="*/ 56217 h 54000"/>
                <a:gd name="connsiteX1" fmla="*/ 65961 w 141428"/>
                <a:gd name="connsiteY1" fmla="*/ 54845 h 54000"/>
                <a:gd name="connsiteX2" fmla="*/ 5405 w 141428"/>
                <a:gd name="connsiteY2" fmla="*/ 19908 h 54000"/>
                <a:gd name="connsiteX3" fmla="*/ 1637 w 141428"/>
                <a:gd name="connsiteY3" fmla="*/ 5851 h 54000"/>
                <a:gd name="connsiteX4" fmla="*/ 15684 w 141428"/>
                <a:gd name="connsiteY4" fmla="*/ 2080 h 54000"/>
                <a:gd name="connsiteX5" fmla="*/ 71107 w 141428"/>
                <a:gd name="connsiteY5" fmla="*/ 34068 h 54000"/>
                <a:gd name="connsiteX6" fmla="*/ 127342 w 141428"/>
                <a:gd name="connsiteY6" fmla="*/ 1634 h 54000"/>
                <a:gd name="connsiteX7" fmla="*/ 141386 w 141428"/>
                <a:gd name="connsiteY7" fmla="*/ 5405 h 54000"/>
                <a:gd name="connsiteX8" fmla="*/ 137614 w 141428"/>
                <a:gd name="connsiteY8" fmla="*/ 19462 h 54000"/>
                <a:gd name="connsiteX9" fmla="*/ 76239 w 141428"/>
                <a:gd name="connsiteY9" fmla="*/ 54845 h 54000"/>
                <a:gd name="connsiteX10" fmla="*/ 71103 w 141428"/>
                <a:gd name="connsiteY10" fmla="*/ 56217 h 5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1428" h="54000">
                  <a:moveTo>
                    <a:pt x="71103" y="56217"/>
                  </a:moveTo>
                  <a:cubicBezTo>
                    <a:pt x="69331" y="56217"/>
                    <a:pt x="67555" y="55771"/>
                    <a:pt x="65961" y="54845"/>
                  </a:cubicBezTo>
                  <a:lnTo>
                    <a:pt x="5405" y="19908"/>
                  </a:lnTo>
                  <a:cubicBezTo>
                    <a:pt x="485" y="17062"/>
                    <a:pt x="-1205" y="10754"/>
                    <a:pt x="1637" y="5851"/>
                  </a:cubicBezTo>
                  <a:cubicBezTo>
                    <a:pt x="4479" y="948"/>
                    <a:pt x="10778" y="-732"/>
                    <a:pt x="15684" y="2080"/>
                  </a:cubicBezTo>
                  <a:lnTo>
                    <a:pt x="71107" y="34068"/>
                  </a:lnTo>
                  <a:lnTo>
                    <a:pt x="127342" y="1634"/>
                  </a:lnTo>
                  <a:cubicBezTo>
                    <a:pt x="132262" y="-1212"/>
                    <a:pt x="138554" y="503"/>
                    <a:pt x="141386" y="5405"/>
                  </a:cubicBezTo>
                  <a:cubicBezTo>
                    <a:pt x="144224" y="10343"/>
                    <a:pt x="142534" y="16617"/>
                    <a:pt x="137614" y="19462"/>
                  </a:cubicBezTo>
                  <a:lnTo>
                    <a:pt x="76239" y="54845"/>
                  </a:lnTo>
                  <a:cubicBezTo>
                    <a:pt x="74652" y="55771"/>
                    <a:pt x="72879" y="56217"/>
                    <a:pt x="71103" y="56217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3" name="Freeform: Shape 552">
              <a:extLst>
                <a:ext uri="{FF2B5EF4-FFF2-40B4-BE49-F238E27FC236}">
                  <a16:creationId xmlns:a16="http://schemas.microsoft.com/office/drawing/2014/main" id="{43940787-6AC0-48E6-9C74-FD1F3A006672}"/>
                </a:ext>
              </a:extLst>
            </p:cNvPr>
            <p:cNvSpPr/>
            <p:nvPr/>
          </p:nvSpPr>
          <p:spPr>
            <a:xfrm>
              <a:off x="6002184" y="1184060"/>
              <a:ext cx="213429" cy="131143"/>
            </a:xfrm>
            <a:custGeom>
              <a:avLst/>
              <a:gdLst>
                <a:gd name="connsiteX0" fmla="*/ 107067 w 213428"/>
                <a:gd name="connsiteY0" fmla="*/ 20825 h 131142"/>
                <a:gd name="connsiteX1" fmla="*/ 43925 w 213428"/>
                <a:gd name="connsiteY1" fmla="*/ 35911 h 131142"/>
                <a:gd name="connsiteX2" fmla="*/ 20834 w 213428"/>
                <a:gd name="connsiteY2" fmla="*/ 66395 h 131142"/>
                <a:gd name="connsiteX3" fmla="*/ 43925 w 213428"/>
                <a:gd name="connsiteY3" fmla="*/ 96879 h 131142"/>
                <a:gd name="connsiteX4" fmla="*/ 43925 w 213428"/>
                <a:gd name="connsiteY4" fmla="*/ 96879 h 131142"/>
                <a:gd name="connsiteX5" fmla="*/ 170116 w 213428"/>
                <a:gd name="connsiteY5" fmla="*/ 96879 h 131142"/>
                <a:gd name="connsiteX6" fmla="*/ 193249 w 213428"/>
                <a:gd name="connsiteY6" fmla="*/ 66395 h 131142"/>
                <a:gd name="connsiteX7" fmla="*/ 170150 w 213428"/>
                <a:gd name="connsiteY7" fmla="*/ 35911 h 131142"/>
                <a:gd name="connsiteX8" fmla="*/ 107067 w 213428"/>
                <a:gd name="connsiteY8" fmla="*/ 20825 h 131142"/>
                <a:gd name="connsiteX9" fmla="*/ 107067 w 213428"/>
                <a:gd name="connsiteY9" fmla="*/ 132554 h 131142"/>
                <a:gd name="connsiteX10" fmla="*/ 33644 w 213428"/>
                <a:gd name="connsiteY10" fmla="*/ 114682 h 131142"/>
                <a:gd name="connsiteX11" fmla="*/ 261 w 213428"/>
                <a:gd name="connsiteY11" fmla="*/ 66395 h 131142"/>
                <a:gd name="connsiteX12" fmla="*/ 33644 w 213428"/>
                <a:gd name="connsiteY12" fmla="*/ 18108 h 131142"/>
                <a:gd name="connsiteX13" fmla="*/ 180428 w 213428"/>
                <a:gd name="connsiteY13" fmla="*/ 18108 h 131142"/>
                <a:gd name="connsiteX14" fmla="*/ 213839 w 213428"/>
                <a:gd name="connsiteY14" fmla="*/ 66395 h 131142"/>
                <a:gd name="connsiteX15" fmla="*/ 180428 w 213428"/>
                <a:gd name="connsiteY15" fmla="*/ 114682 h 131142"/>
                <a:gd name="connsiteX16" fmla="*/ 107067 w 213428"/>
                <a:gd name="connsiteY16" fmla="*/ 132554 h 131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13428" h="131142">
                  <a:moveTo>
                    <a:pt x="107067" y="20825"/>
                  </a:moveTo>
                  <a:cubicBezTo>
                    <a:pt x="84213" y="20825"/>
                    <a:pt x="61345" y="25877"/>
                    <a:pt x="43925" y="35911"/>
                  </a:cubicBezTo>
                  <a:cubicBezTo>
                    <a:pt x="29031" y="44516"/>
                    <a:pt x="20834" y="55316"/>
                    <a:pt x="20834" y="66395"/>
                  </a:cubicBezTo>
                  <a:cubicBezTo>
                    <a:pt x="20834" y="77438"/>
                    <a:pt x="29035" y="88274"/>
                    <a:pt x="43925" y="96879"/>
                  </a:cubicBezTo>
                  <a:lnTo>
                    <a:pt x="43925" y="96879"/>
                  </a:lnTo>
                  <a:cubicBezTo>
                    <a:pt x="78768" y="117016"/>
                    <a:pt x="135385" y="117016"/>
                    <a:pt x="170116" y="96879"/>
                  </a:cubicBezTo>
                  <a:cubicBezTo>
                    <a:pt x="185062" y="88274"/>
                    <a:pt x="193249" y="77438"/>
                    <a:pt x="193249" y="66395"/>
                  </a:cubicBezTo>
                  <a:cubicBezTo>
                    <a:pt x="193249" y="55351"/>
                    <a:pt x="185062" y="44516"/>
                    <a:pt x="170150" y="35911"/>
                  </a:cubicBezTo>
                  <a:cubicBezTo>
                    <a:pt x="152766" y="25877"/>
                    <a:pt x="129936" y="20825"/>
                    <a:pt x="107067" y="20825"/>
                  </a:cubicBezTo>
                  <a:close/>
                  <a:moveTo>
                    <a:pt x="107067" y="132554"/>
                  </a:moveTo>
                  <a:cubicBezTo>
                    <a:pt x="80666" y="132554"/>
                    <a:pt x="54251" y="126597"/>
                    <a:pt x="33644" y="114682"/>
                  </a:cubicBezTo>
                  <a:cubicBezTo>
                    <a:pt x="12121" y="102244"/>
                    <a:pt x="261" y="85103"/>
                    <a:pt x="261" y="66395"/>
                  </a:cubicBezTo>
                  <a:cubicBezTo>
                    <a:pt x="261" y="47686"/>
                    <a:pt x="12117" y="30510"/>
                    <a:pt x="33644" y="18108"/>
                  </a:cubicBezTo>
                  <a:cubicBezTo>
                    <a:pt x="74852" y="-5687"/>
                    <a:pt x="139328" y="-5687"/>
                    <a:pt x="180428" y="18108"/>
                  </a:cubicBezTo>
                  <a:cubicBezTo>
                    <a:pt x="201959" y="30510"/>
                    <a:pt x="213839" y="47686"/>
                    <a:pt x="213839" y="66395"/>
                  </a:cubicBezTo>
                  <a:cubicBezTo>
                    <a:pt x="213839" y="85103"/>
                    <a:pt x="201959" y="102279"/>
                    <a:pt x="180428" y="114682"/>
                  </a:cubicBezTo>
                  <a:cubicBezTo>
                    <a:pt x="159873" y="126597"/>
                    <a:pt x="133500" y="132554"/>
                    <a:pt x="107067" y="132554"/>
                  </a:cubicBezTo>
                </a:path>
              </a:pathLst>
            </a:custGeom>
            <a:solidFill>
              <a:srgbClr val="3A3A3A"/>
            </a:solidFill>
            <a:ln w="12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4" name="Freeform: Shape 553">
              <a:extLst>
                <a:ext uri="{FF2B5EF4-FFF2-40B4-BE49-F238E27FC236}">
                  <a16:creationId xmlns:a16="http://schemas.microsoft.com/office/drawing/2014/main" id="{724A36EC-E891-445D-8D1F-BA8361A2D0FD}"/>
                </a:ext>
              </a:extLst>
            </p:cNvPr>
            <p:cNvSpPr/>
            <p:nvPr/>
          </p:nvSpPr>
          <p:spPr>
            <a:xfrm>
              <a:off x="5651205" y="981564"/>
              <a:ext cx="915429" cy="537429"/>
            </a:xfrm>
            <a:custGeom>
              <a:avLst/>
              <a:gdLst>
                <a:gd name="connsiteX0" fmla="*/ 31127 w 915428"/>
                <a:gd name="connsiteY0" fmla="*/ 362090 h 537428"/>
                <a:gd name="connsiteX1" fmla="*/ 296604 w 915428"/>
                <a:gd name="connsiteY1" fmla="*/ 515364 h 537428"/>
                <a:gd name="connsiteX2" fmla="*/ 884970 w 915428"/>
                <a:gd name="connsiteY2" fmla="*/ 175723 h 537428"/>
                <a:gd name="connsiteX3" fmla="*/ 619461 w 915428"/>
                <a:gd name="connsiteY3" fmla="*/ 22449 h 537428"/>
                <a:gd name="connsiteX4" fmla="*/ 296604 w 915428"/>
                <a:gd name="connsiteY4" fmla="*/ 537534 h 537428"/>
                <a:gd name="connsiteX5" fmla="*/ 291463 w 915428"/>
                <a:gd name="connsiteY5" fmla="*/ 536164 h 537428"/>
                <a:gd name="connsiteX6" fmla="*/ 5411 w 915428"/>
                <a:gd name="connsiteY6" fmla="*/ 370994 h 537428"/>
                <a:gd name="connsiteX7" fmla="*/ 270 w 915428"/>
                <a:gd name="connsiteY7" fmla="*/ 362090 h 537428"/>
                <a:gd name="connsiteX8" fmla="*/ 5411 w 915428"/>
                <a:gd name="connsiteY8" fmla="*/ 353186 h 537428"/>
                <a:gd name="connsiteX9" fmla="*/ 614321 w 915428"/>
                <a:gd name="connsiteY9" fmla="*/ 1649 h 537428"/>
                <a:gd name="connsiteX10" fmla="*/ 624598 w 915428"/>
                <a:gd name="connsiteY10" fmla="*/ 1649 h 537428"/>
                <a:gd name="connsiteX11" fmla="*/ 910672 w 915428"/>
                <a:gd name="connsiteY11" fmla="*/ 166820 h 537428"/>
                <a:gd name="connsiteX12" fmla="*/ 915827 w 915428"/>
                <a:gd name="connsiteY12" fmla="*/ 175723 h 537428"/>
                <a:gd name="connsiteX13" fmla="*/ 910672 w 915428"/>
                <a:gd name="connsiteY13" fmla="*/ 184627 h 537428"/>
                <a:gd name="connsiteX14" fmla="*/ 301748 w 915428"/>
                <a:gd name="connsiteY14" fmla="*/ 536164 h 537428"/>
                <a:gd name="connsiteX15" fmla="*/ 296604 w 915428"/>
                <a:gd name="connsiteY15" fmla="*/ 537534 h 537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15428" h="537428">
                  <a:moveTo>
                    <a:pt x="31127" y="362090"/>
                  </a:moveTo>
                  <a:lnTo>
                    <a:pt x="296604" y="515364"/>
                  </a:lnTo>
                  <a:lnTo>
                    <a:pt x="884970" y="175723"/>
                  </a:lnTo>
                  <a:lnTo>
                    <a:pt x="619461" y="22449"/>
                  </a:lnTo>
                  <a:close/>
                  <a:moveTo>
                    <a:pt x="296604" y="537534"/>
                  </a:moveTo>
                  <a:cubicBezTo>
                    <a:pt x="294830" y="537534"/>
                    <a:pt x="293053" y="537065"/>
                    <a:pt x="291463" y="536164"/>
                  </a:cubicBezTo>
                  <a:lnTo>
                    <a:pt x="5411" y="370994"/>
                  </a:lnTo>
                  <a:cubicBezTo>
                    <a:pt x="2232" y="369155"/>
                    <a:pt x="270" y="365767"/>
                    <a:pt x="270" y="362090"/>
                  </a:cubicBezTo>
                  <a:cubicBezTo>
                    <a:pt x="270" y="358413"/>
                    <a:pt x="2232" y="355025"/>
                    <a:pt x="5411" y="353186"/>
                  </a:cubicBezTo>
                  <a:lnTo>
                    <a:pt x="614321" y="1649"/>
                  </a:lnTo>
                  <a:cubicBezTo>
                    <a:pt x="617507" y="-189"/>
                    <a:pt x="621426" y="-189"/>
                    <a:pt x="624598" y="1649"/>
                  </a:cubicBezTo>
                  <a:lnTo>
                    <a:pt x="910672" y="166820"/>
                  </a:lnTo>
                  <a:cubicBezTo>
                    <a:pt x="913880" y="168658"/>
                    <a:pt x="915827" y="172046"/>
                    <a:pt x="915827" y="175723"/>
                  </a:cubicBezTo>
                  <a:cubicBezTo>
                    <a:pt x="915827" y="179400"/>
                    <a:pt x="913880" y="182789"/>
                    <a:pt x="910672" y="184627"/>
                  </a:cubicBezTo>
                  <a:lnTo>
                    <a:pt x="301748" y="536164"/>
                  </a:lnTo>
                  <a:cubicBezTo>
                    <a:pt x="300158" y="537065"/>
                    <a:pt x="298381" y="537534"/>
                    <a:pt x="296604" y="537534"/>
                  </a:cubicBezTo>
                </a:path>
              </a:pathLst>
            </a:custGeom>
            <a:solidFill>
              <a:srgbClr val="3A3A3A"/>
            </a:solidFill>
            <a:ln w="13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5" name="Freeform: Shape 554">
              <a:extLst>
                <a:ext uri="{FF2B5EF4-FFF2-40B4-BE49-F238E27FC236}">
                  <a16:creationId xmlns:a16="http://schemas.microsoft.com/office/drawing/2014/main" id="{89E9F4E9-09FA-4F1A-B232-627E243B196E}"/>
                </a:ext>
              </a:extLst>
            </p:cNvPr>
            <p:cNvSpPr/>
            <p:nvPr/>
          </p:nvSpPr>
          <p:spPr>
            <a:xfrm>
              <a:off x="5651198" y="1146757"/>
              <a:ext cx="915429" cy="534857"/>
            </a:xfrm>
            <a:custGeom>
              <a:avLst/>
              <a:gdLst>
                <a:gd name="connsiteX0" fmla="*/ 296597 w 915428"/>
                <a:gd name="connsiteY0" fmla="*/ 536734 h 534857"/>
                <a:gd name="connsiteX1" fmla="*/ 291455 w 915428"/>
                <a:gd name="connsiteY1" fmla="*/ 535368 h 534857"/>
                <a:gd name="connsiteX2" fmla="*/ 5405 w 915428"/>
                <a:gd name="connsiteY2" fmla="*/ 370195 h 534857"/>
                <a:gd name="connsiteX3" fmla="*/ 263 w 915428"/>
                <a:gd name="connsiteY3" fmla="*/ 361297 h 534857"/>
                <a:gd name="connsiteX4" fmla="*/ 263 w 915428"/>
                <a:gd name="connsiteY4" fmla="*/ 196929 h 534857"/>
                <a:gd name="connsiteX5" fmla="*/ 10548 w 915428"/>
                <a:gd name="connsiteY5" fmla="*/ 186630 h 534857"/>
                <a:gd name="connsiteX6" fmla="*/ 20833 w 915428"/>
                <a:gd name="connsiteY6" fmla="*/ 196929 h 534857"/>
                <a:gd name="connsiteX7" fmla="*/ 20833 w 915428"/>
                <a:gd name="connsiteY7" fmla="*/ 355341 h 534857"/>
                <a:gd name="connsiteX8" fmla="*/ 296597 w 915428"/>
                <a:gd name="connsiteY8" fmla="*/ 514559 h 534857"/>
                <a:gd name="connsiteX9" fmla="*/ 895253 w 915428"/>
                <a:gd name="connsiteY9" fmla="*/ 168974 h 534857"/>
                <a:gd name="connsiteX10" fmla="*/ 895253 w 915428"/>
                <a:gd name="connsiteY10" fmla="*/ 10562 h 534857"/>
                <a:gd name="connsiteX11" fmla="*/ 905517 w 915428"/>
                <a:gd name="connsiteY11" fmla="*/ 263 h 534857"/>
                <a:gd name="connsiteX12" fmla="*/ 915816 w 915428"/>
                <a:gd name="connsiteY12" fmla="*/ 10562 h 534857"/>
                <a:gd name="connsiteX13" fmla="*/ 915816 w 915428"/>
                <a:gd name="connsiteY13" fmla="*/ 174929 h 534857"/>
                <a:gd name="connsiteX14" fmla="*/ 910667 w 915428"/>
                <a:gd name="connsiteY14" fmla="*/ 183827 h 534857"/>
                <a:gd name="connsiteX15" fmla="*/ 301740 w 915428"/>
                <a:gd name="connsiteY15" fmla="*/ 535368 h 534857"/>
                <a:gd name="connsiteX16" fmla="*/ 296597 w 915428"/>
                <a:gd name="connsiteY16" fmla="*/ 536734 h 534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15428" h="534857">
                  <a:moveTo>
                    <a:pt x="296597" y="536734"/>
                  </a:moveTo>
                  <a:cubicBezTo>
                    <a:pt x="294825" y="536734"/>
                    <a:pt x="293045" y="536279"/>
                    <a:pt x="291455" y="535368"/>
                  </a:cubicBezTo>
                  <a:lnTo>
                    <a:pt x="5405" y="370195"/>
                  </a:lnTo>
                  <a:cubicBezTo>
                    <a:pt x="2225" y="368373"/>
                    <a:pt x="263" y="364975"/>
                    <a:pt x="263" y="361297"/>
                  </a:cubicBezTo>
                  <a:lnTo>
                    <a:pt x="263" y="196929"/>
                  </a:lnTo>
                  <a:cubicBezTo>
                    <a:pt x="263" y="191254"/>
                    <a:pt x="4866" y="186630"/>
                    <a:pt x="10548" y="186630"/>
                  </a:cubicBezTo>
                  <a:cubicBezTo>
                    <a:pt x="16230" y="186630"/>
                    <a:pt x="20833" y="191254"/>
                    <a:pt x="20833" y="196929"/>
                  </a:cubicBezTo>
                  <a:lnTo>
                    <a:pt x="20833" y="355341"/>
                  </a:lnTo>
                  <a:lnTo>
                    <a:pt x="296597" y="514559"/>
                  </a:lnTo>
                  <a:lnTo>
                    <a:pt x="895253" y="168974"/>
                  </a:lnTo>
                  <a:lnTo>
                    <a:pt x="895253" y="10562"/>
                  </a:lnTo>
                  <a:cubicBezTo>
                    <a:pt x="895253" y="4852"/>
                    <a:pt x="899842" y="263"/>
                    <a:pt x="905517" y="263"/>
                  </a:cubicBezTo>
                  <a:cubicBezTo>
                    <a:pt x="911192" y="263"/>
                    <a:pt x="915816" y="4852"/>
                    <a:pt x="915816" y="10562"/>
                  </a:cubicBezTo>
                  <a:lnTo>
                    <a:pt x="915816" y="174929"/>
                  </a:lnTo>
                  <a:cubicBezTo>
                    <a:pt x="915816" y="178608"/>
                    <a:pt x="913854" y="182006"/>
                    <a:pt x="910667" y="183827"/>
                  </a:cubicBezTo>
                  <a:lnTo>
                    <a:pt x="301740" y="535368"/>
                  </a:lnTo>
                  <a:cubicBezTo>
                    <a:pt x="300149" y="536279"/>
                    <a:pt x="298373" y="536734"/>
                    <a:pt x="296597" y="536734"/>
                  </a:cubicBezTo>
                </a:path>
              </a:pathLst>
            </a:custGeom>
            <a:solidFill>
              <a:srgbClr val="3A3A3A"/>
            </a:solidFill>
            <a:ln w="12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6" name="Freeform: Shape 555">
              <a:extLst>
                <a:ext uri="{FF2B5EF4-FFF2-40B4-BE49-F238E27FC236}">
                  <a16:creationId xmlns:a16="http://schemas.microsoft.com/office/drawing/2014/main" id="{3929C840-E193-47F0-8491-03BCDA387E69}"/>
                </a:ext>
              </a:extLst>
            </p:cNvPr>
            <p:cNvSpPr/>
            <p:nvPr/>
          </p:nvSpPr>
          <p:spPr>
            <a:xfrm>
              <a:off x="5651213" y="1255908"/>
              <a:ext cx="915429" cy="370286"/>
            </a:xfrm>
            <a:custGeom>
              <a:avLst/>
              <a:gdLst>
                <a:gd name="connsiteX0" fmla="*/ 296598 w 915428"/>
                <a:gd name="connsiteY0" fmla="*/ 372345 h 370285"/>
                <a:gd name="connsiteX1" fmla="*/ 291452 w 915428"/>
                <a:gd name="connsiteY1" fmla="*/ 370971 h 370285"/>
                <a:gd name="connsiteX2" fmla="*/ 5402 w 915428"/>
                <a:gd name="connsiteY2" fmla="*/ 205819 h 370285"/>
                <a:gd name="connsiteX3" fmla="*/ 1639 w 915428"/>
                <a:gd name="connsiteY3" fmla="*/ 191762 h 370285"/>
                <a:gd name="connsiteX4" fmla="*/ 15689 w 915428"/>
                <a:gd name="connsiteY4" fmla="*/ 188015 h 370285"/>
                <a:gd name="connsiteX5" fmla="*/ 296598 w 915428"/>
                <a:gd name="connsiteY5" fmla="*/ 350211 h 370285"/>
                <a:gd name="connsiteX6" fmla="*/ 900402 w 915428"/>
                <a:gd name="connsiteY6" fmla="*/ 1623 h 370285"/>
                <a:gd name="connsiteX7" fmla="*/ 914460 w 915428"/>
                <a:gd name="connsiteY7" fmla="*/ 5404 h 370285"/>
                <a:gd name="connsiteX8" fmla="*/ 910679 w 915428"/>
                <a:gd name="connsiteY8" fmla="*/ 19461 h 370285"/>
                <a:gd name="connsiteX9" fmla="*/ 301740 w 915428"/>
                <a:gd name="connsiteY9" fmla="*/ 370971 h 370285"/>
                <a:gd name="connsiteX10" fmla="*/ 296598 w 915428"/>
                <a:gd name="connsiteY10" fmla="*/ 372345 h 37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5428" h="370285">
                  <a:moveTo>
                    <a:pt x="296598" y="372345"/>
                  </a:moveTo>
                  <a:cubicBezTo>
                    <a:pt x="294824" y="372345"/>
                    <a:pt x="293044" y="371899"/>
                    <a:pt x="291452" y="370971"/>
                  </a:cubicBezTo>
                  <a:lnTo>
                    <a:pt x="5402" y="205819"/>
                  </a:lnTo>
                  <a:cubicBezTo>
                    <a:pt x="484" y="203001"/>
                    <a:pt x="-1204" y="196711"/>
                    <a:pt x="1639" y="191762"/>
                  </a:cubicBezTo>
                  <a:cubicBezTo>
                    <a:pt x="4478" y="186847"/>
                    <a:pt x="10774" y="185163"/>
                    <a:pt x="15689" y="188015"/>
                  </a:cubicBezTo>
                  <a:lnTo>
                    <a:pt x="296598" y="350211"/>
                  </a:lnTo>
                  <a:lnTo>
                    <a:pt x="900402" y="1623"/>
                  </a:lnTo>
                  <a:cubicBezTo>
                    <a:pt x="905283" y="-1196"/>
                    <a:pt x="911607" y="489"/>
                    <a:pt x="914460" y="5404"/>
                  </a:cubicBezTo>
                  <a:cubicBezTo>
                    <a:pt x="917244" y="10318"/>
                    <a:pt x="915594" y="16608"/>
                    <a:pt x="910679" y="19461"/>
                  </a:cubicBezTo>
                  <a:lnTo>
                    <a:pt x="301740" y="370971"/>
                  </a:lnTo>
                  <a:cubicBezTo>
                    <a:pt x="300149" y="371899"/>
                    <a:pt x="298371" y="372345"/>
                    <a:pt x="296598" y="372345"/>
                  </a:cubicBezTo>
                </a:path>
              </a:pathLst>
            </a:custGeom>
            <a:solidFill>
              <a:srgbClr val="3A3A3A"/>
            </a:solidFill>
            <a:ln w="127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7" name="Freeform: Shape 556">
              <a:extLst>
                <a:ext uri="{FF2B5EF4-FFF2-40B4-BE49-F238E27FC236}">
                  <a16:creationId xmlns:a16="http://schemas.microsoft.com/office/drawing/2014/main" id="{86E3E01D-57CC-4559-8232-1AF7BF397F4A}"/>
                </a:ext>
              </a:extLst>
            </p:cNvPr>
            <p:cNvSpPr/>
            <p:nvPr/>
          </p:nvSpPr>
          <p:spPr>
            <a:xfrm>
              <a:off x="5651210" y="1202315"/>
              <a:ext cx="915429" cy="370286"/>
            </a:xfrm>
            <a:custGeom>
              <a:avLst/>
              <a:gdLst>
                <a:gd name="connsiteX0" fmla="*/ 296598 w 915428"/>
                <a:gd name="connsiteY0" fmla="*/ 372344 h 370285"/>
                <a:gd name="connsiteX1" fmla="*/ 291455 w 915428"/>
                <a:gd name="connsiteY1" fmla="*/ 370990 h 370285"/>
                <a:gd name="connsiteX2" fmla="*/ 5406 w 915428"/>
                <a:gd name="connsiteY2" fmla="*/ 205820 h 370285"/>
                <a:gd name="connsiteX3" fmla="*/ 1641 w 915428"/>
                <a:gd name="connsiteY3" fmla="*/ 191767 h 370285"/>
                <a:gd name="connsiteX4" fmla="*/ 15691 w 915428"/>
                <a:gd name="connsiteY4" fmla="*/ 188020 h 370285"/>
                <a:gd name="connsiteX5" fmla="*/ 296598 w 915428"/>
                <a:gd name="connsiteY5" fmla="*/ 350205 h 370285"/>
                <a:gd name="connsiteX6" fmla="*/ 900404 w 915428"/>
                <a:gd name="connsiteY6" fmla="*/ 1648 h 370285"/>
                <a:gd name="connsiteX7" fmla="*/ 914457 w 915428"/>
                <a:gd name="connsiteY7" fmla="*/ 5396 h 370285"/>
                <a:gd name="connsiteX8" fmla="*/ 910675 w 915428"/>
                <a:gd name="connsiteY8" fmla="*/ 19449 h 370285"/>
                <a:gd name="connsiteX9" fmla="*/ 301740 w 915428"/>
                <a:gd name="connsiteY9" fmla="*/ 370990 h 370285"/>
                <a:gd name="connsiteX10" fmla="*/ 296598 w 915428"/>
                <a:gd name="connsiteY10" fmla="*/ 372344 h 370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15428" h="370285">
                  <a:moveTo>
                    <a:pt x="296598" y="372344"/>
                  </a:moveTo>
                  <a:cubicBezTo>
                    <a:pt x="294824" y="372344"/>
                    <a:pt x="293044" y="371893"/>
                    <a:pt x="291455" y="370990"/>
                  </a:cubicBezTo>
                  <a:lnTo>
                    <a:pt x="5406" y="205820"/>
                  </a:lnTo>
                  <a:cubicBezTo>
                    <a:pt x="485" y="202975"/>
                    <a:pt x="-1201" y="196694"/>
                    <a:pt x="1641" y="191767"/>
                  </a:cubicBezTo>
                  <a:cubicBezTo>
                    <a:pt x="4479" y="186874"/>
                    <a:pt x="10774" y="185174"/>
                    <a:pt x="15691" y="188020"/>
                  </a:cubicBezTo>
                  <a:lnTo>
                    <a:pt x="296598" y="350205"/>
                  </a:lnTo>
                  <a:lnTo>
                    <a:pt x="900404" y="1648"/>
                  </a:lnTo>
                  <a:cubicBezTo>
                    <a:pt x="905297" y="-1197"/>
                    <a:pt x="911612" y="468"/>
                    <a:pt x="914457" y="5396"/>
                  </a:cubicBezTo>
                  <a:cubicBezTo>
                    <a:pt x="917268" y="10323"/>
                    <a:pt x="915568" y="16604"/>
                    <a:pt x="910675" y="19449"/>
                  </a:cubicBezTo>
                  <a:lnTo>
                    <a:pt x="301740" y="370990"/>
                  </a:lnTo>
                  <a:cubicBezTo>
                    <a:pt x="300147" y="371893"/>
                    <a:pt x="298374" y="372344"/>
                    <a:pt x="296598" y="372344"/>
                  </a:cubicBezTo>
                </a:path>
              </a:pathLst>
            </a:custGeom>
            <a:solidFill>
              <a:srgbClr val="3A3A3A"/>
            </a:solidFill>
            <a:ln w="128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8" name="Freeform: Shape 557">
              <a:extLst>
                <a:ext uri="{FF2B5EF4-FFF2-40B4-BE49-F238E27FC236}">
                  <a16:creationId xmlns:a16="http://schemas.microsoft.com/office/drawing/2014/main" id="{1BC652AA-AAD9-4F16-8771-F2F750DF7E2B}"/>
                </a:ext>
              </a:extLst>
            </p:cNvPr>
            <p:cNvSpPr/>
            <p:nvPr/>
          </p:nvSpPr>
          <p:spPr>
            <a:xfrm>
              <a:off x="5937267" y="1498269"/>
              <a:ext cx="20571" cy="185143"/>
            </a:xfrm>
            <a:custGeom>
              <a:avLst/>
              <a:gdLst>
                <a:gd name="connsiteX0" fmla="*/ 10543 w 20571"/>
                <a:gd name="connsiteY0" fmla="*/ 185194 h 185142"/>
                <a:gd name="connsiteX1" fmla="*/ 257 w 20571"/>
                <a:gd name="connsiteY1" fmla="*/ 174908 h 185142"/>
                <a:gd name="connsiteX2" fmla="*/ 257 w 20571"/>
                <a:gd name="connsiteY2" fmla="*/ 10543 h 185142"/>
                <a:gd name="connsiteX3" fmla="*/ 10543 w 20571"/>
                <a:gd name="connsiteY3" fmla="*/ 257 h 185142"/>
                <a:gd name="connsiteX4" fmla="*/ 20829 w 20571"/>
                <a:gd name="connsiteY4" fmla="*/ 10543 h 185142"/>
                <a:gd name="connsiteX5" fmla="*/ 20829 w 20571"/>
                <a:gd name="connsiteY5" fmla="*/ 174908 h 185142"/>
                <a:gd name="connsiteX6" fmla="*/ 10543 w 20571"/>
                <a:gd name="connsiteY6" fmla="*/ 185194 h 185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571" h="185142">
                  <a:moveTo>
                    <a:pt x="10543" y="185194"/>
                  </a:moveTo>
                  <a:cubicBezTo>
                    <a:pt x="4862" y="185194"/>
                    <a:pt x="257" y="180600"/>
                    <a:pt x="257" y="174908"/>
                  </a:cubicBezTo>
                  <a:lnTo>
                    <a:pt x="257" y="10543"/>
                  </a:lnTo>
                  <a:cubicBezTo>
                    <a:pt x="257" y="4851"/>
                    <a:pt x="4862" y="257"/>
                    <a:pt x="10543" y="257"/>
                  </a:cubicBezTo>
                  <a:cubicBezTo>
                    <a:pt x="16227" y="257"/>
                    <a:pt x="20829" y="4851"/>
                    <a:pt x="20829" y="10543"/>
                  </a:cubicBezTo>
                  <a:lnTo>
                    <a:pt x="20829" y="174908"/>
                  </a:lnTo>
                  <a:cubicBezTo>
                    <a:pt x="20829" y="180600"/>
                    <a:pt x="16227" y="185194"/>
                    <a:pt x="10543" y="185194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9" name="Freeform: Shape 558">
              <a:extLst>
                <a:ext uri="{FF2B5EF4-FFF2-40B4-BE49-F238E27FC236}">
                  <a16:creationId xmlns:a16="http://schemas.microsoft.com/office/drawing/2014/main" id="{E0D040BA-E99E-4147-9546-83392AFCDD5C}"/>
                </a:ext>
              </a:extLst>
            </p:cNvPr>
            <p:cNvSpPr/>
            <p:nvPr/>
          </p:nvSpPr>
          <p:spPr>
            <a:xfrm>
              <a:off x="6242331" y="1573869"/>
              <a:ext cx="213429" cy="149143"/>
            </a:xfrm>
            <a:custGeom>
              <a:avLst/>
              <a:gdLst>
                <a:gd name="connsiteX0" fmla="*/ 214817 w 213428"/>
                <a:gd name="connsiteY0" fmla="*/ 257 h 149142"/>
                <a:gd name="connsiteX1" fmla="*/ 214817 w 213428"/>
                <a:gd name="connsiteY1" fmla="*/ 87926 h 149142"/>
                <a:gd name="connsiteX2" fmla="*/ 183377 w 213428"/>
                <a:gd name="connsiteY2" fmla="*/ 131708 h 149142"/>
                <a:gd name="connsiteX3" fmla="*/ 31663 w 213428"/>
                <a:gd name="connsiteY3" fmla="*/ 131708 h 149142"/>
                <a:gd name="connsiteX4" fmla="*/ 257 w 213428"/>
                <a:gd name="connsiteY4" fmla="*/ 87926 h 149142"/>
                <a:gd name="connsiteX5" fmla="*/ 257 w 213428"/>
                <a:gd name="connsiteY5" fmla="*/ 257 h 149142"/>
                <a:gd name="connsiteX6" fmla="*/ 31663 w 213428"/>
                <a:gd name="connsiteY6" fmla="*/ 44074 h 149142"/>
                <a:gd name="connsiteX7" fmla="*/ 183377 w 213428"/>
                <a:gd name="connsiteY7" fmla="*/ 44074 h 149142"/>
                <a:gd name="connsiteX8" fmla="*/ 214817 w 213428"/>
                <a:gd name="connsiteY8" fmla="*/ 257 h 149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428" h="149142">
                  <a:moveTo>
                    <a:pt x="214817" y="257"/>
                  </a:moveTo>
                  <a:lnTo>
                    <a:pt x="214817" y="87926"/>
                  </a:lnTo>
                  <a:cubicBezTo>
                    <a:pt x="214817" y="103766"/>
                    <a:pt x="204360" y="119640"/>
                    <a:pt x="183377" y="131708"/>
                  </a:cubicBezTo>
                  <a:cubicBezTo>
                    <a:pt x="141480" y="155914"/>
                    <a:pt x="73560" y="155914"/>
                    <a:pt x="31663" y="131708"/>
                  </a:cubicBezTo>
                  <a:cubicBezTo>
                    <a:pt x="10749" y="119640"/>
                    <a:pt x="257" y="103766"/>
                    <a:pt x="257" y="87926"/>
                  </a:cubicBezTo>
                  <a:lnTo>
                    <a:pt x="257" y="257"/>
                  </a:lnTo>
                  <a:cubicBezTo>
                    <a:pt x="257" y="16097"/>
                    <a:pt x="10749" y="31937"/>
                    <a:pt x="31663" y="44074"/>
                  </a:cubicBezTo>
                  <a:cubicBezTo>
                    <a:pt x="73560" y="68211"/>
                    <a:pt x="141480" y="68211"/>
                    <a:pt x="183377" y="44074"/>
                  </a:cubicBezTo>
                  <a:cubicBezTo>
                    <a:pt x="204360" y="31937"/>
                    <a:pt x="214817" y="16097"/>
                    <a:pt x="214817" y="257"/>
                  </a:cubicBezTo>
                </a:path>
              </a:pathLst>
            </a:custGeom>
            <a:solidFill>
              <a:schemeClr val="accent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0" name="Freeform: Shape 559">
              <a:extLst>
                <a:ext uri="{FF2B5EF4-FFF2-40B4-BE49-F238E27FC236}">
                  <a16:creationId xmlns:a16="http://schemas.microsoft.com/office/drawing/2014/main" id="{10E5D1BA-A9E2-47B8-916B-ADF290B3AB0C}"/>
                </a:ext>
              </a:extLst>
            </p:cNvPr>
            <p:cNvSpPr/>
            <p:nvPr/>
          </p:nvSpPr>
          <p:spPr>
            <a:xfrm>
              <a:off x="6242331" y="1486166"/>
              <a:ext cx="213429" cy="149143"/>
            </a:xfrm>
            <a:custGeom>
              <a:avLst/>
              <a:gdLst>
                <a:gd name="connsiteX0" fmla="*/ 214817 w 213428"/>
                <a:gd name="connsiteY0" fmla="*/ 257 h 149142"/>
                <a:gd name="connsiteX1" fmla="*/ 214817 w 213428"/>
                <a:gd name="connsiteY1" fmla="*/ 87960 h 149142"/>
                <a:gd name="connsiteX2" fmla="*/ 183377 w 213428"/>
                <a:gd name="connsiteY2" fmla="*/ 131777 h 149142"/>
                <a:gd name="connsiteX3" fmla="*/ 31663 w 213428"/>
                <a:gd name="connsiteY3" fmla="*/ 131777 h 149142"/>
                <a:gd name="connsiteX4" fmla="*/ 257 w 213428"/>
                <a:gd name="connsiteY4" fmla="*/ 87960 h 149142"/>
                <a:gd name="connsiteX5" fmla="*/ 257 w 213428"/>
                <a:gd name="connsiteY5" fmla="*/ 257 h 149142"/>
                <a:gd name="connsiteX6" fmla="*/ 31663 w 213428"/>
                <a:gd name="connsiteY6" fmla="*/ 44074 h 149142"/>
                <a:gd name="connsiteX7" fmla="*/ 183377 w 213428"/>
                <a:gd name="connsiteY7" fmla="*/ 44074 h 149142"/>
                <a:gd name="connsiteX8" fmla="*/ 214817 w 213428"/>
                <a:gd name="connsiteY8" fmla="*/ 257 h 149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428" h="149142">
                  <a:moveTo>
                    <a:pt x="214817" y="257"/>
                  </a:moveTo>
                  <a:lnTo>
                    <a:pt x="214817" y="87960"/>
                  </a:lnTo>
                  <a:cubicBezTo>
                    <a:pt x="214817" y="103800"/>
                    <a:pt x="204360" y="119640"/>
                    <a:pt x="183377" y="131777"/>
                  </a:cubicBezTo>
                  <a:cubicBezTo>
                    <a:pt x="141480" y="155914"/>
                    <a:pt x="73560" y="155914"/>
                    <a:pt x="31663" y="131777"/>
                  </a:cubicBezTo>
                  <a:cubicBezTo>
                    <a:pt x="10749" y="119640"/>
                    <a:pt x="257" y="103800"/>
                    <a:pt x="257" y="87960"/>
                  </a:cubicBezTo>
                  <a:lnTo>
                    <a:pt x="257" y="257"/>
                  </a:lnTo>
                  <a:cubicBezTo>
                    <a:pt x="257" y="16166"/>
                    <a:pt x="10749" y="32006"/>
                    <a:pt x="31663" y="44074"/>
                  </a:cubicBezTo>
                  <a:cubicBezTo>
                    <a:pt x="73560" y="68280"/>
                    <a:pt x="141480" y="68280"/>
                    <a:pt x="183377" y="44074"/>
                  </a:cubicBezTo>
                  <a:cubicBezTo>
                    <a:pt x="204360" y="32006"/>
                    <a:pt x="214817" y="16166"/>
                    <a:pt x="214817" y="257"/>
                  </a:cubicBezTo>
                </a:path>
              </a:pathLst>
            </a:custGeom>
            <a:solidFill>
              <a:schemeClr val="accent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1" name="Freeform: Shape 560">
              <a:extLst>
                <a:ext uri="{FF2B5EF4-FFF2-40B4-BE49-F238E27FC236}">
                  <a16:creationId xmlns:a16="http://schemas.microsoft.com/office/drawing/2014/main" id="{2F351769-040F-40F6-B9DC-5266CB8D802F}"/>
                </a:ext>
              </a:extLst>
            </p:cNvPr>
            <p:cNvSpPr/>
            <p:nvPr/>
          </p:nvSpPr>
          <p:spPr>
            <a:xfrm>
              <a:off x="6242331" y="1398532"/>
              <a:ext cx="213429" cy="149143"/>
            </a:xfrm>
            <a:custGeom>
              <a:avLst/>
              <a:gdLst>
                <a:gd name="connsiteX0" fmla="*/ 214817 w 213428"/>
                <a:gd name="connsiteY0" fmla="*/ 257 h 149142"/>
                <a:gd name="connsiteX1" fmla="*/ 214817 w 213428"/>
                <a:gd name="connsiteY1" fmla="*/ 87892 h 149142"/>
                <a:gd name="connsiteX2" fmla="*/ 183377 w 213428"/>
                <a:gd name="connsiteY2" fmla="*/ 131709 h 149142"/>
                <a:gd name="connsiteX3" fmla="*/ 31663 w 213428"/>
                <a:gd name="connsiteY3" fmla="*/ 131709 h 149142"/>
                <a:gd name="connsiteX4" fmla="*/ 257 w 213428"/>
                <a:gd name="connsiteY4" fmla="*/ 87892 h 149142"/>
                <a:gd name="connsiteX5" fmla="*/ 257 w 213428"/>
                <a:gd name="connsiteY5" fmla="*/ 257 h 149142"/>
                <a:gd name="connsiteX6" fmla="*/ 31663 w 213428"/>
                <a:gd name="connsiteY6" fmla="*/ 44040 h 149142"/>
                <a:gd name="connsiteX7" fmla="*/ 183377 w 213428"/>
                <a:gd name="connsiteY7" fmla="*/ 44040 h 149142"/>
                <a:gd name="connsiteX8" fmla="*/ 214817 w 213428"/>
                <a:gd name="connsiteY8" fmla="*/ 257 h 149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428" h="149142">
                  <a:moveTo>
                    <a:pt x="214817" y="257"/>
                  </a:moveTo>
                  <a:lnTo>
                    <a:pt x="214817" y="87892"/>
                  </a:lnTo>
                  <a:cubicBezTo>
                    <a:pt x="214817" y="103800"/>
                    <a:pt x="204360" y="119640"/>
                    <a:pt x="183377" y="131709"/>
                  </a:cubicBezTo>
                  <a:cubicBezTo>
                    <a:pt x="141480" y="155914"/>
                    <a:pt x="73560" y="155914"/>
                    <a:pt x="31663" y="131709"/>
                  </a:cubicBezTo>
                  <a:cubicBezTo>
                    <a:pt x="10749" y="119640"/>
                    <a:pt x="257" y="103800"/>
                    <a:pt x="257" y="87892"/>
                  </a:cubicBezTo>
                  <a:lnTo>
                    <a:pt x="257" y="257"/>
                  </a:lnTo>
                  <a:cubicBezTo>
                    <a:pt x="257" y="16097"/>
                    <a:pt x="10749" y="31937"/>
                    <a:pt x="31663" y="44040"/>
                  </a:cubicBezTo>
                  <a:cubicBezTo>
                    <a:pt x="73560" y="68211"/>
                    <a:pt x="141480" y="68211"/>
                    <a:pt x="183377" y="44040"/>
                  </a:cubicBezTo>
                  <a:cubicBezTo>
                    <a:pt x="204360" y="31937"/>
                    <a:pt x="214817" y="16097"/>
                    <a:pt x="214817" y="257"/>
                  </a:cubicBezTo>
                </a:path>
              </a:pathLst>
            </a:custGeom>
            <a:solidFill>
              <a:schemeClr val="accent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2" name="Freeform: Shape 561">
              <a:extLst>
                <a:ext uri="{FF2B5EF4-FFF2-40B4-BE49-F238E27FC236}">
                  <a16:creationId xmlns:a16="http://schemas.microsoft.com/office/drawing/2014/main" id="{D833972B-06B5-4D63-A420-89329266BE5D}"/>
                </a:ext>
              </a:extLst>
            </p:cNvPr>
            <p:cNvSpPr/>
            <p:nvPr/>
          </p:nvSpPr>
          <p:spPr>
            <a:xfrm>
              <a:off x="6242331" y="1312097"/>
              <a:ext cx="213429" cy="146571"/>
            </a:xfrm>
            <a:custGeom>
              <a:avLst/>
              <a:gdLst>
                <a:gd name="connsiteX0" fmla="*/ 214817 w 213428"/>
                <a:gd name="connsiteY0" fmla="*/ 27789 h 146571"/>
                <a:gd name="connsiteX1" fmla="*/ 214817 w 213428"/>
                <a:gd name="connsiteY1" fmla="*/ 86691 h 146571"/>
                <a:gd name="connsiteX2" fmla="*/ 183377 w 213428"/>
                <a:gd name="connsiteY2" fmla="*/ 130474 h 146571"/>
                <a:gd name="connsiteX3" fmla="*/ 31663 w 213428"/>
                <a:gd name="connsiteY3" fmla="*/ 130474 h 146571"/>
                <a:gd name="connsiteX4" fmla="*/ 257 w 213428"/>
                <a:gd name="connsiteY4" fmla="*/ 86691 h 146571"/>
                <a:gd name="connsiteX5" fmla="*/ 257 w 213428"/>
                <a:gd name="connsiteY5" fmla="*/ 257 h 146571"/>
                <a:gd name="connsiteX6" fmla="*/ 31663 w 213428"/>
                <a:gd name="connsiteY6" fmla="*/ 44074 h 146571"/>
                <a:gd name="connsiteX7" fmla="*/ 183377 w 213428"/>
                <a:gd name="connsiteY7" fmla="*/ 44074 h 146571"/>
                <a:gd name="connsiteX8" fmla="*/ 214817 w 213428"/>
                <a:gd name="connsiteY8" fmla="*/ 257 h 146571"/>
                <a:gd name="connsiteX9" fmla="*/ 214817 w 213428"/>
                <a:gd name="connsiteY9" fmla="*/ 27789 h 146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13428" h="146571">
                  <a:moveTo>
                    <a:pt x="214817" y="27789"/>
                  </a:moveTo>
                  <a:lnTo>
                    <a:pt x="214817" y="86691"/>
                  </a:lnTo>
                  <a:cubicBezTo>
                    <a:pt x="214817" y="102531"/>
                    <a:pt x="204360" y="118371"/>
                    <a:pt x="183377" y="130474"/>
                  </a:cubicBezTo>
                  <a:cubicBezTo>
                    <a:pt x="141480" y="154646"/>
                    <a:pt x="73560" y="154646"/>
                    <a:pt x="31663" y="130474"/>
                  </a:cubicBezTo>
                  <a:cubicBezTo>
                    <a:pt x="10749" y="118371"/>
                    <a:pt x="257" y="102531"/>
                    <a:pt x="257" y="86691"/>
                  </a:cubicBezTo>
                  <a:lnTo>
                    <a:pt x="257" y="257"/>
                  </a:lnTo>
                  <a:cubicBezTo>
                    <a:pt x="257" y="16131"/>
                    <a:pt x="10749" y="31971"/>
                    <a:pt x="31663" y="44074"/>
                  </a:cubicBezTo>
                  <a:cubicBezTo>
                    <a:pt x="73560" y="68246"/>
                    <a:pt x="141480" y="68246"/>
                    <a:pt x="183377" y="44074"/>
                  </a:cubicBezTo>
                  <a:cubicBezTo>
                    <a:pt x="204360" y="31971"/>
                    <a:pt x="214817" y="16131"/>
                    <a:pt x="214817" y="257"/>
                  </a:cubicBezTo>
                  <a:lnTo>
                    <a:pt x="214817" y="27789"/>
                  </a:lnTo>
                </a:path>
              </a:pathLst>
            </a:custGeom>
            <a:solidFill>
              <a:schemeClr val="accent3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3" name="Freeform: Shape 562">
              <a:extLst>
                <a:ext uri="{FF2B5EF4-FFF2-40B4-BE49-F238E27FC236}">
                  <a16:creationId xmlns:a16="http://schemas.microsoft.com/office/drawing/2014/main" id="{CE188EE8-52E7-490A-963C-D4EBD5A26016}"/>
                </a:ext>
              </a:extLst>
            </p:cNvPr>
            <p:cNvSpPr/>
            <p:nvPr/>
          </p:nvSpPr>
          <p:spPr>
            <a:xfrm>
              <a:off x="6242316" y="1250214"/>
              <a:ext cx="213429" cy="123429"/>
            </a:xfrm>
            <a:custGeom>
              <a:avLst/>
              <a:gdLst>
                <a:gd name="connsiteX0" fmla="*/ 183377 w 213428"/>
                <a:gd name="connsiteY0" fmla="*/ 18388 h 123428"/>
                <a:gd name="connsiteX1" fmla="*/ 214815 w 213428"/>
                <a:gd name="connsiteY1" fmla="*/ 62188 h 123428"/>
                <a:gd name="connsiteX2" fmla="*/ 183377 w 213428"/>
                <a:gd name="connsiteY2" fmla="*/ 105987 h 123428"/>
                <a:gd name="connsiteX3" fmla="*/ 31662 w 213428"/>
                <a:gd name="connsiteY3" fmla="*/ 105987 h 123428"/>
                <a:gd name="connsiteX4" fmla="*/ 258 w 213428"/>
                <a:gd name="connsiteY4" fmla="*/ 62188 h 123428"/>
                <a:gd name="connsiteX5" fmla="*/ 31662 w 213428"/>
                <a:gd name="connsiteY5" fmla="*/ 18388 h 123428"/>
                <a:gd name="connsiteX6" fmla="*/ 183377 w 213428"/>
                <a:gd name="connsiteY6" fmla="*/ 18388 h 123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3428" h="123428">
                  <a:moveTo>
                    <a:pt x="183377" y="18388"/>
                  </a:moveTo>
                  <a:cubicBezTo>
                    <a:pt x="204347" y="30508"/>
                    <a:pt x="214815" y="46348"/>
                    <a:pt x="214815" y="62188"/>
                  </a:cubicBezTo>
                  <a:cubicBezTo>
                    <a:pt x="214815" y="78027"/>
                    <a:pt x="204347" y="93867"/>
                    <a:pt x="183377" y="105987"/>
                  </a:cubicBezTo>
                  <a:cubicBezTo>
                    <a:pt x="141471" y="130125"/>
                    <a:pt x="73568" y="130125"/>
                    <a:pt x="31662" y="105987"/>
                  </a:cubicBezTo>
                  <a:cubicBezTo>
                    <a:pt x="10761" y="93867"/>
                    <a:pt x="258" y="78027"/>
                    <a:pt x="258" y="62188"/>
                  </a:cubicBezTo>
                  <a:cubicBezTo>
                    <a:pt x="258" y="46348"/>
                    <a:pt x="10761" y="30508"/>
                    <a:pt x="31662" y="18388"/>
                  </a:cubicBezTo>
                  <a:cubicBezTo>
                    <a:pt x="73568" y="-5785"/>
                    <a:pt x="141471" y="-5785"/>
                    <a:pt x="183377" y="18388"/>
                  </a:cubicBezTo>
                </a:path>
              </a:pathLst>
            </a:custGeom>
            <a:solidFill>
              <a:srgbClr val="FFFFFF"/>
            </a:solidFill>
            <a:ln w="12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4" name="Freeform: Shape 563">
              <a:extLst>
                <a:ext uri="{FF2B5EF4-FFF2-40B4-BE49-F238E27FC236}">
                  <a16:creationId xmlns:a16="http://schemas.microsoft.com/office/drawing/2014/main" id="{348B42E6-2AD5-4726-8AEA-FEC2C3C87877}"/>
                </a:ext>
              </a:extLst>
            </p:cNvPr>
            <p:cNvSpPr/>
            <p:nvPr/>
          </p:nvSpPr>
          <p:spPr>
            <a:xfrm>
              <a:off x="6232043" y="1239768"/>
              <a:ext cx="234000" cy="144000"/>
            </a:xfrm>
            <a:custGeom>
              <a:avLst/>
              <a:gdLst>
                <a:gd name="connsiteX0" fmla="*/ 117803 w 234000"/>
                <a:gd name="connsiteY0" fmla="*/ 20860 h 144000"/>
                <a:gd name="connsiteX1" fmla="*/ 47076 w 234000"/>
                <a:gd name="connsiteY1" fmla="*/ 37731 h 144000"/>
                <a:gd name="connsiteX2" fmla="*/ 20821 w 234000"/>
                <a:gd name="connsiteY2" fmla="*/ 72612 h 144000"/>
                <a:gd name="connsiteX3" fmla="*/ 47076 w 234000"/>
                <a:gd name="connsiteY3" fmla="*/ 107527 h 144000"/>
                <a:gd name="connsiteX4" fmla="*/ 188496 w 234000"/>
                <a:gd name="connsiteY4" fmla="*/ 107492 h 144000"/>
                <a:gd name="connsiteX5" fmla="*/ 214820 w 234000"/>
                <a:gd name="connsiteY5" fmla="*/ 72612 h 144000"/>
                <a:gd name="connsiteX6" fmla="*/ 188496 w 234000"/>
                <a:gd name="connsiteY6" fmla="*/ 37731 h 144000"/>
                <a:gd name="connsiteX7" fmla="*/ 117803 w 234000"/>
                <a:gd name="connsiteY7" fmla="*/ 20860 h 144000"/>
                <a:gd name="connsiteX8" fmla="*/ 117803 w 234000"/>
                <a:gd name="connsiteY8" fmla="*/ 144961 h 144000"/>
                <a:gd name="connsiteX9" fmla="*/ 36795 w 234000"/>
                <a:gd name="connsiteY9" fmla="*/ 125329 h 144000"/>
                <a:gd name="connsiteX10" fmla="*/ 259 w 234000"/>
                <a:gd name="connsiteY10" fmla="*/ 72612 h 144000"/>
                <a:gd name="connsiteX11" fmla="*/ 36761 w 234000"/>
                <a:gd name="connsiteY11" fmla="*/ 19929 h 144000"/>
                <a:gd name="connsiteX12" fmla="*/ 198812 w 234000"/>
                <a:gd name="connsiteY12" fmla="*/ 19894 h 144000"/>
                <a:gd name="connsiteX13" fmla="*/ 235383 w 234000"/>
                <a:gd name="connsiteY13" fmla="*/ 72612 h 144000"/>
                <a:gd name="connsiteX14" fmla="*/ 198812 w 234000"/>
                <a:gd name="connsiteY14" fmla="*/ 125329 h 144000"/>
                <a:gd name="connsiteX15" fmla="*/ 117803 w 234000"/>
                <a:gd name="connsiteY15" fmla="*/ 144961 h 1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4000" h="144000">
                  <a:moveTo>
                    <a:pt x="117803" y="20860"/>
                  </a:moveTo>
                  <a:cubicBezTo>
                    <a:pt x="92204" y="20860"/>
                    <a:pt x="66569" y="26484"/>
                    <a:pt x="47076" y="37731"/>
                  </a:cubicBezTo>
                  <a:cubicBezTo>
                    <a:pt x="30137" y="47564"/>
                    <a:pt x="20821" y="59950"/>
                    <a:pt x="20821" y="72612"/>
                  </a:cubicBezTo>
                  <a:cubicBezTo>
                    <a:pt x="20821" y="85308"/>
                    <a:pt x="30137" y="97694"/>
                    <a:pt x="47076" y="107527"/>
                  </a:cubicBezTo>
                  <a:cubicBezTo>
                    <a:pt x="86063" y="129987"/>
                    <a:pt x="149544" y="129987"/>
                    <a:pt x="188496" y="107492"/>
                  </a:cubicBezTo>
                  <a:cubicBezTo>
                    <a:pt x="205471" y="97728"/>
                    <a:pt x="214820" y="85308"/>
                    <a:pt x="214820" y="72612"/>
                  </a:cubicBezTo>
                  <a:cubicBezTo>
                    <a:pt x="214820" y="59950"/>
                    <a:pt x="205471" y="47529"/>
                    <a:pt x="188496" y="37731"/>
                  </a:cubicBezTo>
                  <a:cubicBezTo>
                    <a:pt x="169003" y="26484"/>
                    <a:pt x="143438" y="20860"/>
                    <a:pt x="117803" y="20860"/>
                  </a:cubicBezTo>
                  <a:close/>
                  <a:moveTo>
                    <a:pt x="117803" y="144961"/>
                  </a:moveTo>
                  <a:cubicBezTo>
                    <a:pt x="88685" y="144961"/>
                    <a:pt x="59497" y="138440"/>
                    <a:pt x="36795" y="125329"/>
                  </a:cubicBezTo>
                  <a:cubicBezTo>
                    <a:pt x="13197" y="111667"/>
                    <a:pt x="259" y="92967"/>
                    <a:pt x="259" y="72612"/>
                  </a:cubicBezTo>
                  <a:cubicBezTo>
                    <a:pt x="259" y="52325"/>
                    <a:pt x="13197" y="33591"/>
                    <a:pt x="36761" y="19929"/>
                  </a:cubicBezTo>
                  <a:cubicBezTo>
                    <a:pt x="82233" y="-6292"/>
                    <a:pt x="153374" y="-6292"/>
                    <a:pt x="198812" y="19894"/>
                  </a:cubicBezTo>
                  <a:cubicBezTo>
                    <a:pt x="222376" y="33557"/>
                    <a:pt x="235383" y="52291"/>
                    <a:pt x="235383" y="72612"/>
                  </a:cubicBezTo>
                  <a:cubicBezTo>
                    <a:pt x="235383" y="93002"/>
                    <a:pt x="222376" y="111701"/>
                    <a:pt x="198812" y="125329"/>
                  </a:cubicBezTo>
                  <a:cubicBezTo>
                    <a:pt x="176110" y="138440"/>
                    <a:pt x="146957" y="144961"/>
                    <a:pt x="117803" y="144961"/>
                  </a:cubicBezTo>
                </a:path>
              </a:pathLst>
            </a:custGeom>
            <a:solidFill>
              <a:srgbClr val="3A3A3A"/>
            </a:solidFill>
            <a:ln w="127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5" name="Freeform: Shape 564">
              <a:extLst>
                <a:ext uri="{FF2B5EF4-FFF2-40B4-BE49-F238E27FC236}">
                  <a16:creationId xmlns:a16="http://schemas.microsoft.com/office/drawing/2014/main" id="{4B972BE4-6A02-4C5E-AEB6-9DF5AD4AD7F1}"/>
                </a:ext>
              </a:extLst>
            </p:cNvPr>
            <p:cNvSpPr/>
            <p:nvPr/>
          </p:nvSpPr>
          <p:spPr>
            <a:xfrm>
              <a:off x="6232046" y="1388246"/>
              <a:ext cx="234000" cy="82286"/>
            </a:xfrm>
            <a:custGeom>
              <a:avLst/>
              <a:gdLst>
                <a:gd name="connsiteX0" fmla="*/ 117823 w 234000"/>
                <a:gd name="connsiteY0" fmla="*/ 82886 h 82285"/>
                <a:gd name="connsiteX1" fmla="*/ 36806 w 234000"/>
                <a:gd name="connsiteY1" fmla="*/ 63240 h 82285"/>
                <a:gd name="connsiteX2" fmla="*/ 257 w 234000"/>
                <a:gd name="connsiteY2" fmla="*/ 10543 h 82285"/>
                <a:gd name="connsiteX3" fmla="*/ 10543 w 234000"/>
                <a:gd name="connsiteY3" fmla="*/ 257 h 82285"/>
                <a:gd name="connsiteX4" fmla="*/ 20829 w 234000"/>
                <a:gd name="connsiteY4" fmla="*/ 10543 h 82285"/>
                <a:gd name="connsiteX5" fmla="*/ 47092 w 234000"/>
                <a:gd name="connsiteY5" fmla="*/ 45411 h 82285"/>
                <a:gd name="connsiteX6" fmla="*/ 188520 w 234000"/>
                <a:gd name="connsiteY6" fmla="*/ 45411 h 82285"/>
                <a:gd name="connsiteX7" fmla="*/ 214817 w 234000"/>
                <a:gd name="connsiteY7" fmla="*/ 10543 h 82285"/>
                <a:gd name="connsiteX8" fmla="*/ 225103 w 234000"/>
                <a:gd name="connsiteY8" fmla="*/ 257 h 82285"/>
                <a:gd name="connsiteX9" fmla="*/ 235389 w 234000"/>
                <a:gd name="connsiteY9" fmla="*/ 10543 h 82285"/>
                <a:gd name="connsiteX10" fmla="*/ 198806 w 234000"/>
                <a:gd name="connsiteY10" fmla="*/ 63240 h 82285"/>
                <a:gd name="connsiteX11" fmla="*/ 117823 w 234000"/>
                <a:gd name="connsiteY11" fmla="*/ 82886 h 8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4000" h="82285">
                  <a:moveTo>
                    <a:pt x="117823" y="82886"/>
                  </a:moveTo>
                  <a:cubicBezTo>
                    <a:pt x="88646" y="82886"/>
                    <a:pt x="59503" y="76337"/>
                    <a:pt x="36806" y="63240"/>
                  </a:cubicBezTo>
                  <a:cubicBezTo>
                    <a:pt x="13217" y="49594"/>
                    <a:pt x="257" y="30874"/>
                    <a:pt x="257" y="10543"/>
                  </a:cubicBezTo>
                  <a:cubicBezTo>
                    <a:pt x="257" y="4852"/>
                    <a:pt x="4852" y="257"/>
                    <a:pt x="10543" y="257"/>
                  </a:cubicBezTo>
                  <a:cubicBezTo>
                    <a:pt x="16200" y="257"/>
                    <a:pt x="20829" y="4852"/>
                    <a:pt x="20829" y="10543"/>
                  </a:cubicBezTo>
                  <a:cubicBezTo>
                    <a:pt x="20829" y="23229"/>
                    <a:pt x="30154" y="35606"/>
                    <a:pt x="47092" y="45411"/>
                  </a:cubicBezTo>
                  <a:cubicBezTo>
                    <a:pt x="86074" y="67903"/>
                    <a:pt x="149537" y="67903"/>
                    <a:pt x="188520" y="45411"/>
                  </a:cubicBezTo>
                  <a:cubicBezTo>
                    <a:pt x="205492" y="35606"/>
                    <a:pt x="214817" y="23229"/>
                    <a:pt x="214817" y="10543"/>
                  </a:cubicBezTo>
                  <a:cubicBezTo>
                    <a:pt x="214817" y="4852"/>
                    <a:pt x="219411" y="257"/>
                    <a:pt x="225103" y="257"/>
                  </a:cubicBezTo>
                  <a:cubicBezTo>
                    <a:pt x="230794" y="257"/>
                    <a:pt x="235389" y="4852"/>
                    <a:pt x="235389" y="10543"/>
                  </a:cubicBezTo>
                  <a:cubicBezTo>
                    <a:pt x="235389" y="30874"/>
                    <a:pt x="222394" y="49594"/>
                    <a:pt x="198806" y="63240"/>
                  </a:cubicBezTo>
                  <a:cubicBezTo>
                    <a:pt x="176109" y="76337"/>
                    <a:pt x="146966" y="82886"/>
                    <a:pt x="117823" y="82886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6" name="Freeform: Shape 565">
              <a:extLst>
                <a:ext uri="{FF2B5EF4-FFF2-40B4-BE49-F238E27FC236}">
                  <a16:creationId xmlns:a16="http://schemas.microsoft.com/office/drawing/2014/main" id="{AE00D2A8-9B0A-4151-8261-4A225A0858F1}"/>
                </a:ext>
              </a:extLst>
            </p:cNvPr>
            <p:cNvSpPr/>
            <p:nvPr/>
          </p:nvSpPr>
          <p:spPr>
            <a:xfrm>
              <a:off x="6232046" y="1475880"/>
              <a:ext cx="234000" cy="82286"/>
            </a:xfrm>
            <a:custGeom>
              <a:avLst/>
              <a:gdLst>
                <a:gd name="connsiteX0" fmla="*/ 117823 w 234000"/>
                <a:gd name="connsiteY0" fmla="*/ 82954 h 82285"/>
                <a:gd name="connsiteX1" fmla="*/ 36806 w 234000"/>
                <a:gd name="connsiteY1" fmla="*/ 63274 h 82285"/>
                <a:gd name="connsiteX2" fmla="*/ 257 w 234000"/>
                <a:gd name="connsiteY2" fmla="*/ 10543 h 82285"/>
                <a:gd name="connsiteX3" fmla="*/ 10543 w 234000"/>
                <a:gd name="connsiteY3" fmla="*/ 257 h 82285"/>
                <a:gd name="connsiteX4" fmla="*/ 20829 w 234000"/>
                <a:gd name="connsiteY4" fmla="*/ 10543 h 82285"/>
                <a:gd name="connsiteX5" fmla="*/ 47092 w 234000"/>
                <a:gd name="connsiteY5" fmla="*/ 45480 h 82285"/>
                <a:gd name="connsiteX6" fmla="*/ 188520 w 234000"/>
                <a:gd name="connsiteY6" fmla="*/ 45480 h 82285"/>
                <a:gd name="connsiteX7" fmla="*/ 214817 w 234000"/>
                <a:gd name="connsiteY7" fmla="*/ 10543 h 82285"/>
                <a:gd name="connsiteX8" fmla="*/ 225103 w 234000"/>
                <a:gd name="connsiteY8" fmla="*/ 257 h 82285"/>
                <a:gd name="connsiteX9" fmla="*/ 235389 w 234000"/>
                <a:gd name="connsiteY9" fmla="*/ 10543 h 82285"/>
                <a:gd name="connsiteX10" fmla="*/ 198806 w 234000"/>
                <a:gd name="connsiteY10" fmla="*/ 63274 h 82285"/>
                <a:gd name="connsiteX11" fmla="*/ 117823 w 234000"/>
                <a:gd name="connsiteY11" fmla="*/ 82954 h 8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4000" h="82285">
                  <a:moveTo>
                    <a:pt x="117823" y="82954"/>
                  </a:moveTo>
                  <a:cubicBezTo>
                    <a:pt x="88680" y="82954"/>
                    <a:pt x="59503" y="76406"/>
                    <a:pt x="36806" y="63274"/>
                  </a:cubicBezTo>
                  <a:cubicBezTo>
                    <a:pt x="13217" y="49663"/>
                    <a:pt x="257" y="30943"/>
                    <a:pt x="257" y="10543"/>
                  </a:cubicBezTo>
                  <a:cubicBezTo>
                    <a:pt x="257" y="4851"/>
                    <a:pt x="4852" y="257"/>
                    <a:pt x="10543" y="257"/>
                  </a:cubicBezTo>
                  <a:cubicBezTo>
                    <a:pt x="16200" y="257"/>
                    <a:pt x="20829" y="4851"/>
                    <a:pt x="20829" y="10543"/>
                  </a:cubicBezTo>
                  <a:cubicBezTo>
                    <a:pt x="20829" y="23297"/>
                    <a:pt x="30154" y="35674"/>
                    <a:pt x="47092" y="45480"/>
                  </a:cubicBezTo>
                  <a:cubicBezTo>
                    <a:pt x="86109" y="67971"/>
                    <a:pt x="149537" y="67971"/>
                    <a:pt x="188520" y="45480"/>
                  </a:cubicBezTo>
                  <a:cubicBezTo>
                    <a:pt x="205492" y="35674"/>
                    <a:pt x="214817" y="23297"/>
                    <a:pt x="214817" y="10543"/>
                  </a:cubicBezTo>
                  <a:cubicBezTo>
                    <a:pt x="214817" y="4851"/>
                    <a:pt x="219411" y="257"/>
                    <a:pt x="225103" y="257"/>
                  </a:cubicBezTo>
                  <a:cubicBezTo>
                    <a:pt x="230794" y="257"/>
                    <a:pt x="235389" y="4851"/>
                    <a:pt x="235389" y="10543"/>
                  </a:cubicBezTo>
                  <a:cubicBezTo>
                    <a:pt x="235389" y="30943"/>
                    <a:pt x="222394" y="49697"/>
                    <a:pt x="198806" y="63274"/>
                  </a:cubicBezTo>
                  <a:cubicBezTo>
                    <a:pt x="176109" y="76406"/>
                    <a:pt x="146966" y="82954"/>
                    <a:pt x="117823" y="82954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7" name="Freeform: Shape 566">
              <a:extLst>
                <a:ext uri="{FF2B5EF4-FFF2-40B4-BE49-F238E27FC236}">
                  <a16:creationId xmlns:a16="http://schemas.microsoft.com/office/drawing/2014/main" id="{58785916-6858-4A6B-9BA3-2B8AB6C3F90E}"/>
                </a:ext>
              </a:extLst>
            </p:cNvPr>
            <p:cNvSpPr/>
            <p:nvPr/>
          </p:nvSpPr>
          <p:spPr>
            <a:xfrm>
              <a:off x="6232046" y="1563583"/>
              <a:ext cx="234000" cy="82286"/>
            </a:xfrm>
            <a:custGeom>
              <a:avLst/>
              <a:gdLst>
                <a:gd name="connsiteX0" fmla="*/ 117823 w 234000"/>
                <a:gd name="connsiteY0" fmla="*/ 82920 h 82285"/>
                <a:gd name="connsiteX1" fmla="*/ 36806 w 234000"/>
                <a:gd name="connsiteY1" fmla="*/ 63240 h 82285"/>
                <a:gd name="connsiteX2" fmla="*/ 257 w 234000"/>
                <a:gd name="connsiteY2" fmla="*/ 10543 h 82285"/>
                <a:gd name="connsiteX3" fmla="*/ 10543 w 234000"/>
                <a:gd name="connsiteY3" fmla="*/ 257 h 82285"/>
                <a:gd name="connsiteX4" fmla="*/ 20829 w 234000"/>
                <a:gd name="connsiteY4" fmla="*/ 10543 h 82285"/>
                <a:gd name="connsiteX5" fmla="*/ 47092 w 234000"/>
                <a:gd name="connsiteY5" fmla="*/ 45446 h 82285"/>
                <a:gd name="connsiteX6" fmla="*/ 188520 w 234000"/>
                <a:gd name="connsiteY6" fmla="*/ 45446 h 82285"/>
                <a:gd name="connsiteX7" fmla="*/ 214817 w 234000"/>
                <a:gd name="connsiteY7" fmla="*/ 10543 h 82285"/>
                <a:gd name="connsiteX8" fmla="*/ 225103 w 234000"/>
                <a:gd name="connsiteY8" fmla="*/ 257 h 82285"/>
                <a:gd name="connsiteX9" fmla="*/ 235389 w 234000"/>
                <a:gd name="connsiteY9" fmla="*/ 10543 h 82285"/>
                <a:gd name="connsiteX10" fmla="*/ 198806 w 234000"/>
                <a:gd name="connsiteY10" fmla="*/ 63240 h 82285"/>
                <a:gd name="connsiteX11" fmla="*/ 117823 w 234000"/>
                <a:gd name="connsiteY11" fmla="*/ 82920 h 82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4000" h="82285">
                  <a:moveTo>
                    <a:pt x="117823" y="82920"/>
                  </a:moveTo>
                  <a:cubicBezTo>
                    <a:pt x="88680" y="82920"/>
                    <a:pt x="59503" y="76371"/>
                    <a:pt x="36806" y="63240"/>
                  </a:cubicBezTo>
                  <a:cubicBezTo>
                    <a:pt x="13217" y="49594"/>
                    <a:pt x="257" y="30908"/>
                    <a:pt x="257" y="10543"/>
                  </a:cubicBezTo>
                  <a:cubicBezTo>
                    <a:pt x="257" y="4851"/>
                    <a:pt x="4852" y="257"/>
                    <a:pt x="10543" y="257"/>
                  </a:cubicBezTo>
                  <a:cubicBezTo>
                    <a:pt x="16200" y="257"/>
                    <a:pt x="20829" y="4851"/>
                    <a:pt x="20829" y="10543"/>
                  </a:cubicBezTo>
                  <a:cubicBezTo>
                    <a:pt x="20829" y="23229"/>
                    <a:pt x="30154" y="35640"/>
                    <a:pt x="47092" y="45446"/>
                  </a:cubicBezTo>
                  <a:cubicBezTo>
                    <a:pt x="86074" y="67937"/>
                    <a:pt x="149537" y="67937"/>
                    <a:pt x="188520" y="45446"/>
                  </a:cubicBezTo>
                  <a:cubicBezTo>
                    <a:pt x="205492" y="35640"/>
                    <a:pt x="214817" y="23263"/>
                    <a:pt x="214817" y="10543"/>
                  </a:cubicBezTo>
                  <a:cubicBezTo>
                    <a:pt x="214817" y="4851"/>
                    <a:pt x="219411" y="257"/>
                    <a:pt x="225103" y="257"/>
                  </a:cubicBezTo>
                  <a:cubicBezTo>
                    <a:pt x="230794" y="257"/>
                    <a:pt x="235389" y="4851"/>
                    <a:pt x="235389" y="10543"/>
                  </a:cubicBezTo>
                  <a:cubicBezTo>
                    <a:pt x="235389" y="30908"/>
                    <a:pt x="222394" y="49629"/>
                    <a:pt x="198806" y="63240"/>
                  </a:cubicBezTo>
                  <a:cubicBezTo>
                    <a:pt x="176109" y="76337"/>
                    <a:pt x="146966" y="82920"/>
                    <a:pt x="117823" y="82920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8" name="Freeform: Shape 567">
              <a:extLst>
                <a:ext uri="{FF2B5EF4-FFF2-40B4-BE49-F238E27FC236}">
                  <a16:creationId xmlns:a16="http://schemas.microsoft.com/office/drawing/2014/main" id="{2DEFCA1C-3853-4A8B-89CD-FCFF90DA9500}"/>
                </a:ext>
              </a:extLst>
            </p:cNvPr>
            <p:cNvSpPr/>
            <p:nvPr/>
          </p:nvSpPr>
          <p:spPr>
            <a:xfrm>
              <a:off x="6232046" y="1301812"/>
              <a:ext cx="234000" cy="432000"/>
            </a:xfrm>
            <a:custGeom>
              <a:avLst/>
              <a:gdLst>
                <a:gd name="connsiteX0" fmla="*/ 117823 w 234000"/>
                <a:gd name="connsiteY0" fmla="*/ 432360 h 432000"/>
                <a:gd name="connsiteX1" fmla="*/ 36806 w 234000"/>
                <a:gd name="connsiteY1" fmla="*/ 412680 h 432000"/>
                <a:gd name="connsiteX2" fmla="*/ 257 w 234000"/>
                <a:gd name="connsiteY2" fmla="*/ 359983 h 432000"/>
                <a:gd name="connsiteX3" fmla="*/ 257 w 234000"/>
                <a:gd name="connsiteY3" fmla="*/ 10543 h 432000"/>
                <a:gd name="connsiteX4" fmla="*/ 10543 w 234000"/>
                <a:gd name="connsiteY4" fmla="*/ 257 h 432000"/>
                <a:gd name="connsiteX5" fmla="*/ 20829 w 234000"/>
                <a:gd name="connsiteY5" fmla="*/ 10543 h 432000"/>
                <a:gd name="connsiteX6" fmla="*/ 20829 w 234000"/>
                <a:gd name="connsiteY6" fmla="*/ 359983 h 432000"/>
                <a:gd name="connsiteX7" fmla="*/ 47092 w 234000"/>
                <a:gd name="connsiteY7" fmla="*/ 394851 h 432000"/>
                <a:gd name="connsiteX8" fmla="*/ 188520 w 234000"/>
                <a:gd name="connsiteY8" fmla="*/ 394851 h 432000"/>
                <a:gd name="connsiteX9" fmla="*/ 214817 w 234000"/>
                <a:gd name="connsiteY9" fmla="*/ 359983 h 432000"/>
                <a:gd name="connsiteX10" fmla="*/ 214817 w 234000"/>
                <a:gd name="connsiteY10" fmla="*/ 10543 h 432000"/>
                <a:gd name="connsiteX11" fmla="*/ 225103 w 234000"/>
                <a:gd name="connsiteY11" fmla="*/ 257 h 432000"/>
                <a:gd name="connsiteX12" fmla="*/ 235389 w 234000"/>
                <a:gd name="connsiteY12" fmla="*/ 10543 h 432000"/>
                <a:gd name="connsiteX13" fmla="*/ 235389 w 234000"/>
                <a:gd name="connsiteY13" fmla="*/ 359983 h 432000"/>
                <a:gd name="connsiteX14" fmla="*/ 198806 w 234000"/>
                <a:gd name="connsiteY14" fmla="*/ 412680 h 432000"/>
                <a:gd name="connsiteX15" fmla="*/ 117823 w 234000"/>
                <a:gd name="connsiteY15" fmla="*/ 432360 h 43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4000" h="432000">
                  <a:moveTo>
                    <a:pt x="117823" y="432360"/>
                  </a:moveTo>
                  <a:cubicBezTo>
                    <a:pt x="88680" y="432360"/>
                    <a:pt x="59503" y="425812"/>
                    <a:pt x="36806" y="412680"/>
                  </a:cubicBezTo>
                  <a:cubicBezTo>
                    <a:pt x="13217" y="399069"/>
                    <a:pt x="257" y="380348"/>
                    <a:pt x="257" y="359983"/>
                  </a:cubicBezTo>
                  <a:lnTo>
                    <a:pt x="257" y="10543"/>
                  </a:lnTo>
                  <a:cubicBezTo>
                    <a:pt x="257" y="4886"/>
                    <a:pt x="4852" y="257"/>
                    <a:pt x="10543" y="257"/>
                  </a:cubicBezTo>
                  <a:cubicBezTo>
                    <a:pt x="16200" y="257"/>
                    <a:pt x="20829" y="4886"/>
                    <a:pt x="20829" y="10543"/>
                  </a:cubicBezTo>
                  <a:lnTo>
                    <a:pt x="20829" y="359983"/>
                  </a:lnTo>
                  <a:cubicBezTo>
                    <a:pt x="20829" y="372703"/>
                    <a:pt x="30154" y="385080"/>
                    <a:pt x="47092" y="394851"/>
                  </a:cubicBezTo>
                  <a:cubicBezTo>
                    <a:pt x="86109" y="417377"/>
                    <a:pt x="149537" y="417377"/>
                    <a:pt x="188520" y="394851"/>
                  </a:cubicBezTo>
                  <a:cubicBezTo>
                    <a:pt x="205492" y="385080"/>
                    <a:pt x="214817" y="372703"/>
                    <a:pt x="214817" y="359983"/>
                  </a:cubicBezTo>
                  <a:lnTo>
                    <a:pt x="214817" y="10543"/>
                  </a:lnTo>
                  <a:cubicBezTo>
                    <a:pt x="214817" y="4886"/>
                    <a:pt x="219411" y="257"/>
                    <a:pt x="225103" y="257"/>
                  </a:cubicBezTo>
                  <a:cubicBezTo>
                    <a:pt x="230794" y="257"/>
                    <a:pt x="235389" y="4886"/>
                    <a:pt x="235389" y="10543"/>
                  </a:cubicBezTo>
                  <a:lnTo>
                    <a:pt x="235389" y="359983"/>
                  </a:lnTo>
                  <a:cubicBezTo>
                    <a:pt x="235389" y="380383"/>
                    <a:pt x="222394" y="399103"/>
                    <a:pt x="198806" y="412680"/>
                  </a:cubicBezTo>
                  <a:cubicBezTo>
                    <a:pt x="176109" y="425812"/>
                    <a:pt x="146966" y="432360"/>
                    <a:pt x="117823" y="432360"/>
                  </a:cubicBezTo>
                </a:path>
              </a:pathLst>
            </a:custGeom>
            <a:solidFill>
              <a:srgbClr val="3A3A3A"/>
            </a:solidFill>
            <a:ln w="12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141" name="Group 1140">
            <a:extLst>
              <a:ext uri="{FF2B5EF4-FFF2-40B4-BE49-F238E27FC236}">
                <a16:creationId xmlns:a16="http://schemas.microsoft.com/office/drawing/2014/main" id="{2DE2AAED-6651-430E-998F-1AA07FE9636F}"/>
              </a:ext>
            </a:extLst>
          </p:cNvPr>
          <p:cNvGrpSpPr/>
          <p:nvPr/>
        </p:nvGrpSpPr>
        <p:grpSpPr>
          <a:xfrm>
            <a:off x="2672624" y="2592118"/>
            <a:ext cx="626917" cy="945114"/>
            <a:chOff x="3230563" y="7065636"/>
            <a:chExt cx="735013" cy="1108076"/>
          </a:xfrm>
        </p:grpSpPr>
        <p:sp>
          <p:nvSpPr>
            <p:cNvPr id="1142" name="Freeform 126">
              <a:extLst>
                <a:ext uri="{FF2B5EF4-FFF2-40B4-BE49-F238E27FC236}">
                  <a16:creationId xmlns:a16="http://schemas.microsoft.com/office/drawing/2014/main" id="{21B00178-2CF8-40A5-9020-E81B9C75E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5963" y="7068811"/>
              <a:ext cx="701675" cy="525463"/>
            </a:xfrm>
            <a:custGeom>
              <a:avLst/>
              <a:gdLst>
                <a:gd name="T0" fmla="*/ 172 w 172"/>
                <a:gd name="T1" fmla="*/ 104 h 129"/>
                <a:gd name="T2" fmla="*/ 172 w 172"/>
                <a:gd name="T3" fmla="*/ 123 h 129"/>
                <a:gd name="T4" fmla="*/ 162 w 172"/>
                <a:gd name="T5" fmla="*/ 129 h 129"/>
                <a:gd name="T6" fmla="*/ 162 w 172"/>
                <a:gd name="T7" fmla="*/ 110 h 129"/>
                <a:gd name="T8" fmla="*/ 153 w 172"/>
                <a:gd name="T9" fmla="*/ 93 h 129"/>
                <a:gd name="T10" fmla="*/ 5 w 172"/>
                <a:gd name="T11" fmla="*/ 8 h 129"/>
                <a:gd name="T12" fmla="*/ 0 w 172"/>
                <a:gd name="T13" fmla="*/ 7 h 129"/>
                <a:gd name="T14" fmla="*/ 10 w 172"/>
                <a:gd name="T15" fmla="*/ 1 h 129"/>
                <a:gd name="T16" fmla="*/ 10 w 172"/>
                <a:gd name="T17" fmla="*/ 1 h 129"/>
                <a:gd name="T18" fmla="*/ 16 w 172"/>
                <a:gd name="T19" fmla="*/ 2 h 129"/>
                <a:gd name="T20" fmla="*/ 47 w 172"/>
                <a:gd name="T21" fmla="*/ 20 h 129"/>
                <a:gd name="T22" fmla="*/ 58 w 172"/>
                <a:gd name="T23" fmla="*/ 26 h 129"/>
                <a:gd name="T24" fmla="*/ 121 w 172"/>
                <a:gd name="T25" fmla="*/ 63 h 129"/>
                <a:gd name="T26" fmla="*/ 131 w 172"/>
                <a:gd name="T27" fmla="*/ 69 h 129"/>
                <a:gd name="T28" fmla="*/ 163 w 172"/>
                <a:gd name="T29" fmla="*/ 87 h 129"/>
                <a:gd name="T30" fmla="*/ 172 w 172"/>
                <a:gd name="T31" fmla="*/ 104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72" h="129">
                  <a:moveTo>
                    <a:pt x="172" y="104"/>
                  </a:moveTo>
                  <a:cubicBezTo>
                    <a:pt x="172" y="123"/>
                    <a:pt x="172" y="123"/>
                    <a:pt x="172" y="123"/>
                  </a:cubicBezTo>
                  <a:cubicBezTo>
                    <a:pt x="162" y="129"/>
                    <a:pt x="162" y="129"/>
                    <a:pt x="162" y="129"/>
                  </a:cubicBezTo>
                  <a:cubicBezTo>
                    <a:pt x="162" y="110"/>
                    <a:pt x="162" y="110"/>
                    <a:pt x="162" y="110"/>
                  </a:cubicBezTo>
                  <a:cubicBezTo>
                    <a:pt x="162" y="103"/>
                    <a:pt x="158" y="96"/>
                    <a:pt x="153" y="93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3" y="6"/>
                    <a:pt x="1" y="6"/>
                    <a:pt x="0" y="7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0"/>
                    <a:pt x="13" y="0"/>
                    <a:pt x="16" y="2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58" y="26"/>
                    <a:pt x="58" y="26"/>
                    <a:pt x="58" y="26"/>
                  </a:cubicBezTo>
                  <a:cubicBezTo>
                    <a:pt x="121" y="63"/>
                    <a:pt x="121" y="63"/>
                    <a:pt x="121" y="63"/>
                  </a:cubicBezTo>
                  <a:cubicBezTo>
                    <a:pt x="131" y="69"/>
                    <a:pt x="131" y="69"/>
                    <a:pt x="131" y="69"/>
                  </a:cubicBezTo>
                  <a:cubicBezTo>
                    <a:pt x="163" y="87"/>
                    <a:pt x="163" y="87"/>
                    <a:pt x="163" y="87"/>
                  </a:cubicBezTo>
                  <a:cubicBezTo>
                    <a:pt x="168" y="90"/>
                    <a:pt x="172" y="97"/>
                    <a:pt x="172" y="104"/>
                  </a:cubicBezTo>
                  <a:close/>
                </a:path>
              </a:pathLst>
            </a:custGeom>
            <a:solidFill>
              <a:srgbClr val="CAC5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3" name="Freeform 127">
              <a:extLst>
                <a:ext uri="{FF2B5EF4-FFF2-40B4-BE49-F238E27FC236}">
                  <a16:creationId xmlns:a16="http://schemas.microsoft.com/office/drawing/2014/main" id="{EFF148C9-AB01-4635-88A6-A76D22B14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6438" y="7065636"/>
              <a:ext cx="719138" cy="538163"/>
            </a:xfrm>
            <a:custGeom>
              <a:avLst/>
              <a:gdLst>
                <a:gd name="T0" fmla="*/ 172 w 176"/>
                <a:gd name="T1" fmla="*/ 105 h 132"/>
                <a:gd name="T2" fmla="*/ 166 w 176"/>
                <a:gd name="T3" fmla="*/ 126 h 132"/>
                <a:gd name="T4" fmla="*/ 163 w 176"/>
                <a:gd name="T5" fmla="*/ 100 h 132"/>
                <a:gd name="T6" fmla="*/ 156 w 176"/>
                <a:gd name="T7" fmla="*/ 92 h 132"/>
                <a:gd name="T8" fmla="*/ 8 w 176"/>
                <a:gd name="T9" fmla="*/ 7 h 132"/>
                <a:gd name="T10" fmla="*/ 1 w 176"/>
                <a:gd name="T11" fmla="*/ 6 h 132"/>
                <a:gd name="T12" fmla="*/ 3 w 176"/>
                <a:gd name="T13" fmla="*/ 10 h 132"/>
                <a:gd name="T14" fmla="*/ 13 w 176"/>
                <a:gd name="T15" fmla="*/ 4 h 132"/>
                <a:gd name="T16" fmla="*/ 13 w 176"/>
                <a:gd name="T17" fmla="*/ 4 h 132"/>
                <a:gd name="T18" fmla="*/ 17 w 176"/>
                <a:gd name="T19" fmla="*/ 4 h 132"/>
                <a:gd name="T20" fmla="*/ 48 w 176"/>
                <a:gd name="T21" fmla="*/ 23 h 132"/>
                <a:gd name="T22" fmla="*/ 59 w 176"/>
                <a:gd name="T23" fmla="*/ 29 h 132"/>
                <a:gd name="T24" fmla="*/ 122 w 176"/>
                <a:gd name="T25" fmla="*/ 65 h 132"/>
                <a:gd name="T26" fmla="*/ 132 w 176"/>
                <a:gd name="T27" fmla="*/ 71 h 132"/>
                <a:gd name="T28" fmla="*/ 170 w 176"/>
                <a:gd name="T29" fmla="*/ 96 h 132"/>
                <a:gd name="T30" fmla="*/ 174 w 176"/>
                <a:gd name="T31" fmla="*/ 105 h 132"/>
                <a:gd name="T32" fmla="*/ 173 w 176"/>
                <a:gd name="T33" fmla="*/ 94 h 132"/>
                <a:gd name="T34" fmla="*/ 134 w 176"/>
                <a:gd name="T35" fmla="*/ 68 h 132"/>
                <a:gd name="T36" fmla="*/ 124 w 176"/>
                <a:gd name="T37" fmla="*/ 62 h 132"/>
                <a:gd name="T38" fmla="*/ 61 w 176"/>
                <a:gd name="T39" fmla="*/ 25 h 132"/>
                <a:gd name="T40" fmla="*/ 50 w 176"/>
                <a:gd name="T41" fmla="*/ 19 h 132"/>
                <a:gd name="T42" fmla="*/ 19 w 176"/>
                <a:gd name="T43" fmla="*/ 1 h 132"/>
                <a:gd name="T44" fmla="*/ 11 w 176"/>
                <a:gd name="T45" fmla="*/ 1 h 132"/>
                <a:gd name="T46" fmla="*/ 11 w 176"/>
                <a:gd name="T47" fmla="*/ 1 h 132"/>
                <a:gd name="T48" fmla="*/ 0 w 176"/>
                <a:gd name="T49" fmla="*/ 9 h 132"/>
                <a:gd name="T50" fmla="*/ 4 w 176"/>
                <a:gd name="T51" fmla="*/ 10 h 132"/>
                <a:gd name="T52" fmla="*/ 6 w 176"/>
                <a:gd name="T53" fmla="*/ 10 h 132"/>
                <a:gd name="T54" fmla="*/ 154 w 176"/>
                <a:gd name="T55" fmla="*/ 96 h 132"/>
                <a:gd name="T56" fmla="*/ 162 w 176"/>
                <a:gd name="T57" fmla="*/ 111 h 132"/>
                <a:gd name="T58" fmla="*/ 163 w 176"/>
                <a:gd name="T59" fmla="*/ 131 h 132"/>
                <a:gd name="T60" fmla="*/ 175 w 176"/>
                <a:gd name="T61" fmla="*/ 126 h 132"/>
                <a:gd name="T62" fmla="*/ 176 w 176"/>
                <a:gd name="T63" fmla="*/ 105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6" h="132">
                  <a:moveTo>
                    <a:pt x="174" y="105"/>
                  </a:moveTo>
                  <a:cubicBezTo>
                    <a:pt x="172" y="105"/>
                    <a:pt x="172" y="105"/>
                    <a:pt x="172" y="105"/>
                  </a:cubicBezTo>
                  <a:cubicBezTo>
                    <a:pt x="172" y="123"/>
                    <a:pt x="172" y="123"/>
                    <a:pt x="172" y="123"/>
                  </a:cubicBezTo>
                  <a:cubicBezTo>
                    <a:pt x="166" y="126"/>
                    <a:pt x="166" y="126"/>
                    <a:pt x="166" y="126"/>
                  </a:cubicBezTo>
                  <a:cubicBezTo>
                    <a:pt x="166" y="111"/>
                    <a:pt x="166" y="111"/>
                    <a:pt x="166" y="111"/>
                  </a:cubicBezTo>
                  <a:cubicBezTo>
                    <a:pt x="166" y="107"/>
                    <a:pt x="165" y="103"/>
                    <a:pt x="163" y="100"/>
                  </a:cubicBezTo>
                  <a:cubicBezTo>
                    <a:pt x="161" y="97"/>
                    <a:pt x="159" y="94"/>
                    <a:pt x="156" y="92"/>
                  </a:cubicBezTo>
                  <a:cubicBezTo>
                    <a:pt x="156" y="92"/>
                    <a:pt x="156" y="92"/>
                    <a:pt x="156" y="92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6"/>
                    <a:pt x="5" y="6"/>
                    <a:pt x="4" y="6"/>
                  </a:cubicBezTo>
                  <a:cubicBezTo>
                    <a:pt x="3" y="6"/>
                    <a:pt x="2" y="6"/>
                    <a:pt x="1" y="6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4" y="4"/>
                    <a:pt x="14" y="4"/>
                  </a:cubicBezTo>
                  <a:cubicBezTo>
                    <a:pt x="15" y="4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59" y="29"/>
                    <a:pt x="59" y="29"/>
                    <a:pt x="59" y="29"/>
                  </a:cubicBezTo>
                  <a:cubicBezTo>
                    <a:pt x="122" y="65"/>
                    <a:pt x="122" y="65"/>
                    <a:pt x="122" y="65"/>
                  </a:cubicBezTo>
                  <a:cubicBezTo>
                    <a:pt x="122" y="65"/>
                    <a:pt x="122" y="65"/>
                    <a:pt x="122" y="65"/>
                  </a:cubicBezTo>
                  <a:cubicBezTo>
                    <a:pt x="132" y="71"/>
                    <a:pt x="132" y="71"/>
                    <a:pt x="132" y="71"/>
                  </a:cubicBezTo>
                  <a:cubicBezTo>
                    <a:pt x="132" y="71"/>
                    <a:pt x="132" y="71"/>
                    <a:pt x="132" y="71"/>
                  </a:cubicBezTo>
                  <a:cubicBezTo>
                    <a:pt x="164" y="90"/>
                    <a:pt x="164" y="90"/>
                    <a:pt x="164" y="90"/>
                  </a:cubicBezTo>
                  <a:cubicBezTo>
                    <a:pt x="166" y="91"/>
                    <a:pt x="168" y="93"/>
                    <a:pt x="170" y="96"/>
                  </a:cubicBezTo>
                  <a:cubicBezTo>
                    <a:pt x="171" y="99"/>
                    <a:pt x="172" y="102"/>
                    <a:pt x="172" y="105"/>
                  </a:cubicBezTo>
                  <a:cubicBezTo>
                    <a:pt x="174" y="105"/>
                    <a:pt x="174" y="105"/>
                    <a:pt x="174" y="105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6" y="101"/>
                    <a:pt x="175" y="97"/>
                    <a:pt x="173" y="94"/>
                  </a:cubicBezTo>
                  <a:cubicBezTo>
                    <a:pt x="172" y="91"/>
                    <a:pt x="169" y="88"/>
                    <a:pt x="166" y="86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34" y="68"/>
                    <a:pt x="134" y="68"/>
                    <a:pt x="134" y="68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0"/>
                    <a:pt x="16" y="0"/>
                    <a:pt x="14" y="0"/>
                  </a:cubicBezTo>
                  <a:cubicBezTo>
                    <a:pt x="13" y="0"/>
                    <a:pt x="12" y="0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10"/>
                    <a:pt x="2" y="10"/>
                    <a:pt x="3" y="10"/>
                  </a:cubicBezTo>
                  <a:cubicBezTo>
                    <a:pt x="3" y="10"/>
                    <a:pt x="3" y="10"/>
                    <a:pt x="4" y="10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154" y="96"/>
                    <a:pt x="154" y="96"/>
                    <a:pt x="154" y="96"/>
                  </a:cubicBezTo>
                  <a:cubicBezTo>
                    <a:pt x="154" y="96"/>
                    <a:pt x="154" y="96"/>
                    <a:pt x="154" y="96"/>
                  </a:cubicBezTo>
                  <a:cubicBezTo>
                    <a:pt x="156" y="97"/>
                    <a:pt x="158" y="99"/>
                    <a:pt x="159" y="102"/>
                  </a:cubicBezTo>
                  <a:cubicBezTo>
                    <a:pt x="161" y="105"/>
                    <a:pt x="162" y="108"/>
                    <a:pt x="162" y="111"/>
                  </a:cubicBezTo>
                  <a:cubicBezTo>
                    <a:pt x="162" y="130"/>
                    <a:pt x="162" y="130"/>
                    <a:pt x="162" y="130"/>
                  </a:cubicBezTo>
                  <a:cubicBezTo>
                    <a:pt x="162" y="130"/>
                    <a:pt x="162" y="131"/>
                    <a:pt x="163" y="131"/>
                  </a:cubicBezTo>
                  <a:cubicBezTo>
                    <a:pt x="163" y="132"/>
                    <a:pt x="164" y="132"/>
                    <a:pt x="165" y="132"/>
                  </a:cubicBezTo>
                  <a:cubicBezTo>
                    <a:pt x="175" y="126"/>
                    <a:pt x="175" y="126"/>
                    <a:pt x="175" y="126"/>
                  </a:cubicBezTo>
                  <a:cubicBezTo>
                    <a:pt x="176" y="125"/>
                    <a:pt x="176" y="125"/>
                    <a:pt x="176" y="124"/>
                  </a:cubicBezTo>
                  <a:cubicBezTo>
                    <a:pt x="176" y="105"/>
                    <a:pt x="176" y="105"/>
                    <a:pt x="176" y="105"/>
                  </a:cubicBezTo>
                  <a:lnTo>
                    <a:pt x="174" y="105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4" name="Freeform 128">
              <a:extLst>
                <a:ext uri="{FF2B5EF4-FFF2-40B4-BE49-F238E27FC236}">
                  <a16:creationId xmlns:a16="http://schemas.microsoft.com/office/drawing/2014/main" id="{43A237ED-D700-4081-BE17-D9DA7A068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8500" y="7089449"/>
              <a:ext cx="677863" cy="1076325"/>
            </a:xfrm>
            <a:custGeom>
              <a:avLst/>
              <a:gdLst>
                <a:gd name="T0" fmla="*/ 166 w 166"/>
                <a:gd name="T1" fmla="*/ 264 h 264"/>
                <a:gd name="T2" fmla="*/ 0 w 166"/>
                <a:gd name="T3" fmla="*/ 168 h 264"/>
                <a:gd name="T4" fmla="*/ 0 w 166"/>
                <a:gd name="T5" fmla="*/ 9 h 264"/>
                <a:gd name="T6" fmla="*/ 9 w 166"/>
                <a:gd name="T7" fmla="*/ 3 h 264"/>
                <a:gd name="T8" fmla="*/ 157 w 166"/>
                <a:gd name="T9" fmla="*/ 88 h 264"/>
                <a:gd name="T10" fmla="*/ 166 w 166"/>
                <a:gd name="T11" fmla="*/ 105 h 264"/>
                <a:gd name="T12" fmla="*/ 166 w 166"/>
                <a:gd name="T13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6" h="264">
                  <a:moveTo>
                    <a:pt x="166" y="264"/>
                  </a:moveTo>
                  <a:cubicBezTo>
                    <a:pt x="0" y="168"/>
                    <a:pt x="0" y="168"/>
                    <a:pt x="0" y="16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3"/>
                    <a:pt x="4" y="0"/>
                    <a:pt x="9" y="3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2" y="91"/>
                    <a:pt x="166" y="98"/>
                    <a:pt x="166" y="105"/>
                  </a:cubicBezTo>
                  <a:lnTo>
                    <a:pt x="166" y="2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5" name="Freeform 129">
              <a:extLst>
                <a:ext uri="{FF2B5EF4-FFF2-40B4-BE49-F238E27FC236}">
                  <a16:creationId xmlns:a16="http://schemas.microsoft.com/office/drawing/2014/main" id="{07BECF0A-32CC-41F0-8DC8-8D03D8631F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0563" y="7084686"/>
              <a:ext cx="693738" cy="1089025"/>
            </a:xfrm>
            <a:custGeom>
              <a:avLst/>
              <a:gdLst>
                <a:gd name="T0" fmla="*/ 168 w 170"/>
                <a:gd name="T1" fmla="*/ 265 h 267"/>
                <a:gd name="T2" fmla="*/ 169 w 170"/>
                <a:gd name="T3" fmla="*/ 263 h 267"/>
                <a:gd name="T4" fmla="*/ 4 w 170"/>
                <a:gd name="T5" fmla="*/ 168 h 267"/>
                <a:gd name="T6" fmla="*/ 4 w 170"/>
                <a:gd name="T7" fmla="*/ 10 h 267"/>
                <a:gd name="T8" fmla="*/ 5 w 170"/>
                <a:gd name="T9" fmla="*/ 6 h 267"/>
                <a:gd name="T10" fmla="*/ 8 w 170"/>
                <a:gd name="T11" fmla="*/ 5 h 267"/>
                <a:gd name="T12" fmla="*/ 10 w 170"/>
                <a:gd name="T13" fmla="*/ 5 h 267"/>
                <a:gd name="T14" fmla="*/ 158 w 170"/>
                <a:gd name="T15" fmla="*/ 91 h 267"/>
                <a:gd name="T16" fmla="*/ 163 w 170"/>
                <a:gd name="T17" fmla="*/ 97 h 267"/>
                <a:gd name="T18" fmla="*/ 166 w 170"/>
                <a:gd name="T19" fmla="*/ 106 h 267"/>
                <a:gd name="T20" fmla="*/ 166 w 170"/>
                <a:gd name="T21" fmla="*/ 265 h 267"/>
                <a:gd name="T22" fmla="*/ 168 w 170"/>
                <a:gd name="T23" fmla="*/ 265 h 267"/>
                <a:gd name="T24" fmla="*/ 169 w 170"/>
                <a:gd name="T25" fmla="*/ 263 h 267"/>
                <a:gd name="T26" fmla="*/ 168 w 170"/>
                <a:gd name="T27" fmla="*/ 265 h 267"/>
                <a:gd name="T28" fmla="*/ 170 w 170"/>
                <a:gd name="T29" fmla="*/ 265 h 267"/>
                <a:gd name="T30" fmla="*/ 170 w 170"/>
                <a:gd name="T31" fmla="*/ 106 h 267"/>
                <a:gd name="T32" fmla="*/ 167 w 170"/>
                <a:gd name="T33" fmla="*/ 95 h 267"/>
                <a:gd name="T34" fmla="*/ 160 w 170"/>
                <a:gd name="T35" fmla="*/ 87 h 267"/>
                <a:gd name="T36" fmla="*/ 12 w 170"/>
                <a:gd name="T37" fmla="*/ 2 h 267"/>
                <a:gd name="T38" fmla="*/ 8 w 170"/>
                <a:gd name="T39" fmla="*/ 1 h 267"/>
                <a:gd name="T40" fmla="*/ 2 w 170"/>
                <a:gd name="T41" fmla="*/ 3 h 267"/>
                <a:gd name="T42" fmla="*/ 0 w 170"/>
                <a:gd name="T43" fmla="*/ 10 h 267"/>
                <a:gd name="T44" fmla="*/ 0 w 170"/>
                <a:gd name="T45" fmla="*/ 169 h 267"/>
                <a:gd name="T46" fmla="*/ 1 w 170"/>
                <a:gd name="T47" fmla="*/ 171 h 267"/>
                <a:gd name="T48" fmla="*/ 167 w 170"/>
                <a:gd name="T49" fmla="*/ 266 h 267"/>
                <a:gd name="T50" fmla="*/ 169 w 170"/>
                <a:gd name="T51" fmla="*/ 266 h 267"/>
                <a:gd name="T52" fmla="*/ 170 w 170"/>
                <a:gd name="T53" fmla="*/ 265 h 267"/>
                <a:gd name="T54" fmla="*/ 168 w 170"/>
                <a:gd name="T55" fmla="*/ 265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0" h="267">
                  <a:moveTo>
                    <a:pt x="168" y="265"/>
                  </a:moveTo>
                  <a:cubicBezTo>
                    <a:pt x="169" y="263"/>
                    <a:pt x="169" y="263"/>
                    <a:pt x="169" y="263"/>
                  </a:cubicBezTo>
                  <a:cubicBezTo>
                    <a:pt x="4" y="168"/>
                    <a:pt x="4" y="168"/>
                    <a:pt x="4" y="16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8"/>
                    <a:pt x="5" y="7"/>
                    <a:pt x="5" y="6"/>
                  </a:cubicBezTo>
                  <a:cubicBezTo>
                    <a:pt x="6" y="5"/>
                    <a:pt x="7" y="5"/>
                    <a:pt x="8" y="5"/>
                  </a:cubicBezTo>
                  <a:cubicBezTo>
                    <a:pt x="8" y="5"/>
                    <a:pt x="9" y="5"/>
                    <a:pt x="10" y="5"/>
                  </a:cubicBezTo>
                  <a:cubicBezTo>
                    <a:pt x="158" y="91"/>
                    <a:pt x="158" y="91"/>
                    <a:pt x="158" y="91"/>
                  </a:cubicBezTo>
                  <a:cubicBezTo>
                    <a:pt x="160" y="92"/>
                    <a:pt x="162" y="94"/>
                    <a:pt x="163" y="97"/>
                  </a:cubicBezTo>
                  <a:cubicBezTo>
                    <a:pt x="165" y="100"/>
                    <a:pt x="166" y="103"/>
                    <a:pt x="166" y="106"/>
                  </a:cubicBezTo>
                  <a:cubicBezTo>
                    <a:pt x="166" y="265"/>
                    <a:pt x="166" y="265"/>
                    <a:pt x="166" y="265"/>
                  </a:cubicBezTo>
                  <a:cubicBezTo>
                    <a:pt x="168" y="265"/>
                    <a:pt x="168" y="265"/>
                    <a:pt x="168" y="265"/>
                  </a:cubicBezTo>
                  <a:cubicBezTo>
                    <a:pt x="169" y="263"/>
                    <a:pt x="169" y="263"/>
                    <a:pt x="169" y="263"/>
                  </a:cubicBezTo>
                  <a:cubicBezTo>
                    <a:pt x="168" y="265"/>
                    <a:pt x="168" y="265"/>
                    <a:pt x="168" y="265"/>
                  </a:cubicBezTo>
                  <a:cubicBezTo>
                    <a:pt x="170" y="265"/>
                    <a:pt x="170" y="265"/>
                    <a:pt x="170" y="265"/>
                  </a:cubicBezTo>
                  <a:cubicBezTo>
                    <a:pt x="170" y="106"/>
                    <a:pt x="170" y="106"/>
                    <a:pt x="170" y="106"/>
                  </a:cubicBezTo>
                  <a:cubicBezTo>
                    <a:pt x="170" y="102"/>
                    <a:pt x="169" y="98"/>
                    <a:pt x="167" y="95"/>
                  </a:cubicBezTo>
                  <a:cubicBezTo>
                    <a:pt x="165" y="92"/>
                    <a:pt x="163" y="89"/>
                    <a:pt x="160" y="87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1"/>
                    <a:pt x="9" y="1"/>
                    <a:pt x="8" y="1"/>
                  </a:cubicBezTo>
                  <a:cubicBezTo>
                    <a:pt x="5" y="0"/>
                    <a:pt x="3" y="2"/>
                    <a:pt x="2" y="3"/>
                  </a:cubicBezTo>
                  <a:cubicBezTo>
                    <a:pt x="1" y="5"/>
                    <a:pt x="0" y="7"/>
                    <a:pt x="0" y="10"/>
                  </a:cubicBezTo>
                  <a:cubicBezTo>
                    <a:pt x="0" y="169"/>
                    <a:pt x="0" y="169"/>
                    <a:pt x="0" y="169"/>
                  </a:cubicBezTo>
                  <a:cubicBezTo>
                    <a:pt x="0" y="170"/>
                    <a:pt x="1" y="171"/>
                    <a:pt x="1" y="171"/>
                  </a:cubicBezTo>
                  <a:cubicBezTo>
                    <a:pt x="167" y="266"/>
                    <a:pt x="167" y="266"/>
                    <a:pt x="167" y="266"/>
                  </a:cubicBezTo>
                  <a:cubicBezTo>
                    <a:pt x="167" y="267"/>
                    <a:pt x="168" y="267"/>
                    <a:pt x="169" y="266"/>
                  </a:cubicBezTo>
                  <a:cubicBezTo>
                    <a:pt x="169" y="266"/>
                    <a:pt x="170" y="265"/>
                    <a:pt x="170" y="265"/>
                  </a:cubicBezTo>
                  <a:lnTo>
                    <a:pt x="168" y="265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6" name="Freeform 130">
              <a:extLst>
                <a:ext uri="{FF2B5EF4-FFF2-40B4-BE49-F238E27FC236}">
                  <a16:creationId xmlns:a16="http://schemas.microsoft.com/office/drawing/2014/main" id="{F3238606-6FE1-4085-96AE-6D9F70851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8500" y="7092624"/>
              <a:ext cx="677863" cy="501650"/>
            </a:xfrm>
            <a:custGeom>
              <a:avLst/>
              <a:gdLst>
                <a:gd name="T0" fmla="*/ 166 w 166"/>
                <a:gd name="T1" fmla="*/ 104 h 123"/>
                <a:gd name="T2" fmla="*/ 166 w 166"/>
                <a:gd name="T3" fmla="*/ 123 h 123"/>
                <a:gd name="T4" fmla="*/ 0 w 166"/>
                <a:gd name="T5" fmla="*/ 27 h 123"/>
                <a:gd name="T6" fmla="*/ 0 w 166"/>
                <a:gd name="T7" fmla="*/ 8 h 123"/>
                <a:gd name="T8" fmla="*/ 3 w 166"/>
                <a:gd name="T9" fmla="*/ 1 h 123"/>
                <a:gd name="T10" fmla="*/ 3 w 166"/>
                <a:gd name="T11" fmla="*/ 1 h 123"/>
                <a:gd name="T12" fmla="*/ 4 w 166"/>
                <a:gd name="T13" fmla="*/ 1 h 123"/>
                <a:gd name="T14" fmla="*/ 4 w 166"/>
                <a:gd name="T15" fmla="*/ 1 h 123"/>
                <a:gd name="T16" fmla="*/ 9 w 166"/>
                <a:gd name="T17" fmla="*/ 2 h 123"/>
                <a:gd name="T18" fmla="*/ 157 w 166"/>
                <a:gd name="T19" fmla="*/ 87 h 123"/>
                <a:gd name="T20" fmla="*/ 166 w 166"/>
                <a:gd name="T21" fmla="*/ 104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6" h="123">
                  <a:moveTo>
                    <a:pt x="166" y="104"/>
                  </a:moveTo>
                  <a:cubicBezTo>
                    <a:pt x="166" y="123"/>
                    <a:pt x="166" y="123"/>
                    <a:pt x="166" y="123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5"/>
                    <a:pt x="1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7" y="0"/>
                    <a:pt x="9" y="2"/>
                  </a:cubicBezTo>
                  <a:cubicBezTo>
                    <a:pt x="157" y="87"/>
                    <a:pt x="157" y="87"/>
                    <a:pt x="157" y="87"/>
                  </a:cubicBezTo>
                  <a:cubicBezTo>
                    <a:pt x="162" y="90"/>
                    <a:pt x="166" y="97"/>
                    <a:pt x="166" y="10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7" name="Freeform 131">
              <a:extLst>
                <a:ext uri="{FF2B5EF4-FFF2-40B4-BE49-F238E27FC236}">
                  <a16:creationId xmlns:a16="http://schemas.microsoft.com/office/drawing/2014/main" id="{EBA76AFF-2760-43C5-92B5-79425E0B6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0563" y="7089449"/>
              <a:ext cx="693738" cy="514350"/>
            </a:xfrm>
            <a:custGeom>
              <a:avLst/>
              <a:gdLst>
                <a:gd name="T0" fmla="*/ 168 w 170"/>
                <a:gd name="T1" fmla="*/ 105 h 126"/>
                <a:gd name="T2" fmla="*/ 166 w 170"/>
                <a:gd name="T3" fmla="*/ 105 h 126"/>
                <a:gd name="T4" fmla="*/ 166 w 170"/>
                <a:gd name="T5" fmla="*/ 120 h 126"/>
                <a:gd name="T6" fmla="*/ 4 w 170"/>
                <a:gd name="T7" fmla="*/ 27 h 126"/>
                <a:gd name="T8" fmla="*/ 4 w 170"/>
                <a:gd name="T9" fmla="*/ 9 h 126"/>
                <a:gd name="T10" fmla="*/ 6 w 170"/>
                <a:gd name="T11" fmla="*/ 4 h 126"/>
                <a:gd name="T12" fmla="*/ 5 w 170"/>
                <a:gd name="T13" fmla="*/ 2 h 126"/>
                <a:gd name="T14" fmla="*/ 6 w 170"/>
                <a:gd name="T15" fmla="*/ 4 h 126"/>
                <a:gd name="T16" fmla="*/ 6 w 170"/>
                <a:gd name="T17" fmla="*/ 4 h 126"/>
                <a:gd name="T18" fmla="*/ 6 w 170"/>
                <a:gd name="T19" fmla="*/ 4 h 126"/>
                <a:gd name="T20" fmla="*/ 7 w 170"/>
                <a:gd name="T21" fmla="*/ 4 h 126"/>
                <a:gd name="T22" fmla="*/ 7 w 170"/>
                <a:gd name="T23" fmla="*/ 4 h 126"/>
                <a:gd name="T24" fmla="*/ 6 w 170"/>
                <a:gd name="T25" fmla="*/ 2 h 126"/>
                <a:gd name="T26" fmla="*/ 7 w 170"/>
                <a:gd name="T27" fmla="*/ 4 h 126"/>
                <a:gd name="T28" fmla="*/ 8 w 170"/>
                <a:gd name="T29" fmla="*/ 4 h 126"/>
                <a:gd name="T30" fmla="*/ 10 w 170"/>
                <a:gd name="T31" fmla="*/ 4 h 126"/>
                <a:gd name="T32" fmla="*/ 10 w 170"/>
                <a:gd name="T33" fmla="*/ 4 h 126"/>
                <a:gd name="T34" fmla="*/ 158 w 170"/>
                <a:gd name="T35" fmla="*/ 90 h 126"/>
                <a:gd name="T36" fmla="*/ 158 w 170"/>
                <a:gd name="T37" fmla="*/ 90 h 126"/>
                <a:gd name="T38" fmla="*/ 163 w 170"/>
                <a:gd name="T39" fmla="*/ 96 h 126"/>
                <a:gd name="T40" fmla="*/ 166 w 170"/>
                <a:gd name="T41" fmla="*/ 105 h 126"/>
                <a:gd name="T42" fmla="*/ 168 w 170"/>
                <a:gd name="T43" fmla="*/ 105 h 126"/>
                <a:gd name="T44" fmla="*/ 170 w 170"/>
                <a:gd name="T45" fmla="*/ 105 h 126"/>
                <a:gd name="T46" fmla="*/ 167 w 170"/>
                <a:gd name="T47" fmla="*/ 94 h 126"/>
                <a:gd name="T48" fmla="*/ 160 w 170"/>
                <a:gd name="T49" fmla="*/ 86 h 126"/>
                <a:gd name="T50" fmla="*/ 160 w 170"/>
                <a:gd name="T51" fmla="*/ 86 h 126"/>
                <a:gd name="T52" fmla="*/ 12 w 170"/>
                <a:gd name="T53" fmla="*/ 1 h 126"/>
                <a:gd name="T54" fmla="*/ 12 w 170"/>
                <a:gd name="T55" fmla="*/ 1 h 126"/>
                <a:gd name="T56" fmla="*/ 8 w 170"/>
                <a:gd name="T57" fmla="*/ 0 h 126"/>
                <a:gd name="T58" fmla="*/ 5 w 170"/>
                <a:gd name="T59" fmla="*/ 0 h 126"/>
                <a:gd name="T60" fmla="*/ 5 w 170"/>
                <a:gd name="T61" fmla="*/ 0 h 126"/>
                <a:gd name="T62" fmla="*/ 5 w 170"/>
                <a:gd name="T63" fmla="*/ 0 h 126"/>
                <a:gd name="T64" fmla="*/ 5 w 170"/>
                <a:gd name="T65" fmla="*/ 0 h 126"/>
                <a:gd name="T66" fmla="*/ 4 w 170"/>
                <a:gd name="T67" fmla="*/ 0 h 126"/>
                <a:gd name="T68" fmla="*/ 5 w 170"/>
                <a:gd name="T69" fmla="*/ 2 h 126"/>
                <a:gd name="T70" fmla="*/ 4 w 170"/>
                <a:gd name="T71" fmla="*/ 0 h 126"/>
                <a:gd name="T72" fmla="*/ 4 w 170"/>
                <a:gd name="T73" fmla="*/ 0 h 126"/>
                <a:gd name="T74" fmla="*/ 4 w 170"/>
                <a:gd name="T75" fmla="*/ 1 h 126"/>
                <a:gd name="T76" fmla="*/ 0 w 170"/>
                <a:gd name="T77" fmla="*/ 9 h 126"/>
                <a:gd name="T78" fmla="*/ 0 w 170"/>
                <a:gd name="T79" fmla="*/ 28 h 126"/>
                <a:gd name="T80" fmla="*/ 1 w 170"/>
                <a:gd name="T81" fmla="*/ 30 h 126"/>
                <a:gd name="T82" fmla="*/ 167 w 170"/>
                <a:gd name="T83" fmla="*/ 126 h 126"/>
                <a:gd name="T84" fmla="*/ 169 w 170"/>
                <a:gd name="T85" fmla="*/ 126 h 126"/>
                <a:gd name="T86" fmla="*/ 170 w 170"/>
                <a:gd name="T87" fmla="*/ 124 h 126"/>
                <a:gd name="T88" fmla="*/ 170 w 170"/>
                <a:gd name="T89" fmla="*/ 105 h 126"/>
                <a:gd name="T90" fmla="*/ 168 w 170"/>
                <a:gd name="T91" fmla="*/ 105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0" h="126">
                  <a:moveTo>
                    <a:pt x="168" y="105"/>
                  </a:moveTo>
                  <a:cubicBezTo>
                    <a:pt x="166" y="105"/>
                    <a:pt x="166" y="105"/>
                    <a:pt x="166" y="105"/>
                  </a:cubicBezTo>
                  <a:cubicBezTo>
                    <a:pt x="166" y="120"/>
                    <a:pt x="166" y="120"/>
                    <a:pt x="166" y="120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6"/>
                    <a:pt x="5" y="4"/>
                    <a:pt x="6" y="4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8" y="4"/>
                    <a:pt x="9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58" y="90"/>
                    <a:pt x="158" y="90"/>
                    <a:pt x="158" y="90"/>
                  </a:cubicBezTo>
                  <a:cubicBezTo>
                    <a:pt x="158" y="90"/>
                    <a:pt x="158" y="90"/>
                    <a:pt x="158" y="90"/>
                  </a:cubicBezTo>
                  <a:cubicBezTo>
                    <a:pt x="160" y="91"/>
                    <a:pt x="162" y="93"/>
                    <a:pt x="163" y="96"/>
                  </a:cubicBezTo>
                  <a:cubicBezTo>
                    <a:pt x="165" y="99"/>
                    <a:pt x="166" y="102"/>
                    <a:pt x="166" y="105"/>
                  </a:cubicBezTo>
                  <a:cubicBezTo>
                    <a:pt x="168" y="105"/>
                    <a:pt x="168" y="105"/>
                    <a:pt x="168" y="105"/>
                  </a:cubicBezTo>
                  <a:cubicBezTo>
                    <a:pt x="170" y="105"/>
                    <a:pt x="170" y="105"/>
                    <a:pt x="170" y="105"/>
                  </a:cubicBezTo>
                  <a:cubicBezTo>
                    <a:pt x="170" y="101"/>
                    <a:pt x="169" y="97"/>
                    <a:pt x="167" y="94"/>
                  </a:cubicBezTo>
                  <a:cubicBezTo>
                    <a:pt x="165" y="91"/>
                    <a:pt x="163" y="88"/>
                    <a:pt x="160" y="86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0"/>
                    <a:pt x="9" y="0"/>
                    <a:pt x="8" y="0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2"/>
                    <a:pt x="0" y="5"/>
                    <a:pt x="0" y="9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1" y="30"/>
                    <a:pt x="1" y="30"/>
                  </a:cubicBezTo>
                  <a:cubicBezTo>
                    <a:pt x="167" y="126"/>
                    <a:pt x="167" y="126"/>
                    <a:pt x="167" y="126"/>
                  </a:cubicBezTo>
                  <a:cubicBezTo>
                    <a:pt x="167" y="126"/>
                    <a:pt x="168" y="126"/>
                    <a:pt x="169" y="126"/>
                  </a:cubicBezTo>
                  <a:cubicBezTo>
                    <a:pt x="169" y="125"/>
                    <a:pt x="170" y="124"/>
                    <a:pt x="170" y="124"/>
                  </a:cubicBezTo>
                  <a:cubicBezTo>
                    <a:pt x="170" y="105"/>
                    <a:pt x="170" y="105"/>
                    <a:pt x="170" y="105"/>
                  </a:cubicBezTo>
                  <a:lnTo>
                    <a:pt x="168" y="105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8" name="Freeform 132">
              <a:extLst>
                <a:ext uri="{FF2B5EF4-FFF2-40B4-BE49-F238E27FC236}">
                  <a16:creationId xmlns:a16="http://schemas.microsoft.com/office/drawing/2014/main" id="{11844ACB-7959-4A54-B213-C31910276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400" y="7300586"/>
              <a:ext cx="41275" cy="119063"/>
            </a:xfrm>
            <a:custGeom>
              <a:avLst/>
              <a:gdLst>
                <a:gd name="T0" fmla="*/ 26 w 26"/>
                <a:gd name="T1" fmla="*/ 75 h 75"/>
                <a:gd name="T2" fmla="*/ 0 w 26"/>
                <a:gd name="T3" fmla="*/ 60 h 75"/>
                <a:gd name="T4" fmla="*/ 0 w 26"/>
                <a:gd name="T5" fmla="*/ 0 h 75"/>
                <a:gd name="T6" fmla="*/ 26 w 26"/>
                <a:gd name="T7" fmla="*/ 16 h 75"/>
                <a:gd name="T8" fmla="*/ 26 w 26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75">
                  <a:moveTo>
                    <a:pt x="26" y="75"/>
                  </a:moveTo>
                  <a:lnTo>
                    <a:pt x="0" y="60"/>
                  </a:lnTo>
                  <a:lnTo>
                    <a:pt x="0" y="0"/>
                  </a:lnTo>
                  <a:lnTo>
                    <a:pt x="26" y="16"/>
                  </a:lnTo>
                  <a:lnTo>
                    <a:pt x="26" y="7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9" name="Freeform 133">
              <a:extLst>
                <a:ext uri="{FF2B5EF4-FFF2-40B4-BE49-F238E27FC236}">
                  <a16:creationId xmlns:a16="http://schemas.microsoft.com/office/drawing/2014/main" id="{B3779B8B-5CC7-4005-B612-B9A7EFB31F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0463" y="7292649"/>
              <a:ext cx="57150" cy="134938"/>
            </a:xfrm>
            <a:custGeom>
              <a:avLst/>
              <a:gdLst>
                <a:gd name="T0" fmla="*/ 12 w 14"/>
                <a:gd name="T1" fmla="*/ 31 h 33"/>
                <a:gd name="T2" fmla="*/ 13 w 14"/>
                <a:gd name="T3" fmla="*/ 30 h 33"/>
                <a:gd name="T4" fmla="*/ 4 w 14"/>
                <a:gd name="T5" fmla="*/ 24 h 33"/>
                <a:gd name="T6" fmla="*/ 4 w 14"/>
                <a:gd name="T7" fmla="*/ 5 h 33"/>
                <a:gd name="T8" fmla="*/ 10 w 14"/>
                <a:gd name="T9" fmla="*/ 9 h 33"/>
                <a:gd name="T10" fmla="*/ 10 w 14"/>
                <a:gd name="T11" fmla="*/ 31 h 33"/>
                <a:gd name="T12" fmla="*/ 12 w 14"/>
                <a:gd name="T13" fmla="*/ 31 h 33"/>
                <a:gd name="T14" fmla="*/ 13 w 14"/>
                <a:gd name="T15" fmla="*/ 30 h 33"/>
                <a:gd name="T16" fmla="*/ 12 w 14"/>
                <a:gd name="T17" fmla="*/ 31 h 33"/>
                <a:gd name="T18" fmla="*/ 14 w 14"/>
                <a:gd name="T19" fmla="*/ 31 h 33"/>
                <a:gd name="T20" fmla="*/ 14 w 14"/>
                <a:gd name="T21" fmla="*/ 8 h 33"/>
                <a:gd name="T22" fmla="*/ 13 w 14"/>
                <a:gd name="T23" fmla="*/ 6 h 33"/>
                <a:gd name="T24" fmla="*/ 3 w 14"/>
                <a:gd name="T25" fmla="*/ 0 h 33"/>
                <a:gd name="T26" fmla="*/ 1 w 14"/>
                <a:gd name="T27" fmla="*/ 0 h 33"/>
                <a:gd name="T28" fmla="*/ 0 w 14"/>
                <a:gd name="T29" fmla="*/ 2 h 33"/>
                <a:gd name="T30" fmla="*/ 0 w 14"/>
                <a:gd name="T31" fmla="*/ 25 h 33"/>
                <a:gd name="T32" fmla="*/ 1 w 14"/>
                <a:gd name="T33" fmla="*/ 27 h 33"/>
                <a:gd name="T34" fmla="*/ 11 w 14"/>
                <a:gd name="T35" fmla="*/ 33 h 33"/>
                <a:gd name="T36" fmla="*/ 13 w 14"/>
                <a:gd name="T37" fmla="*/ 33 h 33"/>
                <a:gd name="T38" fmla="*/ 14 w 14"/>
                <a:gd name="T39" fmla="*/ 31 h 33"/>
                <a:gd name="T40" fmla="*/ 12 w 14"/>
                <a:gd name="T41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" h="33">
                  <a:moveTo>
                    <a:pt x="12" y="31"/>
                  </a:moveTo>
                  <a:cubicBezTo>
                    <a:pt x="13" y="30"/>
                    <a:pt x="13" y="30"/>
                    <a:pt x="13" y="30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31"/>
                    <a:pt x="10" y="31"/>
                    <a:pt x="10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4" y="6"/>
                    <a:pt x="13" y="6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0" y="27"/>
                    <a:pt x="1" y="27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2" y="33"/>
                    <a:pt x="12" y="33"/>
                    <a:pt x="13" y="33"/>
                  </a:cubicBezTo>
                  <a:cubicBezTo>
                    <a:pt x="14" y="33"/>
                    <a:pt x="14" y="32"/>
                    <a:pt x="14" y="31"/>
                  </a:cubicBezTo>
                  <a:lnTo>
                    <a:pt x="12" y="31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0" name="Freeform 134">
              <a:extLst>
                <a:ext uri="{FF2B5EF4-FFF2-40B4-BE49-F238E27FC236}">
                  <a16:creationId xmlns:a16="http://schemas.microsoft.com/office/drawing/2014/main" id="{86F8472A-1135-41F7-A9E2-6673657959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6775" y="7125961"/>
              <a:ext cx="44450" cy="122238"/>
            </a:xfrm>
            <a:custGeom>
              <a:avLst/>
              <a:gdLst>
                <a:gd name="T0" fmla="*/ 28 w 28"/>
                <a:gd name="T1" fmla="*/ 77 h 77"/>
                <a:gd name="T2" fmla="*/ 0 w 28"/>
                <a:gd name="T3" fmla="*/ 62 h 77"/>
                <a:gd name="T4" fmla="*/ 0 w 28"/>
                <a:gd name="T5" fmla="*/ 0 h 77"/>
                <a:gd name="T6" fmla="*/ 28 w 28"/>
                <a:gd name="T7" fmla="*/ 15 h 77"/>
                <a:gd name="T8" fmla="*/ 28 w 28"/>
                <a:gd name="T9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77">
                  <a:moveTo>
                    <a:pt x="28" y="77"/>
                  </a:moveTo>
                  <a:lnTo>
                    <a:pt x="0" y="62"/>
                  </a:lnTo>
                  <a:lnTo>
                    <a:pt x="0" y="0"/>
                  </a:lnTo>
                  <a:lnTo>
                    <a:pt x="28" y="15"/>
                  </a:lnTo>
                  <a:lnTo>
                    <a:pt x="28" y="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1" name="Freeform 135">
              <a:extLst>
                <a:ext uri="{FF2B5EF4-FFF2-40B4-BE49-F238E27FC236}">
                  <a16:creationId xmlns:a16="http://schemas.microsoft.com/office/drawing/2014/main" id="{FCD0D647-9A05-442D-AF30-77A19BCA37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7118024"/>
              <a:ext cx="60325" cy="138113"/>
            </a:xfrm>
            <a:custGeom>
              <a:avLst/>
              <a:gdLst>
                <a:gd name="T0" fmla="*/ 13 w 15"/>
                <a:gd name="T1" fmla="*/ 32 h 34"/>
                <a:gd name="T2" fmla="*/ 14 w 15"/>
                <a:gd name="T3" fmla="*/ 30 h 34"/>
                <a:gd name="T4" fmla="*/ 4 w 15"/>
                <a:gd name="T5" fmla="*/ 25 h 34"/>
                <a:gd name="T6" fmla="*/ 4 w 15"/>
                <a:gd name="T7" fmla="*/ 6 h 34"/>
                <a:gd name="T8" fmla="*/ 11 w 15"/>
                <a:gd name="T9" fmla="*/ 9 h 34"/>
                <a:gd name="T10" fmla="*/ 11 w 15"/>
                <a:gd name="T11" fmla="*/ 32 h 34"/>
                <a:gd name="T12" fmla="*/ 13 w 15"/>
                <a:gd name="T13" fmla="*/ 32 h 34"/>
                <a:gd name="T14" fmla="*/ 14 w 15"/>
                <a:gd name="T15" fmla="*/ 30 h 34"/>
                <a:gd name="T16" fmla="*/ 13 w 15"/>
                <a:gd name="T17" fmla="*/ 32 h 34"/>
                <a:gd name="T18" fmla="*/ 15 w 15"/>
                <a:gd name="T19" fmla="*/ 32 h 34"/>
                <a:gd name="T20" fmla="*/ 15 w 15"/>
                <a:gd name="T21" fmla="*/ 8 h 34"/>
                <a:gd name="T22" fmla="*/ 14 w 15"/>
                <a:gd name="T23" fmla="*/ 7 h 34"/>
                <a:gd name="T24" fmla="*/ 3 w 15"/>
                <a:gd name="T25" fmla="*/ 0 h 34"/>
                <a:gd name="T26" fmla="*/ 1 w 15"/>
                <a:gd name="T27" fmla="*/ 0 h 34"/>
                <a:gd name="T28" fmla="*/ 0 w 15"/>
                <a:gd name="T29" fmla="*/ 2 h 34"/>
                <a:gd name="T30" fmla="*/ 0 w 15"/>
                <a:gd name="T31" fmla="*/ 26 h 34"/>
                <a:gd name="T32" fmla="*/ 1 w 15"/>
                <a:gd name="T33" fmla="*/ 28 h 34"/>
                <a:gd name="T34" fmla="*/ 12 w 15"/>
                <a:gd name="T35" fmla="*/ 34 h 34"/>
                <a:gd name="T36" fmla="*/ 14 w 15"/>
                <a:gd name="T37" fmla="*/ 34 h 34"/>
                <a:gd name="T38" fmla="*/ 15 w 15"/>
                <a:gd name="T39" fmla="*/ 32 h 34"/>
                <a:gd name="T40" fmla="*/ 13 w 15"/>
                <a:gd name="T41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" h="34">
                  <a:moveTo>
                    <a:pt x="13" y="32"/>
                  </a:moveTo>
                  <a:cubicBezTo>
                    <a:pt x="14" y="30"/>
                    <a:pt x="14" y="30"/>
                    <a:pt x="14" y="30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4" y="7"/>
                    <a:pt x="14" y="7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7"/>
                    <a:pt x="1" y="28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3" y="34"/>
                    <a:pt x="14" y="34"/>
                  </a:cubicBezTo>
                  <a:cubicBezTo>
                    <a:pt x="14" y="33"/>
                    <a:pt x="15" y="33"/>
                    <a:pt x="15" y="32"/>
                  </a:cubicBezTo>
                  <a:lnTo>
                    <a:pt x="13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2" name="Freeform 136">
              <a:extLst>
                <a:ext uri="{FF2B5EF4-FFF2-40B4-BE49-F238E27FC236}">
                  <a16:creationId xmlns:a16="http://schemas.microsoft.com/office/drawing/2014/main" id="{59FAD872-12F9-4CE1-9807-D8D877807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25" y="7125961"/>
              <a:ext cx="41275" cy="73025"/>
            </a:xfrm>
            <a:custGeom>
              <a:avLst/>
              <a:gdLst>
                <a:gd name="T0" fmla="*/ 0 w 26"/>
                <a:gd name="T1" fmla="*/ 46 h 46"/>
                <a:gd name="T2" fmla="*/ 26 w 26"/>
                <a:gd name="T3" fmla="*/ 31 h 46"/>
                <a:gd name="T4" fmla="*/ 26 w 26"/>
                <a:gd name="T5" fmla="*/ 0 h 46"/>
                <a:gd name="T6" fmla="*/ 0 w 26"/>
                <a:gd name="T7" fmla="*/ 15 h 46"/>
                <a:gd name="T8" fmla="*/ 0 w 26"/>
                <a:gd name="T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46">
                  <a:moveTo>
                    <a:pt x="0" y="46"/>
                  </a:moveTo>
                  <a:lnTo>
                    <a:pt x="26" y="31"/>
                  </a:lnTo>
                  <a:lnTo>
                    <a:pt x="26" y="0"/>
                  </a:lnTo>
                  <a:lnTo>
                    <a:pt x="0" y="15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3" name="Freeform 137">
              <a:extLst>
                <a:ext uri="{FF2B5EF4-FFF2-40B4-BE49-F238E27FC236}">
                  <a16:creationId xmlns:a16="http://schemas.microsoft.com/office/drawing/2014/main" id="{F6DB967F-BC0B-4391-B710-1A71F1689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3288" y="7118024"/>
              <a:ext cx="57150" cy="88900"/>
            </a:xfrm>
            <a:custGeom>
              <a:avLst/>
              <a:gdLst>
                <a:gd name="T0" fmla="*/ 2 w 14"/>
                <a:gd name="T1" fmla="*/ 20 h 22"/>
                <a:gd name="T2" fmla="*/ 3 w 14"/>
                <a:gd name="T3" fmla="*/ 22 h 22"/>
                <a:gd name="T4" fmla="*/ 13 w 14"/>
                <a:gd name="T5" fmla="*/ 16 h 22"/>
                <a:gd name="T6" fmla="*/ 14 w 14"/>
                <a:gd name="T7" fmla="*/ 14 h 22"/>
                <a:gd name="T8" fmla="*/ 14 w 14"/>
                <a:gd name="T9" fmla="*/ 2 h 22"/>
                <a:gd name="T10" fmla="*/ 13 w 14"/>
                <a:gd name="T11" fmla="*/ 1 h 22"/>
                <a:gd name="T12" fmla="*/ 11 w 14"/>
                <a:gd name="T13" fmla="*/ 1 h 22"/>
                <a:gd name="T14" fmla="*/ 1 w 14"/>
                <a:gd name="T15" fmla="*/ 7 h 22"/>
                <a:gd name="T16" fmla="*/ 0 w 14"/>
                <a:gd name="T17" fmla="*/ 8 h 22"/>
                <a:gd name="T18" fmla="*/ 0 w 14"/>
                <a:gd name="T19" fmla="*/ 20 h 22"/>
                <a:gd name="T20" fmla="*/ 1 w 14"/>
                <a:gd name="T21" fmla="*/ 22 h 22"/>
                <a:gd name="T22" fmla="*/ 3 w 14"/>
                <a:gd name="T23" fmla="*/ 22 h 22"/>
                <a:gd name="T24" fmla="*/ 2 w 14"/>
                <a:gd name="T25" fmla="*/ 20 h 22"/>
                <a:gd name="T26" fmla="*/ 4 w 14"/>
                <a:gd name="T27" fmla="*/ 20 h 22"/>
                <a:gd name="T28" fmla="*/ 4 w 14"/>
                <a:gd name="T29" fmla="*/ 9 h 22"/>
                <a:gd name="T30" fmla="*/ 10 w 14"/>
                <a:gd name="T31" fmla="*/ 6 h 22"/>
                <a:gd name="T32" fmla="*/ 10 w 14"/>
                <a:gd name="T33" fmla="*/ 13 h 22"/>
                <a:gd name="T34" fmla="*/ 1 w 14"/>
                <a:gd name="T35" fmla="*/ 18 h 22"/>
                <a:gd name="T36" fmla="*/ 2 w 14"/>
                <a:gd name="T37" fmla="*/ 20 h 22"/>
                <a:gd name="T38" fmla="*/ 4 w 14"/>
                <a:gd name="T39" fmla="*/ 20 h 22"/>
                <a:gd name="T40" fmla="*/ 2 w 14"/>
                <a:gd name="T4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" h="22">
                  <a:moveTo>
                    <a:pt x="2" y="20"/>
                  </a:moveTo>
                  <a:cubicBezTo>
                    <a:pt x="3" y="22"/>
                    <a:pt x="3" y="22"/>
                    <a:pt x="3" y="22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4" y="16"/>
                    <a:pt x="14" y="15"/>
                    <a:pt x="14" y="1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1"/>
                    <a:pt x="13" y="1"/>
                  </a:cubicBezTo>
                  <a:cubicBezTo>
                    <a:pt x="12" y="0"/>
                    <a:pt x="12" y="0"/>
                    <a:pt x="11" y="1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1"/>
                    <a:pt x="1" y="22"/>
                  </a:cubicBezTo>
                  <a:cubicBezTo>
                    <a:pt x="1" y="22"/>
                    <a:pt x="2" y="22"/>
                    <a:pt x="3" y="22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4" y="20"/>
                    <a:pt x="4" y="20"/>
                    <a:pt x="4" y="20"/>
                  </a:cubicBezTo>
                  <a:lnTo>
                    <a:pt x="2" y="20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4" name="Freeform 138">
              <a:extLst>
                <a:ext uri="{FF2B5EF4-FFF2-40B4-BE49-F238E27FC236}">
                  <a16:creationId xmlns:a16="http://schemas.microsoft.com/office/drawing/2014/main" id="{93BF5835-6401-4834-B572-4C4F387CC0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6775" y="7102149"/>
              <a:ext cx="85725" cy="47625"/>
            </a:xfrm>
            <a:custGeom>
              <a:avLst/>
              <a:gdLst>
                <a:gd name="T0" fmla="*/ 25 w 54"/>
                <a:gd name="T1" fmla="*/ 0 h 30"/>
                <a:gd name="T2" fmla="*/ 0 w 54"/>
                <a:gd name="T3" fmla="*/ 15 h 30"/>
                <a:gd name="T4" fmla="*/ 28 w 54"/>
                <a:gd name="T5" fmla="*/ 30 h 30"/>
                <a:gd name="T6" fmla="*/ 54 w 54"/>
                <a:gd name="T7" fmla="*/ 15 h 30"/>
                <a:gd name="T8" fmla="*/ 25 w 54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0">
                  <a:moveTo>
                    <a:pt x="25" y="0"/>
                  </a:moveTo>
                  <a:lnTo>
                    <a:pt x="0" y="15"/>
                  </a:lnTo>
                  <a:lnTo>
                    <a:pt x="28" y="30"/>
                  </a:lnTo>
                  <a:lnTo>
                    <a:pt x="54" y="15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5" name="Freeform 139">
              <a:extLst>
                <a:ext uri="{FF2B5EF4-FFF2-40B4-BE49-F238E27FC236}">
                  <a16:creationId xmlns:a16="http://schemas.microsoft.com/office/drawing/2014/main" id="{191E2F87-84AA-4F38-B640-7BF8F521E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8838" y="7092624"/>
              <a:ext cx="101600" cy="66675"/>
            </a:xfrm>
            <a:custGeom>
              <a:avLst/>
              <a:gdLst>
                <a:gd name="T0" fmla="*/ 12 w 25"/>
                <a:gd name="T1" fmla="*/ 2 h 16"/>
                <a:gd name="T2" fmla="*/ 11 w 25"/>
                <a:gd name="T3" fmla="*/ 1 h 16"/>
                <a:gd name="T4" fmla="*/ 1 w 25"/>
                <a:gd name="T5" fmla="*/ 6 h 16"/>
                <a:gd name="T6" fmla="*/ 0 w 25"/>
                <a:gd name="T7" fmla="*/ 8 h 16"/>
                <a:gd name="T8" fmla="*/ 1 w 25"/>
                <a:gd name="T9" fmla="*/ 10 h 16"/>
                <a:gd name="T10" fmla="*/ 12 w 25"/>
                <a:gd name="T11" fmla="*/ 16 h 16"/>
                <a:gd name="T12" fmla="*/ 14 w 25"/>
                <a:gd name="T13" fmla="*/ 16 h 16"/>
                <a:gd name="T14" fmla="*/ 24 w 25"/>
                <a:gd name="T15" fmla="*/ 10 h 16"/>
                <a:gd name="T16" fmla="*/ 25 w 25"/>
                <a:gd name="T17" fmla="*/ 8 h 16"/>
                <a:gd name="T18" fmla="*/ 24 w 25"/>
                <a:gd name="T19" fmla="*/ 7 h 16"/>
                <a:gd name="T20" fmla="*/ 13 w 25"/>
                <a:gd name="T21" fmla="*/ 1 h 16"/>
                <a:gd name="T22" fmla="*/ 11 w 25"/>
                <a:gd name="T23" fmla="*/ 1 h 16"/>
                <a:gd name="T24" fmla="*/ 12 w 25"/>
                <a:gd name="T25" fmla="*/ 2 h 16"/>
                <a:gd name="T26" fmla="*/ 11 w 25"/>
                <a:gd name="T27" fmla="*/ 4 h 16"/>
                <a:gd name="T28" fmla="*/ 19 w 25"/>
                <a:gd name="T29" fmla="*/ 8 h 16"/>
                <a:gd name="T30" fmla="*/ 13 w 25"/>
                <a:gd name="T31" fmla="*/ 12 h 16"/>
                <a:gd name="T32" fmla="*/ 6 w 25"/>
                <a:gd name="T33" fmla="*/ 8 h 16"/>
                <a:gd name="T34" fmla="*/ 13 w 25"/>
                <a:gd name="T35" fmla="*/ 4 h 16"/>
                <a:gd name="T36" fmla="*/ 12 w 25"/>
                <a:gd name="T37" fmla="*/ 2 h 16"/>
                <a:gd name="T38" fmla="*/ 11 w 25"/>
                <a:gd name="T39" fmla="*/ 4 h 16"/>
                <a:gd name="T40" fmla="*/ 12 w 25"/>
                <a:gd name="T41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6">
                  <a:moveTo>
                    <a:pt x="12" y="2"/>
                  </a:moveTo>
                  <a:cubicBezTo>
                    <a:pt x="11" y="1"/>
                    <a:pt x="11" y="1"/>
                    <a:pt x="11" y="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9"/>
                    <a:pt x="0" y="10"/>
                    <a:pt x="1" y="10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3" y="16"/>
                    <a:pt x="14" y="16"/>
                  </a:cubicBezTo>
                  <a:cubicBezTo>
                    <a:pt x="24" y="10"/>
                    <a:pt x="24" y="10"/>
                    <a:pt x="24" y="10"/>
                  </a:cubicBezTo>
                  <a:cubicBezTo>
                    <a:pt x="25" y="10"/>
                    <a:pt x="25" y="9"/>
                    <a:pt x="25" y="8"/>
                  </a:cubicBezTo>
                  <a:cubicBezTo>
                    <a:pt x="25" y="8"/>
                    <a:pt x="25" y="7"/>
                    <a:pt x="24" y="7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0"/>
                    <a:pt x="12" y="0"/>
                    <a:pt x="11" y="1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4"/>
                    <a:pt x="11" y="4"/>
                    <a:pt x="11" y="4"/>
                  </a:cubicBezTo>
                  <a:lnTo>
                    <a:pt x="12" y="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6" name="Freeform 140">
              <a:extLst>
                <a:ext uri="{FF2B5EF4-FFF2-40B4-BE49-F238E27FC236}">
                  <a16:creationId xmlns:a16="http://schemas.microsoft.com/office/drawing/2014/main" id="{C7291E90-A94A-45F4-9274-48BFDC2AD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9675" y="7300586"/>
              <a:ext cx="39688" cy="74613"/>
            </a:xfrm>
            <a:custGeom>
              <a:avLst/>
              <a:gdLst>
                <a:gd name="T0" fmla="*/ 0 w 25"/>
                <a:gd name="T1" fmla="*/ 47 h 47"/>
                <a:gd name="T2" fmla="*/ 25 w 25"/>
                <a:gd name="T3" fmla="*/ 31 h 47"/>
                <a:gd name="T4" fmla="*/ 25 w 25"/>
                <a:gd name="T5" fmla="*/ 0 h 47"/>
                <a:gd name="T6" fmla="*/ 0 w 25"/>
                <a:gd name="T7" fmla="*/ 16 h 47"/>
                <a:gd name="T8" fmla="*/ 0 w 25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7">
                  <a:moveTo>
                    <a:pt x="0" y="47"/>
                  </a:moveTo>
                  <a:lnTo>
                    <a:pt x="25" y="31"/>
                  </a:lnTo>
                  <a:lnTo>
                    <a:pt x="25" y="0"/>
                  </a:lnTo>
                  <a:lnTo>
                    <a:pt x="0" y="16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7" name="Freeform 141">
              <a:extLst>
                <a:ext uri="{FF2B5EF4-FFF2-40B4-BE49-F238E27FC236}">
                  <a16:creationId xmlns:a16="http://schemas.microsoft.com/office/drawing/2014/main" id="{D272C10C-D5D7-452F-B37B-498DF4E3B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738" y="7292649"/>
              <a:ext cx="57150" cy="90488"/>
            </a:xfrm>
            <a:custGeom>
              <a:avLst/>
              <a:gdLst>
                <a:gd name="T0" fmla="*/ 2 w 14"/>
                <a:gd name="T1" fmla="*/ 20 h 22"/>
                <a:gd name="T2" fmla="*/ 3 w 14"/>
                <a:gd name="T3" fmla="*/ 21 h 22"/>
                <a:gd name="T4" fmla="*/ 13 w 14"/>
                <a:gd name="T5" fmla="*/ 15 h 22"/>
                <a:gd name="T6" fmla="*/ 14 w 14"/>
                <a:gd name="T7" fmla="*/ 14 h 22"/>
                <a:gd name="T8" fmla="*/ 14 w 14"/>
                <a:gd name="T9" fmla="*/ 2 h 22"/>
                <a:gd name="T10" fmla="*/ 13 w 14"/>
                <a:gd name="T11" fmla="*/ 0 h 22"/>
                <a:gd name="T12" fmla="*/ 12 w 14"/>
                <a:gd name="T13" fmla="*/ 0 h 22"/>
                <a:gd name="T14" fmla="*/ 1 w 14"/>
                <a:gd name="T15" fmla="*/ 6 h 22"/>
                <a:gd name="T16" fmla="*/ 0 w 14"/>
                <a:gd name="T17" fmla="*/ 8 h 22"/>
                <a:gd name="T18" fmla="*/ 0 w 14"/>
                <a:gd name="T19" fmla="*/ 20 h 22"/>
                <a:gd name="T20" fmla="*/ 1 w 14"/>
                <a:gd name="T21" fmla="*/ 21 h 22"/>
                <a:gd name="T22" fmla="*/ 3 w 14"/>
                <a:gd name="T23" fmla="*/ 21 h 22"/>
                <a:gd name="T24" fmla="*/ 2 w 14"/>
                <a:gd name="T25" fmla="*/ 20 h 22"/>
                <a:gd name="T26" fmla="*/ 4 w 14"/>
                <a:gd name="T27" fmla="*/ 20 h 22"/>
                <a:gd name="T28" fmla="*/ 4 w 14"/>
                <a:gd name="T29" fmla="*/ 9 h 22"/>
                <a:gd name="T30" fmla="*/ 10 w 14"/>
                <a:gd name="T31" fmla="*/ 5 h 22"/>
                <a:gd name="T32" fmla="*/ 10 w 14"/>
                <a:gd name="T33" fmla="*/ 12 h 22"/>
                <a:gd name="T34" fmla="*/ 1 w 14"/>
                <a:gd name="T35" fmla="*/ 18 h 22"/>
                <a:gd name="T36" fmla="*/ 2 w 14"/>
                <a:gd name="T37" fmla="*/ 20 h 22"/>
                <a:gd name="T38" fmla="*/ 4 w 14"/>
                <a:gd name="T39" fmla="*/ 20 h 22"/>
                <a:gd name="T40" fmla="*/ 2 w 14"/>
                <a:gd name="T4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" h="22">
                  <a:moveTo>
                    <a:pt x="2" y="20"/>
                  </a:moveTo>
                  <a:cubicBezTo>
                    <a:pt x="3" y="21"/>
                    <a:pt x="3" y="21"/>
                    <a:pt x="3" y="21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4" y="15"/>
                    <a:pt x="14" y="14"/>
                    <a:pt x="14" y="1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4" y="0"/>
                    <a:pt x="13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0"/>
                    <a:pt x="0" y="21"/>
                    <a:pt x="1" y="21"/>
                  </a:cubicBezTo>
                  <a:cubicBezTo>
                    <a:pt x="2" y="22"/>
                    <a:pt x="2" y="22"/>
                    <a:pt x="3" y="2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4" y="20"/>
                    <a:pt x="4" y="20"/>
                    <a:pt x="4" y="20"/>
                  </a:cubicBezTo>
                  <a:lnTo>
                    <a:pt x="2" y="20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8" name="Freeform 142">
              <a:extLst>
                <a:ext uri="{FF2B5EF4-FFF2-40B4-BE49-F238E27FC236}">
                  <a16:creationId xmlns:a16="http://schemas.microsoft.com/office/drawing/2014/main" id="{9A41DB60-707B-48FD-AF77-435112914A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400" y="7276774"/>
              <a:ext cx="80963" cy="49213"/>
            </a:xfrm>
            <a:custGeom>
              <a:avLst/>
              <a:gdLst>
                <a:gd name="T0" fmla="*/ 26 w 51"/>
                <a:gd name="T1" fmla="*/ 0 h 31"/>
                <a:gd name="T2" fmla="*/ 0 w 51"/>
                <a:gd name="T3" fmla="*/ 15 h 31"/>
                <a:gd name="T4" fmla="*/ 26 w 51"/>
                <a:gd name="T5" fmla="*/ 31 h 31"/>
                <a:gd name="T6" fmla="*/ 51 w 51"/>
                <a:gd name="T7" fmla="*/ 15 h 31"/>
                <a:gd name="T8" fmla="*/ 26 w 51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1">
                  <a:moveTo>
                    <a:pt x="26" y="0"/>
                  </a:moveTo>
                  <a:lnTo>
                    <a:pt x="0" y="15"/>
                  </a:lnTo>
                  <a:lnTo>
                    <a:pt x="26" y="31"/>
                  </a:lnTo>
                  <a:lnTo>
                    <a:pt x="51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9" name="Freeform 143">
              <a:extLst>
                <a:ext uri="{FF2B5EF4-FFF2-40B4-BE49-F238E27FC236}">
                  <a16:creationId xmlns:a16="http://schemas.microsoft.com/office/drawing/2014/main" id="{DE9548F3-2A97-4A99-AADB-FCE761ABF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0463" y="7268836"/>
              <a:ext cx="98425" cy="65088"/>
            </a:xfrm>
            <a:custGeom>
              <a:avLst/>
              <a:gdLst>
                <a:gd name="T0" fmla="*/ 12 w 24"/>
                <a:gd name="T1" fmla="*/ 2 h 16"/>
                <a:gd name="T2" fmla="*/ 11 w 24"/>
                <a:gd name="T3" fmla="*/ 0 h 16"/>
                <a:gd name="T4" fmla="*/ 1 w 24"/>
                <a:gd name="T5" fmla="*/ 6 h 16"/>
                <a:gd name="T6" fmla="*/ 0 w 24"/>
                <a:gd name="T7" fmla="*/ 8 h 16"/>
                <a:gd name="T8" fmla="*/ 1 w 24"/>
                <a:gd name="T9" fmla="*/ 9 h 16"/>
                <a:gd name="T10" fmla="*/ 11 w 24"/>
                <a:gd name="T11" fmla="*/ 15 h 16"/>
                <a:gd name="T12" fmla="*/ 13 w 24"/>
                <a:gd name="T13" fmla="*/ 15 h 16"/>
                <a:gd name="T14" fmla="*/ 23 w 24"/>
                <a:gd name="T15" fmla="*/ 10 h 16"/>
                <a:gd name="T16" fmla="*/ 24 w 24"/>
                <a:gd name="T17" fmla="*/ 8 h 16"/>
                <a:gd name="T18" fmla="*/ 23 w 24"/>
                <a:gd name="T19" fmla="*/ 6 h 16"/>
                <a:gd name="T20" fmla="*/ 13 w 24"/>
                <a:gd name="T21" fmla="*/ 0 h 16"/>
                <a:gd name="T22" fmla="*/ 11 w 24"/>
                <a:gd name="T23" fmla="*/ 0 h 16"/>
                <a:gd name="T24" fmla="*/ 12 w 24"/>
                <a:gd name="T25" fmla="*/ 2 h 16"/>
                <a:gd name="T26" fmla="*/ 11 w 24"/>
                <a:gd name="T27" fmla="*/ 4 h 16"/>
                <a:gd name="T28" fmla="*/ 18 w 24"/>
                <a:gd name="T29" fmla="*/ 8 h 16"/>
                <a:gd name="T30" fmla="*/ 12 w 24"/>
                <a:gd name="T31" fmla="*/ 11 h 16"/>
                <a:gd name="T32" fmla="*/ 6 w 24"/>
                <a:gd name="T33" fmla="*/ 8 h 16"/>
                <a:gd name="T34" fmla="*/ 13 w 24"/>
                <a:gd name="T35" fmla="*/ 4 h 16"/>
                <a:gd name="T36" fmla="*/ 12 w 24"/>
                <a:gd name="T37" fmla="*/ 2 h 16"/>
                <a:gd name="T38" fmla="*/ 11 w 24"/>
                <a:gd name="T39" fmla="*/ 4 h 16"/>
                <a:gd name="T40" fmla="*/ 12 w 24"/>
                <a:gd name="T41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" h="16">
                  <a:moveTo>
                    <a:pt x="12" y="2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2" y="16"/>
                    <a:pt x="12" y="16"/>
                    <a:pt x="13" y="15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4" y="9"/>
                    <a:pt x="24" y="9"/>
                    <a:pt x="24" y="8"/>
                  </a:cubicBezTo>
                  <a:cubicBezTo>
                    <a:pt x="24" y="7"/>
                    <a:pt x="24" y="6"/>
                    <a:pt x="23" y="6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4"/>
                    <a:pt x="11" y="4"/>
                    <a:pt x="11" y="4"/>
                  </a:cubicBezTo>
                  <a:lnTo>
                    <a:pt x="12" y="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0" name="Freeform 144">
              <a:extLst>
                <a:ext uri="{FF2B5EF4-FFF2-40B4-BE49-F238E27FC236}">
                  <a16:creationId xmlns:a16="http://schemas.microsoft.com/office/drawing/2014/main" id="{83F66F36-33EC-4E86-86C7-34D5C26EDD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6363" y="7570461"/>
              <a:ext cx="41275" cy="595313"/>
            </a:xfrm>
            <a:custGeom>
              <a:avLst/>
              <a:gdLst>
                <a:gd name="T0" fmla="*/ 0 w 26"/>
                <a:gd name="T1" fmla="*/ 15 h 375"/>
                <a:gd name="T2" fmla="*/ 26 w 26"/>
                <a:gd name="T3" fmla="*/ 0 h 375"/>
                <a:gd name="T4" fmla="*/ 26 w 26"/>
                <a:gd name="T5" fmla="*/ 360 h 375"/>
                <a:gd name="T6" fmla="*/ 0 w 26"/>
                <a:gd name="T7" fmla="*/ 375 h 375"/>
                <a:gd name="T8" fmla="*/ 0 w 26"/>
                <a:gd name="T9" fmla="*/ 15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375">
                  <a:moveTo>
                    <a:pt x="0" y="15"/>
                  </a:moveTo>
                  <a:lnTo>
                    <a:pt x="26" y="0"/>
                  </a:lnTo>
                  <a:lnTo>
                    <a:pt x="26" y="360"/>
                  </a:lnTo>
                  <a:lnTo>
                    <a:pt x="0" y="37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1" name="Freeform 145">
              <a:extLst>
                <a:ext uri="{FF2B5EF4-FFF2-40B4-BE49-F238E27FC236}">
                  <a16:creationId xmlns:a16="http://schemas.microsoft.com/office/drawing/2014/main" id="{47219265-F589-4CAD-AF20-DEB951BD90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8425" y="7562524"/>
              <a:ext cx="57150" cy="611188"/>
            </a:xfrm>
            <a:custGeom>
              <a:avLst/>
              <a:gdLst>
                <a:gd name="T0" fmla="*/ 2 w 14"/>
                <a:gd name="T1" fmla="*/ 8 h 150"/>
                <a:gd name="T2" fmla="*/ 3 w 14"/>
                <a:gd name="T3" fmla="*/ 10 h 150"/>
                <a:gd name="T4" fmla="*/ 10 w 14"/>
                <a:gd name="T5" fmla="*/ 5 h 150"/>
                <a:gd name="T6" fmla="*/ 10 w 14"/>
                <a:gd name="T7" fmla="*/ 141 h 150"/>
                <a:gd name="T8" fmla="*/ 4 w 14"/>
                <a:gd name="T9" fmla="*/ 144 h 150"/>
                <a:gd name="T10" fmla="*/ 4 w 14"/>
                <a:gd name="T11" fmla="*/ 8 h 150"/>
                <a:gd name="T12" fmla="*/ 2 w 14"/>
                <a:gd name="T13" fmla="*/ 8 h 150"/>
                <a:gd name="T14" fmla="*/ 3 w 14"/>
                <a:gd name="T15" fmla="*/ 10 h 150"/>
                <a:gd name="T16" fmla="*/ 2 w 14"/>
                <a:gd name="T17" fmla="*/ 8 h 150"/>
                <a:gd name="T18" fmla="*/ 0 w 14"/>
                <a:gd name="T19" fmla="*/ 8 h 150"/>
                <a:gd name="T20" fmla="*/ 0 w 14"/>
                <a:gd name="T21" fmla="*/ 148 h 150"/>
                <a:gd name="T22" fmla="*/ 1 w 14"/>
                <a:gd name="T23" fmla="*/ 149 h 150"/>
                <a:gd name="T24" fmla="*/ 3 w 14"/>
                <a:gd name="T25" fmla="*/ 149 h 150"/>
                <a:gd name="T26" fmla="*/ 13 w 14"/>
                <a:gd name="T27" fmla="*/ 144 h 150"/>
                <a:gd name="T28" fmla="*/ 14 w 14"/>
                <a:gd name="T29" fmla="*/ 142 h 150"/>
                <a:gd name="T30" fmla="*/ 14 w 14"/>
                <a:gd name="T31" fmla="*/ 2 h 150"/>
                <a:gd name="T32" fmla="*/ 13 w 14"/>
                <a:gd name="T33" fmla="*/ 0 h 150"/>
                <a:gd name="T34" fmla="*/ 11 w 14"/>
                <a:gd name="T35" fmla="*/ 0 h 150"/>
                <a:gd name="T36" fmla="*/ 1 w 14"/>
                <a:gd name="T37" fmla="*/ 6 h 150"/>
                <a:gd name="T38" fmla="*/ 0 w 14"/>
                <a:gd name="T39" fmla="*/ 8 h 150"/>
                <a:gd name="T40" fmla="*/ 2 w 14"/>
                <a:gd name="T41" fmla="*/ 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" h="150">
                  <a:moveTo>
                    <a:pt x="2" y="8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148"/>
                    <a:pt x="0" y="149"/>
                    <a:pt x="1" y="149"/>
                  </a:cubicBezTo>
                  <a:cubicBezTo>
                    <a:pt x="1" y="150"/>
                    <a:pt x="2" y="150"/>
                    <a:pt x="3" y="149"/>
                  </a:cubicBezTo>
                  <a:cubicBezTo>
                    <a:pt x="13" y="144"/>
                    <a:pt x="13" y="144"/>
                    <a:pt x="13" y="144"/>
                  </a:cubicBezTo>
                  <a:cubicBezTo>
                    <a:pt x="14" y="143"/>
                    <a:pt x="14" y="143"/>
                    <a:pt x="14" y="14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"/>
                    <a:pt x="14" y="1"/>
                    <a:pt x="13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7"/>
                    <a:pt x="0" y="8"/>
                  </a:cubicBezTo>
                  <a:lnTo>
                    <a:pt x="2" y="8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2" name="Freeform 146">
              <a:extLst>
                <a:ext uri="{FF2B5EF4-FFF2-40B4-BE49-F238E27FC236}">
                  <a16:creationId xmlns:a16="http://schemas.microsoft.com/office/drawing/2014/main" id="{B2DCC3A1-588C-4F8A-BB0A-4B42C2EAB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000" y="7619674"/>
              <a:ext cx="74613" cy="125413"/>
            </a:xfrm>
            <a:custGeom>
              <a:avLst/>
              <a:gdLst>
                <a:gd name="T0" fmla="*/ 16 w 18"/>
                <a:gd name="T1" fmla="*/ 30 h 31"/>
                <a:gd name="T2" fmla="*/ 1 w 18"/>
                <a:gd name="T3" fmla="*/ 21 h 31"/>
                <a:gd name="T4" fmla="*/ 0 w 18"/>
                <a:gd name="T5" fmla="*/ 18 h 31"/>
                <a:gd name="T6" fmla="*/ 0 w 18"/>
                <a:gd name="T7" fmla="*/ 2 h 31"/>
                <a:gd name="T8" fmla="*/ 1 w 18"/>
                <a:gd name="T9" fmla="*/ 0 h 31"/>
                <a:gd name="T10" fmla="*/ 16 w 18"/>
                <a:gd name="T11" fmla="*/ 9 h 31"/>
                <a:gd name="T12" fmla="*/ 18 w 18"/>
                <a:gd name="T13" fmla="*/ 12 h 31"/>
                <a:gd name="T14" fmla="*/ 18 w 18"/>
                <a:gd name="T15" fmla="*/ 29 h 31"/>
                <a:gd name="T16" fmla="*/ 16 w 18"/>
                <a:gd name="T1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1">
                  <a:moveTo>
                    <a:pt x="16" y="30"/>
                  </a:moveTo>
                  <a:cubicBezTo>
                    <a:pt x="1" y="21"/>
                    <a:pt x="1" y="21"/>
                    <a:pt x="1" y="21"/>
                  </a:cubicBezTo>
                  <a:cubicBezTo>
                    <a:pt x="0" y="21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10"/>
                    <a:pt x="18" y="11"/>
                    <a:pt x="18" y="12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7" y="31"/>
                    <a:pt x="16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3" name="Freeform 147">
              <a:extLst>
                <a:ext uri="{FF2B5EF4-FFF2-40B4-BE49-F238E27FC236}">
                  <a16:creationId xmlns:a16="http://schemas.microsoft.com/office/drawing/2014/main" id="{C21D93FD-55A2-4DEA-A325-28F5BD3C3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7611736"/>
              <a:ext cx="90488" cy="138113"/>
            </a:xfrm>
            <a:custGeom>
              <a:avLst/>
              <a:gdLst>
                <a:gd name="T0" fmla="*/ 18 w 22"/>
                <a:gd name="T1" fmla="*/ 32 h 34"/>
                <a:gd name="T2" fmla="*/ 19 w 22"/>
                <a:gd name="T3" fmla="*/ 30 h 34"/>
                <a:gd name="T4" fmla="*/ 4 w 22"/>
                <a:gd name="T5" fmla="*/ 22 h 34"/>
                <a:gd name="T6" fmla="*/ 4 w 22"/>
                <a:gd name="T7" fmla="*/ 21 h 34"/>
                <a:gd name="T8" fmla="*/ 4 w 22"/>
                <a:gd name="T9" fmla="*/ 20 h 34"/>
                <a:gd name="T10" fmla="*/ 4 w 22"/>
                <a:gd name="T11" fmla="*/ 4 h 34"/>
                <a:gd name="T12" fmla="*/ 4 w 22"/>
                <a:gd name="T13" fmla="*/ 4 h 34"/>
                <a:gd name="T14" fmla="*/ 3 w 22"/>
                <a:gd name="T15" fmla="*/ 3 h 34"/>
                <a:gd name="T16" fmla="*/ 3 w 22"/>
                <a:gd name="T17" fmla="*/ 4 h 34"/>
                <a:gd name="T18" fmla="*/ 4 w 22"/>
                <a:gd name="T19" fmla="*/ 4 h 34"/>
                <a:gd name="T20" fmla="*/ 3 w 22"/>
                <a:gd name="T21" fmla="*/ 3 h 34"/>
                <a:gd name="T22" fmla="*/ 3 w 22"/>
                <a:gd name="T23" fmla="*/ 4 h 34"/>
                <a:gd name="T24" fmla="*/ 3 w 22"/>
                <a:gd name="T25" fmla="*/ 3 h 34"/>
                <a:gd name="T26" fmla="*/ 3 w 22"/>
                <a:gd name="T27" fmla="*/ 4 h 34"/>
                <a:gd name="T28" fmla="*/ 3 w 22"/>
                <a:gd name="T29" fmla="*/ 4 h 34"/>
                <a:gd name="T30" fmla="*/ 3 w 22"/>
                <a:gd name="T31" fmla="*/ 3 h 34"/>
                <a:gd name="T32" fmla="*/ 3 w 22"/>
                <a:gd name="T33" fmla="*/ 4 h 34"/>
                <a:gd name="T34" fmla="*/ 3 w 22"/>
                <a:gd name="T35" fmla="*/ 3 h 34"/>
                <a:gd name="T36" fmla="*/ 2 w 22"/>
                <a:gd name="T37" fmla="*/ 4 h 34"/>
                <a:gd name="T38" fmla="*/ 3 w 22"/>
                <a:gd name="T39" fmla="*/ 4 h 34"/>
                <a:gd name="T40" fmla="*/ 3 w 22"/>
                <a:gd name="T41" fmla="*/ 3 h 34"/>
                <a:gd name="T42" fmla="*/ 2 w 22"/>
                <a:gd name="T43" fmla="*/ 4 h 34"/>
                <a:gd name="T44" fmla="*/ 17 w 22"/>
                <a:gd name="T45" fmla="*/ 13 h 34"/>
                <a:gd name="T46" fmla="*/ 17 w 22"/>
                <a:gd name="T47" fmla="*/ 13 h 34"/>
                <a:gd name="T48" fmla="*/ 18 w 22"/>
                <a:gd name="T49" fmla="*/ 14 h 34"/>
                <a:gd name="T50" fmla="*/ 18 w 22"/>
                <a:gd name="T51" fmla="*/ 31 h 34"/>
                <a:gd name="T52" fmla="*/ 18 w 22"/>
                <a:gd name="T53" fmla="*/ 31 h 34"/>
                <a:gd name="T54" fmla="*/ 19 w 22"/>
                <a:gd name="T55" fmla="*/ 31 h 34"/>
                <a:gd name="T56" fmla="*/ 18 w 22"/>
                <a:gd name="T57" fmla="*/ 31 h 34"/>
                <a:gd name="T58" fmla="*/ 18 w 22"/>
                <a:gd name="T59" fmla="*/ 31 h 34"/>
                <a:gd name="T60" fmla="*/ 19 w 22"/>
                <a:gd name="T61" fmla="*/ 31 h 34"/>
                <a:gd name="T62" fmla="*/ 18 w 22"/>
                <a:gd name="T63" fmla="*/ 31 h 34"/>
                <a:gd name="T64" fmla="*/ 19 w 22"/>
                <a:gd name="T65" fmla="*/ 31 h 34"/>
                <a:gd name="T66" fmla="*/ 19 w 22"/>
                <a:gd name="T67" fmla="*/ 30 h 34"/>
                <a:gd name="T68" fmla="*/ 18 w 22"/>
                <a:gd name="T69" fmla="*/ 31 h 34"/>
                <a:gd name="T70" fmla="*/ 19 w 22"/>
                <a:gd name="T71" fmla="*/ 31 h 34"/>
                <a:gd name="T72" fmla="*/ 19 w 22"/>
                <a:gd name="T73" fmla="*/ 30 h 34"/>
                <a:gd name="T74" fmla="*/ 19 w 22"/>
                <a:gd name="T75" fmla="*/ 31 h 34"/>
                <a:gd name="T76" fmla="*/ 19 w 22"/>
                <a:gd name="T77" fmla="*/ 30 h 34"/>
                <a:gd name="T78" fmla="*/ 19 w 22"/>
                <a:gd name="T79" fmla="*/ 30 h 34"/>
                <a:gd name="T80" fmla="*/ 19 w 22"/>
                <a:gd name="T81" fmla="*/ 31 h 34"/>
                <a:gd name="T82" fmla="*/ 19 w 22"/>
                <a:gd name="T83" fmla="*/ 30 h 34"/>
                <a:gd name="T84" fmla="*/ 18 w 22"/>
                <a:gd name="T85" fmla="*/ 32 h 34"/>
                <a:gd name="T86" fmla="*/ 17 w 22"/>
                <a:gd name="T87" fmla="*/ 34 h 34"/>
                <a:gd name="T88" fmla="*/ 19 w 22"/>
                <a:gd name="T89" fmla="*/ 34 h 34"/>
                <a:gd name="T90" fmla="*/ 21 w 22"/>
                <a:gd name="T91" fmla="*/ 33 h 34"/>
                <a:gd name="T92" fmla="*/ 22 w 22"/>
                <a:gd name="T93" fmla="*/ 31 h 34"/>
                <a:gd name="T94" fmla="*/ 22 w 22"/>
                <a:gd name="T95" fmla="*/ 14 h 34"/>
                <a:gd name="T96" fmla="*/ 21 w 22"/>
                <a:gd name="T97" fmla="*/ 11 h 34"/>
                <a:gd name="T98" fmla="*/ 19 w 22"/>
                <a:gd name="T99" fmla="*/ 9 h 34"/>
                <a:gd name="T100" fmla="*/ 4 w 22"/>
                <a:gd name="T101" fmla="*/ 1 h 34"/>
                <a:gd name="T102" fmla="*/ 3 w 22"/>
                <a:gd name="T103" fmla="*/ 0 h 34"/>
                <a:gd name="T104" fmla="*/ 0 w 22"/>
                <a:gd name="T105" fmla="*/ 1 h 34"/>
                <a:gd name="T106" fmla="*/ 0 w 22"/>
                <a:gd name="T107" fmla="*/ 4 h 34"/>
                <a:gd name="T108" fmla="*/ 0 w 22"/>
                <a:gd name="T109" fmla="*/ 20 h 34"/>
                <a:gd name="T110" fmla="*/ 0 w 22"/>
                <a:gd name="T111" fmla="*/ 23 h 34"/>
                <a:gd name="T112" fmla="*/ 2 w 22"/>
                <a:gd name="T113" fmla="*/ 25 h 34"/>
                <a:gd name="T114" fmla="*/ 17 w 22"/>
                <a:gd name="T115" fmla="*/ 34 h 34"/>
                <a:gd name="T116" fmla="*/ 18 w 22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4">
                  <a:moveTo>
                    <a:pt x="18" y="32"/>
                  </a:moveTo>
                  <a:cubicBezTo>
                    <a:pt x="19" y="30"/>
                    <a:pt x="19" y="30"/>
                    <a:pt x="19" y="3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0" y="34"/>
                    <a:pt x="21" y="34"/>
                    <a:pt x="21" y="33"/>
                  </a:cubicBezTo>
                  <a:cubicBezTo>
                    <a:pt x="22" y="32"/>
                    <a:pt x="22" y="32"/>
                    <a:pt x="22" y="3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2"/>
                    <a:pt x="21" y="11"/>
                  </a:cubicBezTo>
                  <a:cubicBezTo>
                    <a:pt x="21" y="11"/>
                    <a:pt x="20" y="10"/>
                    <a:pt x="19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3"/>
                  </a:cubicBezTo>
                  <a:cubicBezTo>
                    <a:pt x="1" y="24"/>
                    <a:pt x="1" y="25"/>
                    <a:pt x="2" y="25"/>
                  </a:cubicBezTo>
                  <a:cubicBezTo>
                    <a:pt x="17" y="34"/>
                    <a:pt x="17" y="34"/>
                    <a:pt x="17" y="34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4" name="Freeform 148">
              <a:extLst>
                <a:ext uri="{FF2B5EF4-FFF2-40B4-BE49-F238E27FC236}">
                  <a16:creationId xmlns:a16="http://schemas.microsoft.com/office/drawing/2014/main" id="{F96D3839-0907-4CE7-B4E0-FCE6031B9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0463" y="7557761"/>
              <a:ext cx="77788" cy="122238"/>
            </a:xfrm>
            <a:custGeom>
              <a:avLst/>
              <a:gdLst>
                <a:gd name="T0" fmla="*/ 17 w 19"/>
                <a:gd name="T1" fmla="*/ 30 h 30"/>
                <a:gd name="T2" fmla="*/ 2 w 19"/>
                <a:gd name="T3" fmla="*/ 21 h 30"/>
                <a:gd name="T4" fmla="*/ 0 w 19"/>
                <a:gd name="T5" fmla="*/ 18 h 30"/>
                <a:gd name="T6" fmla="*/ 0 w 19"/>
                <a:gd name="T7" fmla="*/ 1 h 30"/>
                <a:gd name="T8" fmla="*/ 2 w 19"/>
                <a:gd name="T9" fmla="*/ 0 h 30"/>
                <a:gd name="T10" fmla="*/ 17 w 19"/>
                <a:gd name="T11" fmla="*/ 9 h 30"/>
                <a:gd name="T12" fmla="*/ 19 w 19"/>
                <a:gd name="T13" fmla="*/ 12 h 30"/>
                <a:gd name="T14" fmla="*/ 19 w 19"/>
                <a:gd name="T15" fmla="*/ 29 h 30"/>
                <a:gd name="T16" fmla="*/ 17 w 19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0">
                  <a:moveTo>
                    <a:pt x="17" y="30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1" y="21"/>
                    <a:pt x="0" y="19"/>
                    <a:pt x="0" y="1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9"/>
                    <a:pt x="19" y="11"/>
                    <a:pt x="19" y="12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30"/>
                    <a:pt x="18" y="30"/>
                    <a:pt x="1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5" name="Freeform 149">
              <a:extLst>
                <a:ext uri="{FF2B5EF4-FFF2-40B4-BE49-F238E27FC236}">
                  <a16:creationId xmlns:a16="http://schemas.microsoft.com/office/drawing/2014/main" id="{5220CE61-AED3-45A3-ACE7-1218FF407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2525" y="7549824"/>
              <a:ext cx="93663" cy="138113"/>
            </a:xfrm>
            <a:custGeom>
              <a:avLst/>
              <a:gdLst>
                <a:gd name="T0" fmla="*/ 19 w 23"/>
                <a:gd name="T1" fmla="*/ 32 h 34"/>
                <a:gd name="T2" fmla="*/ 20 w 23"/>
                <a:gd name="T3" fmla="*/ 30 h 34"/>
                <a:gd name="T4" fmla="*/ 5 w 23"/>
                <a:gd name="T5" fmla="*/ 21 h 34"/>
                <a:gd name="T6" fmla="*/ 5 w 23"/>
                <a:gd name="T7" fmla="*/ 21 h 34"/>
                <a:gd name="T8" fmla="*/ 4 w 23"/>
                <a:gd name="T9" fmla="*/ 20 h 34"/>
                <a:gd name="T10" fmla="*/ 4 w 23"/>
                <a:gd name="T11" fmla="*/ 3 h 34"/>
                <a:gd name="T12" fmla="*/ 4 w 23"/>
                <a:gd name="T13" fmla="*/ 3 h 34"/>
                <a:gd name="T14" fmla="*/ 4 w 23"/>
                <a:gd name="T15" fmla="*/ 3 h 34"/>
                <a:gd name="T16" fmla="*/ 4 w 23"/>
                <a:gd name="T17" fmla="*/ 4 h 34"/>
                <a:gd name="T18" fmla="*/ 4 w 23"/>
                <a:gd name="T19" fmla="*/ 3 h 34"/>
                <a:gd name="T20" fmla="*/ 4 w 23"/>
                <a:gd name="T21" fmla="*/ 3 h 34"/>
                <a:gd name="T22" fmla="*/ 4 w 23"/>
                <a:gd name="T23" fmla="*/ 4 h 34"/>
                <a:gd name="T24" fmla="*/ 3 w 23"/>
                <a:gd name="T25" fmla="*/ 3 h 34"/>
                <a:gd name="T26" fmla="*/ 3 w 23"/>
                <a:gd name="T27" fmla="*/ 4 h 34"/>
                <a:gd name="T28" fmla="*/ 4 w 23"/>
                <a:gd name="T29" fmla="*/ 4 h 34"/>
                <a:gd name="T30" fmla="*/ 3 w 23"/>
                <a:gd name="T31" fmla="*/ 3 h 34"/>
                <a:gd name="T32" fmla="*/ 3 w 23"/>
                <a:gd name="T33" fmla="*/ 4 h 34"/>
                <a:gd name="T34" fmla="*/ 3 w 23"/>
                <a:gd name="T35" fmla="*/ 3 h 34"/>
                <a:gd name="T36" fmla="*/ 3 w 23"/>
                <a:gd name="T37" fmla="*/ 4 h 34"/>
                <a:gd name="T38" fmla="*/ 3 w 23"/>
                <a:gd name="T39" fmla="*/ 4 h 34"/>
                <a:gd name="T40" fmla="*/ 3 w 23"/>
                <a:gd name="T41" fmla="*/ 3 h 34"/>
                <a:gd name="T42" fmla="*/ 3 w 23"/>
                <a:gd name="T43" fmla="*/ 4 h 34"/>
                <a:gd name="T44" fmla="*/ 18 w 23"/>
                <a:gd name="T45" fmla="*/ 13 h 34"/>
                <a:gd name="T46" fmla="*/ 18 w 23"/>
                <a:gd name="T47" fmla="*/ 13 h 34"/>
                <a:gd name="T48" fmla="*/ 19 w 23"/>
                <a:gd name="T49" fmla="*/ 14 h 34"/>
                <a:gd name="T50" fmla="*/ 19 w 23"/>
                <a:gd name="T51" fmla="*/ 31 h 34"/>
                <a:gd name="T52" fmla="*/ 19 w 23"/>
                <a:gd name="T53" fmla="*/ 31 h 34"/>
                <a:gd name="T54" fmla="*/ 19 w 23"/>
                <a:gd name="T55" fmla="*/ 31 h 34"/>
                <a:gd name="T56" fmla="*/ 19 w 23"/>
                <a:gd name="T57" fmla="*/ 30 h 34"/>
                <a:gd name="T58" fmla="*/ 19 w 23"/>
                <a:gd name="T59" fmla="*/ 31 h 34"/>
                <a:gd name="T60" fmla="*/ 19 w 23"/>
                <a:gd name="T61" fmla="*/ 31 h 34"/>
                <a:gd name="T62" fmla="*/ 19 w 23"/>
                <a:gd name="T63" fmla="*/ 30 h 34"/>
                <a:gd name="T64" fmla="*/ 20 w 23"/>
                <a:gd name="T65" fmla="*/ 31 h 34"/>
                <a:gd name="T66" fmla="*/ 20 w 23"/>
                <a:gd name="T67" fmla="*/ 30 h 34"/>
                <a:gd name="T68" fmla="*/ 19 w 23"/>
                <a:gd name="T69" fmla="*/ 30 h 34"/>
                <a:gd name="T70" fmla="*/ 20 w 23"/>
                <a:gd name="T71" fmla="*/ 31 h 34"/>
                <a:gd name="T72" fmla="*/ 20 w 23"/>
                <a:gd name="T73" fmla="*/ 30 h 34"/>
                <a:gd name="T74" fmla="*/ 20 w 23"/>
                <a:gd name="T75" fmla="*/ 31 h 34"/>
                <a:gd name="T76" fmla="*/ 20 w 23"/>
                <a:gd name="T77" fmla="*/ 30 h 34"/>
                <a:gd name="T78" fmla="*/ 20 w 23"/>
                <a:gd name="T79" fmla="*/ 30 h 34"/>
                <a:gd name="T80" fmla="*/ 20 w 23"/>
                <a:gd name="T81" fmla="*/ 31 h 34"/>
                <a:gd name="T82" fmla="*/ 20 w 23"/>
                <a:gd name="T83" fmla="*/ 30 h 34"/>
                <a:gd name="T84" fmla="*/ 19 w 23"/>
                <a:gd name="T85" fmla="*/ 32 h 34"/>
                <a:gd name="T86" fmla="*/ 18 w 23"/>
                <a:gd name="T87" fmla="*/ 34 h 34"/>
                <a:gd name="T88" fmla="*/ 20 w 23"/>
                <a:gd name="T89" fmla="*/ 34 h 34"/>
                <a:gd name="T90" fmla="*/ 22 w 23"/>
                <a:gd name="T91" fmla="*/ 33 h 34"/>
                <a:gd name="T92" fmla="*/ 23 w 23"/>
                <a:gd name="T93" fmla="*/ 31 h 34"/>
                <a:gd name="T94" fmla="*/ 23 w 23"/>
                <a:gd name="T95" fmla="*/ 14 h 34"/>
                <a:gd name="T96" fmla="*/ 22 w 23"/>
                <a:gd name="T97" fmla="*/ 11 h 34"/>
                <a:gd name="T98" fmla="*/ 20 w 23"/>
                <a:gd name="T99" fmla="*/ 9 h 34"/>
                <a:gd name="T100" fmla="*/ 5 w 23"/>
                <a:gd name="T101" fmla="*/ 0 h 34"/>
                <a:gd name="T102" fmla="*/ 3 w 23"/>
                <a:gd name="T103" fmla="*/ 0 h 34"/>
                <a:gd name="T104" fmla="*/ 1 w 23"/>
                <a:gd name="T105" fmla="*/ 1 h 34"/>
                <a:gd name="T106" fmla="*/ 0 w 23"/>
                <a:gd name="T107" fmla="*/ 3 h 34"/>
                <a:gd name="T108" fmla="*/ 0 w 23"/>
                <a:gd name="T109" fmla="*/ 20 h 34"/>
                <a:gd name="T110" fmla="*/ 1 w 23"/>
                <a:gd name="T111" fmla="*/ 23 h 34"/>
                <a:gd name="T112" fmla="*/ 3 w 23"/>
                <a:gd name="T113" fmla="*/ 25 h 34"/>
                <a:gd name="T114" fmla="*/ 18 w 23"/>
                <a:gd name="T115" fmla="*/ 34 h 34"/>
                <a:gd name="T116" fmla="*/ 19 w 23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" h="34">
                  <a:moveTo>
                    <a:pt x="19" y="32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9" y="34"/>
                    <a:pt x="20" y="34"/>
                  </a:cubicBezTo>
                  <a:cubicBezTo>
                    <a:pt x="21" y="34"/>
                    <a:pt x="22" y="34"/>
                    <a:pt x="22" y="33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3"/>
                    <a:pt x="22" y="12"/>
                    <a:pt x="22" y="11"/>
                  </a:cubicBezTo>
                  <a:cubicBezTo>
                    <a:pt x="22" y="10"/>
                    <a:pt x="21" y="10"/>
                    <a:pt x="20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1" y="22"/>
                    <a:pt x="1" y="23"/>
                  </a:cubicBezTo>
                  <a:cubicBezTo>
                    <a:pt x="2" y="24"/>
                    <a:pt x="2" y="24"/>
                    <a:pt x="3" y="25"/>
                  </a:cubicBezTo>
                  <a:cubicBezTo>
                    <a:pt x="18" y="34"/>
                    <a:pt x="18" y="34"/>
                    <a:pt x="18" y="34"/>
                  </a:cubicBezTo>
                  <a:lnTo>
                    <a:pt x="19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6" name="Freeform 150">
              <a:extLst>
                <a:ext uri="{FF2B5EF4-FFF2-40B4-BE49-F238E27FC236}">
                  <a16:creationId xmlns:a16="http://schemas.microsoft.com/office/drawing/2014/main" id="{02C93F76-A107-4B25-BFF9-B55D9AAE73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0" y="7497436"/>
              <a:ext cx="73025" cy="122238"/>
            </a:xfrm>
            <a:custGeom>
              <a:avLst/>
              <a:gdLst>
                <a:gd name="T0" fmla="*/ 17 w 18"/>
                <a:gd name="T1" fmla="*/ 30 h 30"/>
                <a:gd name="T2" fmla="*/ 2 w 18"/>
                <a:gd name="T3" fmla="*/ 21 h 30"/>
                <a:gd name="T4" fmla="*/ 0 w 18"/>
                <a:gd name="T5" fmla="*/ 18 h 30"/>
                <a:gd name="T6" fmla="*/ 0 w 18"/>
                <a:gd name="T7" fmla="*/ 1 h 30"/>
                <a:gd name="T8" fmla="*/ 2 w 18"/>
                <a:gd name="T9" fmla="*/ 0 h 30"/>
                <a:gd name="T10" fmla="*/ 17 w 18"/>
                <a:gd name="T11" fmla="*/ 9 h 30"/>
                <a:gd name="T12" fmla="*/ 18 w 18"/>
                <a:gd name="T13" fmla="*/ 12 h 30"/>
                <a:gd name="T14" fmla="*/ 18 w 18"/>
                <a:gd name="T15" fmla="*/ 28 h 30"/>
                <a:gd name="T16" fmla="*/ 17 w 18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0">
                  <a:moveTo>
                    <a:pt x="17" y="30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1" y="20"/>
                    <a:pt x="0" y="19"/>
                    <a:pt x="0" y="1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9"/>
                    <a:pt x="18" y="11"/>
                    <a:pt x="18" y="12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30"/>
                    <a:pt x="18" y="30"/>
                    <a:pt x="1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7" name="Freeform 151">
              <a:extLst>
                <a:ext uri="{FF2B5EF4-FFF2-40B4-BE49-F238E27FC236}">
                  <a16:creationId xmlns:a16="http://schemas.microsoft.com/office/drawing/2014/main" id="{82350601-E995-4D4F-8619-2F635ACB09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7489499"/>
              <a:ext cx="88900" cy="138113"/>
            </a:xfrm>
            <a:custGeom>
              <a:avLst/>
              <a:gdLst>
                <a:gd name="T0" fmla="*/ 19 w 22"/>
                <a:gd name="T1" fmla="*/ 32 h 34"/>
                <a:gd name="T2" fmla="*/ 20 w 22"/>
                <a:gd name="T3" fmla="*/ 30 h 34"/>
                <a:gd name="T4" fmla="*/ 5 w 22"/>
                <a:gd name="T5" fmla="*/ 21 h 34"/>
                <a:gd name="T6" fmla="*/ 5 w 22"/>
                <a:gd name="T7" fmla="*/ 21 h 34"/>
                <a:gd name="T8" fmla="*/ 4 w 22"/>
                <a:gd name="T9" fmla="*/ 20 h 34"/>
                <a:gd name="T10" fmla="*/ 4 w 22"/>
                <a:gd name="T11" fmla="*/ 3 h 34"/>
                <a:gd name="T12" fmla="*/ 4 w 22"/>
                <a:gd name="T13" fmla="*/ 3 h 34"/>
                <a:gd name="T14" fmla="*/ 3 w 22"/>
                <a:gd name="T15" fmla="*/ 3 h 34"/>
                <a:gd name="T16" fmla="*/ 4 w 22"/>
                <a:gd name="T17" fmla="*/ 4 h 34"/>
                <a:gd name="T18" fmla="*/ 4 w 22"/>
                <a:gd name="T19" fmla="*/ 3 h 34"/>
                <a:gd name="T20" fmla="*/ 3 w 22"/>
                <a:gd name="T21" fmla="*/ 3 h 34"/>
                <a:gd name="T22" fmla="*/ 4 w 22"/>
                <a:gd name="T23" fmla="*/ 4 h 34"/>
                <a:gd name="T24" fmla="*/ 3 w 22"/>
                <a:gd name="T25" fmla="*/ 3 h 34"/>
                <a:gd name="T26" fmla="*/ 3 w 22"/>
                <a:gd name="T27" fmla="*/ 4 h 34"/>
                <a:gd name="T28" fmla="*/ 4 w 22"/>
                <a:gd name="T29" fmla="*/ 4 h 34"/>
                <a:gd name="T30" fmla="*/ 3 w 22"/>
                <a:gd name="T31" fmla="*/ 3 h 34"/>
                <a:gd name="T32" fmla="*/ 3 w 22"/>
                <a:gd name="T33" fmla="*/ 4 h 34"/>
                <a:gd name="T34" fmla="*/ 3 w 22"/>
                <a:gd name="T35" fmla="*/ 3 h 34"/>
                <a:gd name="T36" fmla="*/ 3 w 22"/>
                <a:gd name="T37" fmla="*/ 4 h 34"/>
                <a:gd name="T38" fmla="*/ 3 w 22"/>
                <a:gd name="T39" fmla="*/ 4 h 34"/>
                <a:gd name="T40" fmla="*/ 3 w 22"/>
                <a:gd name="T41" fmla="*/ 3 h 34"/>
                <a:gd name="T42" fmla="*/ 3 w 22"/>
                <a:gd name="T43" fmla="*/ 4 h 34"/>
                <a:gd name="T44" fmla="*/ 18 w 22"/>
                <a:gd name="T45" fmla="*/ 12 h 34"/>
                <a:gd name="T46" fmla="*/ 18 w 22"/>
                <a:gd name="T47" fmla="*/ 13 h 34"/>
                <a:gd name="T48" fmla="*/ 18 w 22"/>
                <a:gd name="T49" fmla="*/ 14 h 34"/>
                <a:gd name="T50" fmla="*/ 18 w 22"/>
                <a:gd name="T51" fmla="*/ 30 h 34"/>
                <a:gd name="T52" fmla="*/ 18 w 22"/>
                <a:gd name="T53" fmla="*/ 31 h 34"/>
                <a:gd name="T54" fmla="*/ 19 w 22"/>
                <a:gd name="T55" fmla="*/ 31 h 34"/>
                <a:gd name="T56" fmla="*/ 19 w 22"/>
                <a:gd name="T57" fmla="*/ 30 h 34"/>
                <a:gd name="T58" fmla="*/ 18 w 22"/>
                <a:gd name="T59" fmla="*/ 31 h 34"/>
                <a:gd name="T60" fmla="*/ 19 w 22"/>
                <a:gd name="T61" fmla="*/ 31 h 34"/>
                <a:gd name="T62" fmla="*/ 19 w 22"/>
                <a:gd name="T63" fmla="*/ 30 h 34"/>
                <a:gd name="T64" fmla="*/ 19 w 22"/>
                <a:gd name="T65" fmla="*/ 31 h 34"/>
                <a:gd name="T66" fmla="*/ 19 w 22"/>
                <a:gd name="T67" fmla="*/ 30 h 34"/>
                <a:gd name="T68" fmla="*/ 19 w 22"/>
                <a:gd name="T69" fmla="*/ 30 h 34"/>
                <a:gd name="T70" fmla="*/ 19 w 22"/>
                <a:gd name="T71" fmla="*/ 31 h 34"/>
                <a:gd name="T72" fmla="*/ 19 w 22"/>
                <a:gd name="T73" fmla="*/ 30 h 34"/>
                <a:gd name="T74" fmla="*/ 19 w 22"/>
                <a:gd name="T75" fmla="*/ 31 h 34"/>
                <a:gd name="T76" fmla="*/ 20 w 22"/>
                <a:gd name="T77" fmla="*/ 30 h 34"/>
                <a:gd name="T78" fmla="*/ 19 w 22"/>
                <a:gd name="T79" fmla="*/ 30 h 34"/>
                <a:gd name="T80" fmla="*/ 19 w 22"/>
                <a:gd name="T81" fmla="*/ 31 h 34"/>
                <a:gd name="T82" fmla="*/ 20 w 22"/>
                <a:gd name="T83" fmla="*/ 30 h 34"/>
                <a:gd name="T84" fmla="*/ 19 w 22"/>
                <a:gd name="T85" fmla="*/ 32 h 34"/>
                <a:gd name="T86" fmla="*/ 18 w 22"/>
                <a:gd name="T87" fmla="*/ 33 h 34"/>
                <a:gd name="T88" fmla="*/ 19 w 22"/>
                <a:gd name="T89" fmla="*/ 34 h 34"/>
                <a:gd name="T90" fmla="*/ 22 w 22"/>
                <a:gd name="T91" fmla="*/ 33 h 34"/>
                <a:gd name="T92" fmla="*/ 22 w 22"/>
                <a:gd name="T93" fmla="*/ 30 h 34"/>
                <a:gd name="T94" fmla="*/ 22 w 22"/>
                <a:gd name="T95" fmla="*/ 14 h 34"/>
                <a:gd name="T96" fmla="*/ 22 w 22"/>
                <a:gd name="T97" fmla="*/ 11 h 34"/>
                <a:gd name="T98" fmla="*/ 20 w 22"/>
                <a:gd name="T99" fmla="*/ 9 h 34"/>
                <a:gd name="T100" fmla="*/ 5 w 22"/>
                <a:gd name="T101" fmla="*/ 0 h 34"/>
                <a:gd name="T102" fmla="*/ 3 w 22"/>
                <a:gd name="T103" fmla="*/ 0 h 34"/>
                <a:gd name="T104" fmla="*/ 1 w 22"/>
                <a:gd name="T105" fmla="*/ 1 h 34"/>
                <a:gd name="T106" fmla="*/ 0 w 22"/>
                <a:gd name="T107" fmla="*/ 3 h 34"/>
                <a:gd name="T108" fmla="*/ 0 w 22"/>
                <a:gd name="T109" fmla="*/ 20 h 34"/>
                <a:gd name="T110" fmla="*/ 1 w 22"/>
                <a:gd name="T111" fmla="*/ 23 h 34"/>
                <a:gd name="T112" fmla="*/ 3 w 22"/>
                <a:gd name="T113" fmla="*/ 25 h 34"/>
                <a:gd name="T114" fmla="*/ 18 w 22"/>
                <a:gd name="T115" fmla="*/ 33 h 34"/>
                <a:gd name="T116" fmla="*/ 19 w 22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4">
                  <a:moveTo>
                    <a:pt x="19" y="32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4"/>
                    <a:pt x="19" y="34"/>
                    <a:pt x="19" y="34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2"/>
                    <a:pt x="22" y="31"/>
                    <a:pt x="22" y="3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2"/>
                    <a:pt x="22" y="11"/>
                  </a:cubicBezTo>
                  <a:cubicBezTo>
                    <a:pt x="21" y="10"/>
                    <a:pt x="21" y="10"/>
                    <a:pt x="20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1" y="23"/>
                    <a:pt x="2" y="24"/>
                    <a:pt x="3" y="25"/>
                  </a:cubicBezTo>
                  <a:cubicBezTo>
                    <a:pt x="18" y="33"/>
                    <a:pt x="18" y="33"/>
                    <a:pt x="18" y="33"/>
                  </a:cubicBezTo>
                  <a:lnTo>
                    <a:pt x="19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8" name="Freeform 152">
              <a:extLst>
                <a:ext uri="{FF2B5EF4-FFF2-40B4-BE49-F238E27FC236}">
                  <a16:creationId xmlns:a16="http://schemas.microsoft.com/office/drawing/2014/main" id="{112680E9-6640-4422-8BD7-A1EA227D1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7432349"/>
              <a:ext cx="73025" cy="125413"/>
            </a:xfrm>
            <a:custGeom>
              <a:avLst/>
              <a:gdLst>
                <a:gd name="T0" fmla="*/ 16 w 18"/>
                <a:gd name="T1" fmla="*/ 31 h 31"/>
                <a:gd name="T2" fmla="*/ 1 w 18"/>
                <a:gd name="T3" fmla="*/ 22 h 31"/>
                <a:gd name="T4" fmla="*/ 0 w 18"/>
                <a:gd name="T5" fmla="*/ 19 h 31"/>
                <a:gd name="T6" fmla="*/ 0 w 18"/>
                <a:gd name="T7" fmla="*/ 2 h 31"/>
                <a:gd name="T8" fmla="*/ 1 w 18"/>
                <a:gd name="T9" fmla="*/ 1 h 31"/>
                <a:gd name="T10" fmla="*/ 16 w 18"/>
                <a:gd name="T11" fmla="*/ 10 h 31"/>
                <a:gd name="T12" fmla="*/ 18 w 18"/>
                <a:gd name="T13" fmla="*/ 13 h 31"/>
                <a:gd name="T14" fmla="*/ 18 w 18"/>
                <a:gd name="T15" fmla="*/ 29 h 31"/>
                <a:gd name="T16" fmla="*/ 16 w 18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1">
                  <a:moveTo>
                    <a:pt x="16" y="3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1"/>
                    <a:pt x="0" y="20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8" y="11"/>
                    <a:pt x="18" y="13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7" y="31"/>
                    <a:pt x="16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9" name="Freeform 153">
              <a:extLst>
                <a:ext uri="{FF2B5EF4-FFF2-40B4-BE49-F238E27FC236}">
                  <a16:creationId xmlns:a16="http://schemas.microsoft.com/office/drawing/2014/main" id="{E20D40A7-DBD5-41C3-85BC-2F6C5B5260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800" y="7427586"/>
              <a:ext cx="90488" cy="138113"/>
            </a:xfrm>
            <a:custGeom>
              <a:avLst/>
              <a:gdLst>
                <a:gd name="T0" fmla="*/ 18 w 22"/>
                <a:gd name="T1" fmla="*/ 32 h 34"/>
                <a:gd name="T2" fmla="*/ 19 w 22"/>
                <a:gd name="T3" fmla="*/ 30 h 34"/>
                <a:gd name="T4" fmla="*/ 4 w 22"/>
                <a:gd name="T5" fmla="*/ 21 h 34"/>
                <a:gd name="T6" fmla="*/ 4 w 22"/>
                <a:gd name="T7" fmla="*/ 21 h 34"/>
                <a:gd name="T8" fmla="*/ 4 w 22"/>
                <a:gd name="T9" fmla="*/ 20 h 34"/>
                <a:gd name="T10" fmla="*/ 4 w 22"/>
                <a:gd name="T11" fmla="*/ 3 h 34"/>
                <a:gd name="T12" fmla="*/ 4 w 22"/>
                <a:gd name="T13" fmla="*/ 3 h 34"/>
                <a:gd name="T14" fmla="*/ 3 w 22"/>
                <a:gd name="T15" fmla="*/ 3 h 34"/>
                <a:gd name="T16" fmla="*/ 4 w 22"/>
                <a:gd name="T17" fmla="*/ 3 h 34"/>
                <a:gd name="T18" fmla="*/ 4 w 22"/>
                <a:gd name="T19" fmla="*/ 3 h 34"/>
                <a:gd name="T20" fmla="*/ 3 w 22"/>
                <a:gd name="T21" fmla="*/ 3 h 34"/>
                <a:gd name="T22" fmla="*/ 4 w 22"/>
                <a:gd name="T23" fmla="*/ 3 h 34"/>
                <a:gd name="T24" fmla="*/ 3 w 22"/>
                <a:gd name="T25" fmla="*/ 3 h 34"/>
                <a:gd name="T26" fmla="*/ 3 w 22"/>
                <a:gd name="T27" fmla="*/ 4 h 34"/>
                <a:gd name="T28" fmla="*/ 4 w 22"/>
                <a:gd name="T29" fmla="*/ 3 h 34"/>
                <a:gd name="T30" fmla="*/ 3 w 22"/>
                <a:gd name="T31" fmla="*/ 3 h 34"/>
                <a:gd name="T32" fmla="*/ 3 w 22"/>
                <a:gd name="T33" fmla="*/ 4 h 34"/>
                <a:gd name="T34" fmla="*/ 3 w 22"/>
                <a:gd name="T35" fmla="*/ 3 h 34"/>
                <a:gd name="T36" fmla="*/ 2 w 22"/>
                <a:gd name="T37" fmla="*/ 4 h 34"/>
                <a:gd name="T38" fmla="*/ 3 w 22"/>
                <a:gd name="T39" fmla="*/ 4 h 34"/>
                <a:gd name="T40" fmla="*/ 3 w 22"/>
                <a:gd name="T41" fmla="*/ 3 h 34"/>
                <a:gd name="T42" fmla="*/ 2 w 22"/>
                <a:gd name="T43" fmla="*/ 4 h 34"/>
                <a:gd name="T44" fmla="*/ 17 w 22"/>
                <a:gd name="T45" fmla="*/ 12 h 34"/>
                <a:gd name="T46" fmla="*/ 18 w 22"/>
                <a:gd name="T47" fmla="*/ 12 h 34"/>
                <a:gd name="T48" fmla="*/ 18 w 22"/>
                <a:gd name="T49" fmla="*/ 14 h 34"/>
                <a:gd name="T50" fmla="*/ 18 w 22"/>
                <a:gd name="T51" fmla="*/ 30 h 34"/>
                <a:gd name="T52" fmla="*/ 18 w 22"/>
                <a:gd name="T53" fmla="*/ 30 h 34"/>
                <a:gd name="T54" fmla="*/ 19 w 22"/>
                <a:gd name="T55" fmla="*/ 31 h 34"/>
                <a:gd name="T56" fmla="*/ 18 w 22"/>
                <a:gd name="T57" fmla="*/ 30 h 34"/>
                <a:gd name="T58" fmla="*/ 18 w 22"/>
                <a:gd name="T59" fmla="*/ 30 h 34"/>
                <a:gd name="T60" fmla="*/ 19 w 22"/>
                <a:gd name="T61" fmla="*/ 31 h 34"/>
                <a:gd name="T62" fmla="*/ 18 w 22"/>
                <a:gd name="T63" fmla="*/ 30 h 34"/>
                <a:gd name="T64" fmla="*/ 19 w 22"/>
                <a:gd name="T65" fmla="*/ 31 h 34"/>
                <a:gd name="T66" fmla="*/ 19 w 22"/>
                <a:gd name="T67" fmla="*/ 30 h 34"/>
                <a:gd name="T68" fmla="*/ 18 w 22"/>
                <a:gd name="T69" fmla="*/ 30 h 34"/>
                <a:gd name="T70" fmla="*/ 19 w 22"/>
                <a:gd name="T71" fmla="*/ 31 h 34"/>
                <a:gd name="T72" fmla="*/ 19 w 22"/>
                <a:gd name="T73" fmla="*/ 30 h 34"/>
                <a:gd name="T74" fmla="*/ 19 w 22"/>
                <a:gd name="T75" fmla="*/ 30 h 34"/>
                <a:gd name="T76" fmla="*/ 19 w 22"/>
                <a:gd name="T77" fmla="*/ 30 h 34"/>
                <a:gd name="T78" fmla="*/ 19 w 22"/>
                <a:gd name="T79" fmla="*/ 30 h 34"/>
                <a:gd name="T80" fmla="*/ 19 w 22"/>
                <a:gd name="T81" fmla="*/ 30 h 34"/>
                <a:gd name="T82" fmla="*/ 19 w 22"/>
                <a:gd name="T83" fmla="*/ 30 h 34"/>
                <a:gd name="T84" fmla="*/ 18 w 22"/>
                <a:gd name="T85" fmla="*/ 32 h 34"/>
                <a:gd name="T86" fmla="*/ 17 w 22"/>
                <a:gd name="T87" fmla="*/ 33 h 34"/>
                <a:gd name="T88" fmla="*/ 19 w 22"/>
                <a:gd name="T89" fmla="*/ 34 h 34"/>
                <a:gd name="T90" fmla="*/ 21 w 22"/>
                <a:gd name="T91" fmla="*/ 32 h 34"/>
                <a:gd name="T92" fmla="*/ 22 w 22"/>
                <a:gd name="T93" fmla="*/ 30 h 34"/>
                <a:gd name="T94" fmla="*/ 22 w 22"/>
                <a:gd name="T95" fmla="*/ 14 h 34"/>
                <a:gd name="T96" fmla="*/ 21 w 22"/>
                <a:gd name="T97" fmla="*/ 11 h 34"/>
                <a:gd name="T98" fmla="*/ 19 w 22"/>
                <a:gd name="T99" fmla="*/ 9 h 34"/>
                <a:gd name="T100" fmla="*/ 4 w 22"/>
                <a:gd name="T101" fmla="*/ 0 h 34"/>
                <a:gd name="T102" fmla="*/ 3 w 22"/>
                <a:gd name="T103" fmla="*/ 0 h 34"/>
                <a:gd name="T104" fmla="*/ 0 w 22"/>
                <a:gd name="T105" fmla="*/ 1 h 34"/>
                <a:gd name="T106" fmla="*/ 0 w 22"/>
                <a:gd name="T107" fmla="*/ 3 h 34"/>
                <a:gd name="T108" fmla="*/ 0 w 22"/>
                <a:gd name="T109" fmla="*/ 20 h 34"/>
                <a:gd name="T110" fmla="*/ 1 w 22"/>
                <a:gd name="T111" fmla="*/ 22 h 34"/>
                <a:gd name="T112" fmla="*/ 2 w 22"/>
                <a:gd name="T113" fmla="*/ 25 h 34"/>
                <a:gd name="T114" fmla="*/ 17 w 22"/>
                <a:gd name="T115" fmla="*/ 33 h 34"/>
                <a:gd name="T116" fmla="*/ 18 w 22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4">
                  <a:moveTo>
                    <a:pt x="18" y="32"/>
                  </a:moveTo>
                  <a:cubicBezTo>
                    <a:pt x="19" y="30"/>
                    <a:pt x="19" y="30"/>
                    <a:pt x="19" y="3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0" y="34"/>
                    <a:pt x="21" y="33"/>
                    <a:pt x="21" y="32"/>
                  </a:cubicBezTo>
                  <a:cubicBezTo>
                    <a:pt x="22" y="32"/>
                    <a:pt x="22" y="31"/>
                    <a:pt x="22" y="3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2"/>
                    <a:pt x="21" y="11"/>
                  </a:cubicBezTo>
                  <a:cubicBezTo>
                    <a:pt x="21" y="10"/>
                    <a:pt x="20" y="9"/>
                    <a:pt x="19" y="9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1" y="22"/>
                  </a:cubicBezTo>
                  <a:cubicBezTo>
                    <a:pt x="1" y="23"/>
                    <a:pt x="2" y="24"/>
                    <a:pt x="2" y="25"/>
                  </a:cubicBezTo>
                  <a:cubicBezTo>
                    <a:pt x="17" y="33"/>
                    <a:pt x="17" y="33"/>
                    <a:pt x="17" y="33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0" name="Freeform 154">
              <a:extLst>
                <a:ext uri="{FF2B5EF4-FFF2-40B4-BE49-F238E27FC236}">
                  <a16:creationId xmlns:a16="http://schemas.microsoft.com/office/drawing/2014/main" id="{D87D3304-AB74-4CB8-8624-5CE9CD482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375" y="7370436"/>
              <a:ext cx="74613" cy="127000"/>
            </a:xfrm>
            <a:custGeom>
              <a:avLst/>
              <a:gdLst>
                <a:gd name="T0" fmla="*/ 16 w 18"/>
                <a:gd name="T1" fmla="*/ 30 h 31"/>
                <a:gd name="T2" fmla="*/ 1 w 18"/>
                <a:gd name="T3" fmla="*/ 22 h 31"/>
                <a:gd name="T4" fmla="*/ 0 w 18"/>
                <a:gd name="T5" fmla="*/ 19 h 31"/>
                <a:gd name="T6" fmla="*/ 0 w 18"/>
                <a:gd name="T7" fmla="*/ 2 h 31"/>
                <a:gd name="T8" fmla="*/ 1 w 18"/>
                <a:gd name="T9" fmla="*/ 1 h 31"/>
                <a:gd name="T10" fmla="*/ 16 w 18"/>
                <a:gd name="T11" fmla="*/ 9 h 31"/>
                <a:gd name="T12" fmla="*/ 18 w 18"/>
                <a:gd name="T13" fmla="*/ 12 h 31"/>
                <a:gd name="T14" fmla="*/ 18 w 18"/>
                <a:gd name="T15" fmla="*/ 29 h 31"/>
                <a:gd name="T16" fmla="*/ 16 w 18"/>
                <a:gd name="T1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1">
                  <a:moveTo>
                    <a:pt x="16" y="3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10"/>
                    <a:pt x="18" y="11"/>
                    <a:pt x="18" y="12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7" y="31"/>
                    <a:pt x="16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1" name="Freeform 155">
              <a:extLst>
                <a:ext uri="{FF2B5EF4-FFF2-40B4-BE49-F238E27FC236}">
                  <a16:creationId xmlns:a16="http://schemas.microsoft.com/office/drawing/2014/main" id="{AC2509BF-A62F-4EF6-9F1A-AA8D759814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438" y="7362499"/>
              <a:ext cx="90488" cy="142875"/>
            </a:xfrm>
            <a:custGeom>
              <a:avLst/>
              <a:gdLst>
                <a:gd name="T0" fmla="*/ 18 w 22"/>
                <a:gd name="T1" fmla="*/ 32 h 35"/>
                <a:gd name="T2" fmla="*/ 19 w 22"/>
                <a:gd name="T3" fmla="*/ 31 h 35"/>
                <a:gd name="T4" fmla="*/ 4 w 22"/>
                <a:gd name="T5" fmla="*/ 22 h 35"/>
                <a:gd name="T6" fmla="*/ 4 w 22"/>
                <a:gd name="T7" fmla="*/ 22 h 35"/>
                <a:gd name="T8" fmla="*/ 4 w 22"/>
                <a:gd name="T9" fmla="*/ 21 h 35"/>
                <a:gd name="T10" fmla="*/ 4 w 22"/>
                <a:gd name="T11" fmla="*/ 4 h 35"/>
                <a:gd name="T12" fmla="*/ 4 w 22"/>
                <a:gd name="T13" fmla="*/ 4 h 35"/>
                <a:gd name="T14" fmla="*/ 3 w 22"/>
                <a:gd name="T15" fmla="*/ 4 h 35"/>
                <a:gd name="T16" fmla="*/ 3 w 22"/>
                <a:gd name="T17" fmla="*/ 4 h 35"/>
                <a:gd name="T18" fmla="*/ 4 w 22"/>
                <a:gd name="T19" fmla="*/ 4 h 35"/>
                <a:gd name="T20" fmla="*/ 3 w 22"/>
                <a:gd name="T21" fmla="*/ 4 h 35"/>
                <a:gd name="T22" fmla="*/ 3 w 22"/>
                <a:gd name="T23" fmla="*/ 4 h 35"/>
                <a:gd name="T24" fmla="*/ 3 w 22"/>
                <a:gd name="T25" fmla="*/ 3 h 35"/>
                <a:gd name="T26" fmla="*/ 3 w 22"/>
                <a:gd name="T27" fmla="*/ 4 h 35"/>
                <a:gd name="T28" fmla="*/ 3 w 22"/>
                <a:gd name="T29" fmla="*/ 4 h 35"/>
                <a:gd name="T30" fmla="*/ 3 w 22"/>
                <a:gd name="T31" fmla="*/ 3 h 35"/>
                <a:gd name="T32" fmla="*/ 3 w 22"/>
                <a:gd name="T33" fmla="*/ 4 h 35"/>
                <a:gd name="T34" fmla="*/ 3 w 22"/>
                <a:gd name="T35" fmla="*/ 4 h 35"/>
                <a:gd name="T36" fmla="*/ 2 w 22"/>
                <a:gd name="T37" fmla="*/ 4 h 35"/>
                <a:gd name="T38" fmla="*/ 3 w 22"/>
                <a:gd name="T39" fmla="*/ 4 h 35"/>
                <a:gd name="T40" fmla="*/ 3 w 22"/>
                <a:gd name="T41" fmla="*/ 4 h 35"/>
                <a:gd name="T42" fmla="*/ 2 w 22"/>
                <a:gd name="T43" fmla="*/ 4 h 35"/>
                <a:gd name="T44" fmla="*/ 2 w 22"/>
                <a:gd name="T45" fmla="*/ 4 h 35"/>
                <a:gd name="T46" fmla="*/ 17 w 22"/>
                <a:gd name="T47" fmla="*/ 13 h 35"/>
                <a:gd name="T48" fmla="*/ 17 w 22"/>
                <a:gd name="T49" fmla="*/ 13 h 35"/>
                <a:gd name="T50" fmla="*/ 18 w 22"/>
                <a:gd name="T51" fmla="*/ 14 h 35"/>
                <a:gd name="T52" fmla="*/ 18 w 22"/>
                <a:gd name="T53" fmla="*/ 31 h 35"/>
                <a:gd name="T54" fmla="*/ 18 w 22"/>
                <a:gd name="T55" fmla="*/ 31 h 35"/>
                <a:gd name="T56" fmla="*/ 19 w 22"/>
                <a:gd name="T57" fmla="*/ 31 h 35"/>
                <a:gd name="T58" fmla="*/ 18 w 22"/>
                <a:gd name="T59" fmla="*/ 31 h 35"/>
                <a:gd name="T60" fmla="*/ 18 w 22"/>
                <a:gd name="T61" fmla="*/ 31 h 35"/>
                <a:gd name="T62" fmla="*/ 19 w 22"/>
                <a:gd name="T63" fmla="*/ 31 h 35"/>
                <a:gd name="T64" fmla="*/ 18 w 22"/>
                <a:gd name="T65" fmla="*/ 31 h 35"/>
                <a:gd name="T66" fmla="*/ 19 w 22"/>
                <a:gd name="T67" fmla="*/ 32 h 35"/>
                <a:gd name="T68" fmla="*/ 19 w 22"/>
                <a:gd name="T69" fmla="*/ 31 h 35"/>
                <a:gd name="T70" fmla="*/ 18 w 22"/>
                <a:gd name="T71" fmla="*/ 31 h 35"/>
                <a:gd name="T72" fmla="*/ 19 w 22"/>
                <a:gd name="T73" fmla="*/ 32 h 35"/>
                <a:gd name="T74" fmla="*/ 19 w 22"/>
                <a:gd name="T75" fmla="*/ 31 h 35"/>
                <a:gd name="T76" fmla="*/ 19 w 22"/>
                <a:gd name="T77" fmla="*/ 31 h 35"/>
                <a:gd name="T78" fmla="*/ 19 w 22"/>
                <a:gd name="T79" fmla="*/ 31 h 35"/>
                <a:gd name="T80" fmla="*/ 19 w 22"/>
                <a:gd name="T81" fmla="*/ 31 h 35"/>
                <a:gd name="T82" fmla="*/ 19 w 22"/>
                <a:gd name="T83" fmla="*/ 31 h 35"/>
                <a:gd name="T84" fmla="*/ 19 w 22"/>
                <a:gd name="T85" fmla="*/ 31 h 35"/>
                <a:gd name="T86" fmla="*/ 18 w 22"/>
                <a:gd name="T87" fmla="*/ 32 h 35"/>
                <a:gd name="T88" fmla="*/ 17 w 22"/>
                <a:gd name="T89" fmla="*/ 34 h 35"/>
                <a:gd name="T90" fmla="*/ 19 w 22"/>
                <a:gd name="T91" fmla="*/ 35 h 35"/>
                <a:gd name="T92" fmla="*/ 21 w 22"/>
                <a:gd name="T93" fmla="*/ 33 h 35"/>
                <a:gd name="T94" fmla="*/ 22 w 22"/>
                <a:gd name="T95" fmla="*/ 31 h 35"/>
                <a:gd name="T96" fmla="*/ 22 w 22"/>
                <a:gd name="T97" fmla="*/ 14 h 35"/>
                <a:gd name="T98" fmla="*/ 21 w 22"/>
                <a:gd name="T99" fmla="*/ 12 h 35"/>
                <a:gd name="T100" fmla="*/ 19 w 22"/>
                <a:gd name="T101" fmla="*/ 10 h 35"/>
                <a:gd name="T102" fmla="*/ 4 w 22"/>
                <a:gd name="T103" fmla="*/ 1 h 35"/>
                <a:gd name="T104" fmla="*/ 4 w 22"/>
                <a:gd name="T105" fmla="*/ 1 h 35"/>
                <a:gd name="T106" fmla="*/ 3 w 22"/>
                <a:gd name="T107" fmla="*/ 0 h 35"/>
                <a:gd name="T108" fmla="*/ 0 w 22"/>
                <a:gd name="T109" fmla="*/ 2 h 35"/>
                <a:gd name="T110" fmla="*/ 0 w 22"/>
                <a:gd name="T111" fmla="*/ 4 h 35"/>
                <a:gd name="T112" fmla="*/ 0 w 22"/>
                <a:gd name="T113" fmla="*/ 21 h 35"/>
                <a:gd name="T114" fmla="*/ 0 w 22"/>
                <a:gd name="T115" fmla="*/ 23 h 35"/>
                <a:gd name="T116" fmla="*/ 2 w 22"/>
                <a:gd name="T117" fmla="*/ 25 h 35"/>
                <a:gd name="T118" fmla="*/ 17 w 22"/>
                <a:gd name="T119" fmla="*/ 34 h 35"/>
                <a:gd name="T120" fmla="*/ 18 w 22"/>
                <a:gd name="T121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" h="35">
                  <a:moveTo>
                    <a:pt x="18" y="32"/>
                  </a:moveTo>
                  <a:cubicBezTo>
                    <a:pt x="19" y="31"/>
                    <a:pt x="19" y="31"/>
                    <a:pt x="19" y="3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8" y="34"/>
                    <a:pt x="18" y="35"/>
                    <a:pt x="19" y="35"/>
                  </a:cubicBezTo>
                  <a:cubicBezTo>
                    <a:pt x="20" y="35"/>
                    <a:pt x="21" y="34"/>
                    <a:pt x="21" y="33"/>
                  </a:cubicBezTo>
                  <a:cubicBezTo>
                    <a:pt x="22" y="33"/>
                    <a:pt x="22" y="32"/>
                    <a:pt x="22" y="3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3"/>
                    <a:pt x="21" y="12"/>
                  </a:cubicBezTo>
                  <a:cubicBezTo>
                    <a:pt x="21" y="11"/>
                    <a:pt x="20" y="10"/>
                    <a:pt x="19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0" y="23"/>
                  </a:cubicBezTo>
                  <a:cubicBezTo>
                    <a:pt x="1" y="24"/>
                    <a:pt x="1" y="25"/>
                    <a:pt x="2" y="25"/>
                  </a:cubicBezTo>
                  <a:cubicBezTo>
                    <a:pt x="17" y="34"/>
                    <a:pt x="17" y="34"/>
                    <a:pt x="17" y="34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2" name="Freeform 156">
              <a:extLst>
                <a:ext uri="{FF2B5EF4-FFF2-40B4-BE49-F238E27FC236}">
                  <a16:creationId xmlns:a16="http://schemas.microsoft.com/office/drawing/2014/main" id="{D15FE182-F0A1-4D98-8D90-7385E98507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000" y="7733974"/>
              <a:ext cx="74613" cy="125413"/>
            </a:xfrm>
            <a:custGeom>
              <a:avLst/>
              <a:gdLst>
                <a:gd name="T0" fmla="*/ 16 w 18"/>
                <a:gd name="T1" fmla="*/ 30 h 31"/>
                <a:gd name="T2" fmla="*/ 1 w 18"/>
                <a:gd name="T3" fmla="*/ 22 h 31"/>
                <a:gd name="T4" fmla="*/ 0 w 18"/>
                <a:gd name="T5" fmla="*/ 18 h 31"/>
                <a:gd name="T6" fmla="*/ 0 w 18"/>
                <a:gd name="T7" fmla="*/ 2 h 31"/>
                <a:gd name="T8" fmla="*/ 1 w 18"/>
                <a:gd name="T9" fmla="*/ 1 h 31"/>
                <a:gd name="T10" fmla="*/ 16 w 18"/>
                <a:gd name="T11" fmla="*/ 9 h 31"/>
                <a:gd name="T12" fmla="*/ 18 w 18"/>
                <a:gd name="T13" fmla="*/ 12 h 31"/>
                <a:gd name="T14" fmla="*/ 18 w 18"/>
                <a:gd name="T15" fmla="*/ 29 h 31"/>
                <a:gd name="T16" fmla="*/ 16 w 18"/>
                <a:gd name="T1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1">
                  <a:moveTo>
                    <a:pt x="16" y="3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1"/>
                    <a:pt x="0" y="20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10"/>
                    <a:pt x="18" y="11"/>
                    <a:pt x="18" y="12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7" y="31"/>
                    <a:pt x="16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3" name="Freeform 157">
              <a:extLst>
                <a:ext uri="{FF2B5EF4-FFF2-40B4-BE49-F238E27FC236}">
                  <a16:creationId xmlns:a16="http://schemas.microsoft.com/office/drawing/2014/main" id="{F1A24B13-4B2F-45FA-BF41-B38FD09B1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7726036"/>
              <a:ext cx="90488" cy="141288"/>
            </a:xfrm>
            <a:custGeom>
              <a:avLst/>
              <a:gdLst>
                <a:gd name="T0" fmla="*/ 18 w 22"/>
                <a:gd name="T1" fmla="*/ 32 h 35"/>
                <a:gd name="T2" fmla="*/ 19 w 22"/>
                <a:gd name="T3" fmla="*/ 31 h 35"/>
                <a:gd name="T4" fmla="*/ 4 w 22"/>
                <a:gd name="T5" fmla="*/ 22 h 35"/>
                <a:gd name="T6" fmla="*/ 4 w 22"/>
                <a:gd name="T7" fmla="*/ 22 h 35"/>
                <a:gd name="T8" fmla="*/ 4 w 22"/>
                <a:gd name="T9" fmla="*/ 20 h 35"/>
                <a:gd name="T10" fmla="*/ 4 w 22"/>
                <a:gd name="T11" fmla="*/ 4 h 35"/>
                <a:gd name="T12" fmla="*/ 4 w 22"/>
                <a:gd name="T13" fmla="*/ 4 h 35"/>
                <a:gd name="T14" fmla="*/ 3 w 22"/>
                <a:gd name="T15" fmla="*/ 4 h 35"/>
                <a:gd name="T16" fmla="*/ 3 w 22"/>
                <a:gd name="T17" fmla="*/ 4 h 35"/>
                <a:gd name="T18" fmla="*/ 4 w 22"/>
                <a:gd name="T19" fmla="*/ 4 h 35"/>
                <a:gd name="T20" fmla="*/ 3 w 22"/>
                <a:gd name="T21" fmla="*/ 4 h 35"/>
                <a:gd name="T22" fmla="*/ 3 w 22"/>
                <a:gd name="T23" fmla="*/ 4 h 35"/>
                <a:gd name="T24" fmla="*/ 3 w 22"/>
                <a:gd name="T25" fmla="*/ 3 h 35"/>
                <a:gd name="T26" fmla="*/ 3 w 22"/>
                <a:gd name="T27" fmla="*/ 4 h 35"/>
                <a:gd name="T28" fmla="*/ 3 w 22"/>
                <a:gd name="T29" fmla="*/ 4 h 35"/>
                <a:gd name="T30" fmla="*/ 3 w 22"/>
                <a:gd name="T31" fmla="*/ 3 h 35"/>
                <a:gd name="T32" fmla="*/ 3 w 22"/>
                <a:gd name="T33" fmla="*/ 4 h 35"/>
                <a:gd name="T34" fmla="*/ 3 w 22"/>
                <a:gd name="T35" fmla="*/ 4 h 35"/>
                <a:gd name="T36" fmla="*/ 2 w 22"/>
                <a:gd name="T37" fmla="*/ 4 h 35"/>
                <a:gd name="T38" fmla="*/ 3 w 22"/>
                <a:gd name="T39" fmla="*/ 4 h 35"/>
                <a:gd name="T40" fmla="*/ 3 w 22"/>
                <a:gd name="T41" fmla="*/ 4 h 35"/>
                <a:gd name="T42" fmla="*/ 2 w 22"/>
                <a:gd name="T43" fmla="*/ 4 h 35"/>
                <a:gd name="T44" fmla="*/ 17 w 22"/>
                <a:gd name="T45" fmla="*/ 13 h 35"/>
                <a:gd name="T46" fmla="*/ 17 w 22"/>
                <a:gd name="T47" fmla="*/ 13 h 35"/>
                <a:gd name="T48" fmla="*/ 18 w 22"/>
                <a:gd name="T49" fmla="*/ 14 h 35"/>
                <a:gd name="T50" fmla="*/ 18 w 22"/>
                <a:gd name="T51" fmla="*/ 31 h 35"/>
                <a:gd name="T52" fmla="*/ 18 w 22"/>
                <a:gd name="T53" fmla="*/ 31 h 35"/>
                <a:gd name="T54" fmla="*/ 19 w 22"/>
                <a:gd name="T55" fmla="*/ 31 h 35"/>
                <a:gd name="T56" fmla="*/ 18 w 22"/>
                <a:gd name="T57" fmla="*/ 31 h 35"/>
                <a:gd name="T58" fmla="*/ 18 w 22"/>
                <a:gd name="T59" fmla="*/ 31 h 35"/>
                <a:gd name="T60" fmla="*/ 19 w 22"/>
                <a:gd name="T61" fmla="*/ 31 h 35"/>
                <a:gd name="T62" fmla="*/ 18 w 22"/>
                <a:gd name="T63" fmla="*/ 31 h 35"/>
                <a:gd name="T64" fmla="*/ 19 w 22"/>
                <a:gd name="T65" fmla="*/ 32 h 35"/>
                <a:gd name="T66" fmla="*/ 19 w 22"/>
                <a:gd name="T67" fmla="*/ 30 h 35"/>
                <a:gd name="T68" fmla="*/ 18 w 22"/>
                <a:gd name="T69" fmla="*/ 31 h 35"/>
                <a:gd name="T70" fmla="*/ 19 w 22"/>
                <a:gd name="T71" fmla="*/ 32 h 35"/>
                <a:gd name="T72" fmla="*/ 19 w 22"/>
                <a:gd name="T73" fmla="*/ 30 h 35"/>
                <a:gd name="T74" fmla="*/ 19 w 22"/>
                <a:gd name="T75" fmla="*/ 31 h 35"/>
                <a:gd name="T76" fmla="*/ 19 w 22"/>
                <a:gd name="T77" fmla="*/ 31 h 35"/>
                <a:gd name="T78" fmla="*/ 19 w 22"/>
                <a:gd name="T79" fmla="*/ 30 h 35"/>
                <a:gd name="T80" fmla="*/ 19 w 22"/>
                <a:gd name="T81" fmla="*/ 31 h 35"/>
                <a:gd name="T82" fmla="*/ 19 w 22"/>
                <a:gd name="T83" fmla="*/ 31 h 35"/>
                <a:gd name="T84" fmla="*/ 18 w 22"/>
                <a:gd name="T85" fmla="*/ 32 h 35"/>
                <a:gd name="T86" fmla="*/ 17 w 22"/>
                <a:gd name="T87" fmla="*/ 34 h 35"/>
                <a:gd name="T88" fmla="*/ 19 w 22"/>
                <a:gd name="T89" fmla="*/ 34 h 35"/>
                <a:gd name="T90" fmla="*/ 21 w 22"/>
                <a:gd name="T91" fmla="*/ 33 h 35"/>
                <a:gd name="T92" fmla="*/ 22 w 22"/>
                <a:gd name="T93" fmla="*/ 31 h 35"/>
                <a:gd name="T94" fmla="*/ 22 w 22"/>
                <a:gd name="T95" fmla="*/ 14 h 35"/>
                <a:gd name="T96" fmla="*/ 21 w 22"/>
                <a:gd name="T97" fmla="*/ 12 h 35"/>
                <a:gd name="T98" fmla="*/ 19 w 22"/>
                <a:gd name="T99" fmla="*/ 10 h 35"/>
                <a:gd name="T100" fmla="*/ 4 w 22"/>
                <a:gd name="T101" fmla="*/ 1 h 35"/>
                <a:gd name="T102" fmla="*/ 3 w 22"/>
                <a:gd name="T103" fmla="*/ 0 h 35"/>
                <a:gd name="T104" fmla="*/ 0 w 22"/>
                <a:gd name="T105" fmla="*/ 2 h 35"/>
                <a:gd name="T106" fmla="*/ 0 w 22"/>
                <a:gd name="T107" fmla="*/ 4 h 35"/>
                <a:gd name="T108" fmla="*/ 0 w 22"/>
                <a:gd name="T109" fmla="*/ 20 h 35"/>
                <a:gd name="T110" fmla="*/ 0 w 22"/>
                <a:gd name="T111" fmla="*/ 23 h 35"/>
                <a:gd name="T112" fmla="*/ 2 w 22"/>
                <a:gd name="T113" fmla="*/ 25 h 35"/>
                <a:gd name="T114" fmla="*/ 17 w 22"/>
                <a:gd name="T115" fmla="*/ 34 h 35"/>
                <a:gd name="T116" fmla="*/ 18 w 22"/>
                <a:gd name="T117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5">
                  <a:moveTo>
                    <a:pt x="18" y="32"/>
                  </a:moveTo>
                  <a:cubicBezTo>
                    <a:pt x="19" y="31"/>
                    <a:pt x="19" y="31"/>
                    <a:pt x="19" y="3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0" y="35"/>
                    <a:pt x="21" y="34"/>
                    <a:pt x="21" y="33"/>
                  </a:cubicBezTo>
                  <a:cubicBezTo>
                    <a:pt x="22" y="33"/>
                    <a:pt x="22" y="32"/>
                    <a:pt x="22" y="3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3"/>
                    <a:pt x="21" y="12"/>
                  </a:cubicBezTo>
                  <a:cubicBezTo>
                    <a:pt x="21" y="11"/>
                    <a:pt x="20" y="10"/>
                    <a:pt x="19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3"/>
                  </a:cubicBezTo>
                  <a:cubicBezTo>
                    <a:pt x="1" y="24"/>
                    <a:pt x="1" y="25"/>
                    <a:pt x="2" y="25"/>
                  </a:cubicBezTo>
                  <a:cubicBezTo>
                    <a:pt x="17" y="34"/>
                    <a:pt x="17" y="34"/>
                    <a:pt x="17" y="34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4" name="Freeform 158">
              <a:extLst>
                <a:ext uri="{FF2B5EF4-FFF2-40B4-BE49-F238E27FC236}">
                  <a16:creationId xmlns:a16="http://schemas.microsoft.com/office/drawing/2014/main" id="{A9A1CD56-D27C-4738-840D-AF3854F20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0463" y="7672061"/>
              <a:ext cx="77788" cy="127000"/>
            </a:xfrm>
            <a:custGeom>
              <a:avLst/>
              <a:gdLst>
                <a:gd name="T0" fmla="*/ 17 w 19"/>
                <a:gd name="T1" fmla="*/ 30 h 31"/>
                <a:gd name="T2" fmla="*/ 2 w 19"/>
                <a:gd name="T3" fmla="*/ 21 h 31"/>
                <a:gd name="T4" fmla="*/ 0 w 19"/>
                <a:gd name="T5" fmla="*/ 18 h 31"/>
                <a:gd name="T6" fmla="*/ 0 w 19"/>
                <a:gd name="T7" fmla="*/ 2 h 31"/>
                <a:gd name="T8" fmla="*/ 2 w 19"/>
                <a:gd name="T9" fmla="*/ 0 h 31"/>
                <a:gd name="T10" fmla="*/ 17 w 19"/>
                <a:gd name="T11" fmla="*/ 9 h 31"/>
                <a:gd name="T12" fmla="*/ 19 w 19"/>
                <a:gd name="T13" fmla="*/ 12 h 31"/>
                <a:gd name="T14" fmla="*/ 19 w 19"/>
                <a:gd name="T15" fmla="*/ 29 h 31"/>
                <a:gd name="T16" fmla="*/ 17 w 19"/>
                <a:gd name="T1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7" y="30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1" y="21"/>
                    <a:pt x="0" y="20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10"/>
                    <a:pt x="19" y="11"/>
                    <a:pt x="19" y="12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30"/>
                    <a:pt x="18" y="31"/>
                    <a:pt x="1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5" name="Freeform 159">
              <a:extLst>
                <a:ext uri="{FF2B5EF4-FFF2-40B4-BE49-F238E27FC236}">
                  <a16:creationId xmlns:a16="http://schemas.microsoft.com/office/drawing/2014/main" id="{F9C54FBA-4A8E-45B2-BEB7-0E0F6D39F5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2525" y="7664124"/>
              <a:ext cx="93663" cy="138113"/>
            </a:xfrm>
            <a:custGeom>
              <a:avLst/>
              <a:gdLst>
                <a:gd name="T0" fmla="*/ 19 w 23"/>
                <a:gd name="T1" fmla="*/ 32 h 34"/>
                <a:gd name="T2" fmla="*/ 20 w 23"/>
                <a:gd name="T3" fmla="*/ 30 h 34"/>
                <a:gd name="T4" fmla="*/ 5 w 23"/>
                <a:gd name="T5" fmla="*/ 22 h 34"/>
                <a:gd name="T6" fmla="*/ 5 w 23"/>
                <a:gd name="T7" fmla="*/ 22 h 34"/>
                <a:gd name="T8" fmla="*/ 4 w 23"/>
                <a:gd name="T9" fmla="*/ 20 h 34"/>
                <a:gd name="T10" fmla="*/ 4 w 23"/>
                <a:gd name="T11" fmla="*/ 4 h 34"/>
                <a:gd name="T12" fmla="*/ 4 w 23"/>
                <a:gd name="T13" fmla="*/ 4 h 34"/>
                <a:gd name="T14" fmla="*/ 4 w 23"/>
                <a:gd name="T15" fmla="*/ 3 h 34"/>
                <a:gd name="T16" fmla="*/ 4 w 23"/>
                <a:gd name="T17" fmla="*/ 4 h 34"/>
                <a:gd name="T18" fmla="*/ 4 w 23"/>
                <a:gd name="T19" fmla="*/ 4 h 34"/>
                <a:gd name="T20" fmla="*/ 4 w 23"/>
                <a:gd name="T21" fmla="*/ 3 h 34"/>
                <a:gd name="T22" fmla="*/ 4 w 23"/>
                <a:gd name="T23" fmla="*/ 4 h 34"/>
                <a:gd name="T24" fmla="*/ 3 w 23"/>
                <a:gd name="T25" fmla="*/ 3 h 34"/>
                <a:gd name="T26" fmla="*/ 3 w 23"/>
                <a:gd name="T27" fmla="*/ 4 h 34"/>
                <a:gd name="T28" fmla="*/ 4 w 23"/>
                <a:gd name="T29" fmla="*/ 4 h 34"/>
                <a:gd name="T30" fmla="*/ 3 w 23"/>
                <a:gd name="T31" fmla="*/ 3 h 34"/>
                <a:gd name="T32" fmla="*/ 3 w 23"/>
                <a:gd name="T33" fmla="*/ 4 h 34"/>
                <a:gd name="T34" fmla="*/ 3 w 23"/>
                <a:gd name="T35" fmla="*/ 4 h 34"/>
                <a:gd name="T36" fmla="*/ 3 w 23"/>
                <a:gd name="T37" fmla="*/ 4 h 34"/>
                <a:gd name="T38" fmla="*/ 3 w 23"/>
                <a:gd name="T39" fmla="*/ 4 h 34"/>
                <a:gd name="T40" fmla="*/ 3 w 23"/>
                <a:gd name="T41" fmla="*/ 4 h 34"/>
                <a:gd name="T42" fmla="*/ 3 w 23"/>
                <a:gd name="T43" fmla="*/ 4 h 34"/>
                <a:gd name="T44" fmla="*/ 18 w 23"/>
                <a:gd name="T45" fmla="*/ 13 h 34"/>
                <a:gd name="T46" fmla="*/ 18 w 23"/>
                <a:gd name="T47" fmla="*/ 13 h 34"/>
                <a:gd name="T48" fmla="*/ 19 w 23"/>
                <a:gd name="T49" fmla="*/ 14 h 34"/>
                <a:gd name="T50" fmla="*/ 19 w 23"/>
                <a:gd name="T51" fmla="*/ 31 h 34"/>
                <a:gd name="T52" fmla="*/ 19 w 23"/>
                <a:gd name="T53" fmla="*/ 31 h 34"/>
                <a:gd name="T54" fmla="*/ 19 w 23"/>
                <a:gd name="T55" fmla="*/ 31 h 34"/>
                <a:gd name="T56" fmla="*/ 19 w 23"/>
                <a:gd name="T57" fmla="*/ 31 h 34"/>
                <a:gd name="T58" fmla="*/ 19 w 23"/>
                <a:gd name="T59" fmla="*/ 31 h 34"/>
                <a:gd name="T60" fmla="*/ 19 w 23"/>
                <a:gd name="T61" fmla="*/ 31 h 34"/>
                <a:gd name="T62" fmla="*/ 19 w 23"/>
                <a:gd name="T63" fmla="*/ 31 h 34"/>
                <a:gd name="T64" fmla="*/ 20 w 23"/>
                <a:gd name="T65" fmla="*/ 31 h 34"/>
                <a:gd name="T66" fmla="*/ 20 w 23"/>
                <a:gd name="T67" fmla="*/ 30 h 34"/>
                <a:gd name="T68" fmla="*/ 19 w 23"/>
                <a:gd name="T69" fmla="*/ 31 h 34"/>
                <a:gd name="T70" fmla="*/ 20 w 23"/>
                <a:gd name="T71" fmla="*/ 31 h 34"/>
                <a:gd name="T72" fmla="*/ 20 w 23"/>
                <a:gd name="T73" fmla="*/ 30 h 34"/>
                <a:gd name="T74" fmla="*/ 20 w 23"/>
                <a:gd name="T75" fmla="*/ 31 h 34"/>
                <a:gd name="T76" fmla="*/ 20 w 23"/>
                <a:gd name="T77" fmla="*/ 30 h 34"/>
                <a:gd name="T78" fmla="*/ 20 w 23"/>
                <a:gd name="T79" fmla="*/ 30 h 34"/>
                <a:gd name="T80" fmla="*/ 20 w 23"/>
                <a:gd name="T81" fmla="*/ 31 h 34"/>
                <a:gd name="T82" fmla="*/ 20 w 23"/>
                <a:gd name="T83" fmla="*/ 30 h 34"/>
                <a:gd name="T84" fmla="*/ 19 w 23"/>
                <a:gd name="T85" fmla="*/ 32 h 34"/>
                <a:gd name="T86" fmla="*/ 18 w 23"/>
                <a:gd name="T87" fmla="*/ 34 h 34"/>
                <a:gd name="T88" fmla="*/ 20 w 23"/>
                <a:gd name="T89" fmla="*/ 34 h 34"/>
                <a:gd name="T90" fmla="*/ 22 w 23"/>
                <a:gd name="T91" fmla="*/ 33 h 34"/>
                <a:gd name="T92" fmla="*/ 23 w 23"/>
                <a:gd name="T93" fmla="*/ 31 h 34"/>
                <a:gd name="T94" fmla="*/ 23 w 23"/>
                <a:gd name="T95" fmla="*/ 14 h 34"/>
                <a:gd name="T96" fmla="*/ 22 w 23"/>
                <a:gd name="T97" fmla="*/ 12 h 34"/>
                <a:gd name="T98" fmla="*/ 20 w 23"/>
                <a:gd name="T99" fmla="*/ 9 h 34"/>
                <a:gd name="T100" fmla="*/ 5 w 23"/>
                <a:gd name="T101" fmla="*/ 1 h 34"/>
                <a:gd name="T102" fmla="*/ 3 w 23"/>
                <a:gd name="T103" fmla="*/ 0 h 34"/>
                <a:gd name="T104" fmla="*/ 1 w 23"/>
                <a:gd name="T105" fmla="*/ 2 h 34"/>
                <a:gd name="T106" fmla="*/ 0 w 23"/>
                <a:gd name="T107" fmla="*/ 4 h 34"/>
                <a:gd name="T108" fmla="*/ 0 w 23"/>
                <a:gd name="T109" fmla="*/ 20 h 34"/>
                <a:gd name="T110" fmla="*/ 1 w 23"/>
                <a:gd name="T111" fmla="*/ 23 h 34"/>
                <a:gd name="T112" fmla="*/ 3 w 23"/>
                <a:gd name="T113" fmla="*/ 25 h 34"/>
                <a:gd name="T114" fmla="*/ 18 w 23"/>
                <a:gd name="T115" fmla="*/ 34 h 34"/>
                <a:gd name="T116" fmla="*/ 19 w 23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" h="34">
                  <a:moveTo>
                    <a:pt x="19" y="32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9" y="34"/>
                    <a:pt x="20" y="34"/>
                  </a:cubicBezTo>
                  <a:cubicBezTo>
                    <a:pt x="21" y="34"/>
                    <a:pt x="22" y="34"/>
                    <a:pt x="22" y="33"/>
                  </a:cubicBezTo>
                  <a:cubicBezTo>
                    <a:pt x="22" y="32"/>
                    <a:pt x="23" y="32"/>
                    <a:pt x="23" y="31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3"/>
                    <a:pt x="22" y="12"/>
                    <a:pt x="22" y="12"/>
                  </a:cubicBezTo>
                  <a:cubicBezTo>
                    <a:pt x="22" y="11"/>
                    <a:pt x="21" y="10"/>
                    <a:pt x="20" y="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1" y="22"/>
                    <a:pt x="1" y="23"/>
                  </a:cubicBezTo>
                  <a:cubicBezTo>
                    <a:pt x="2" y="24"/>
                    <a:pt x="2" y="25"/>
                    <a:pt x="3" y="25"/>
                  </a:cubicBezTo>
                  <a:cubicBezTo>
                    <a:pt x="18" y="34"/>
                    <a:pt x="18" y="34"/>
                    <a:pt x="18" y="34"/>
                  </a:cubicBezTo>
                  <a:lnTo>
                    <a:pt x="19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6" name="Freeform 160">
              <a:extLst>
                <a:ext uri="{FF2B5EF4-FFF2-40B4-BE49-F238E27FC236}">
                  <a16:creationId xmlns:a16="http://schemas.microsoft.com/office/drawing/2014/main" id="{F7C8AFFF-4AFA-4CB6-B3B8-08A3D5266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0" y="7611736"/>
              <a:ext cx="73025" cy="122238"/>
            </a:xfrm>
            <a:custGeom>
              <a:avLst/>
              <a:gdLst>
                <a:gd name="T0" fmla="*/ 17 w 18"/>
                <a:gd name="T1" fmla="*/ 30 h 30"/>
                <a:gd name="T2" fmla="*/ 2 w 18"/>
                <a:gd name="T3" fmla="*/ 21 h 30"/>
                <a:gd name="T4" fmla="*/ 0 w 18"/>
                <a:gd name="T5" fmla="*/ 18 h 30"/>
                <a:gd name="T6" fmla="*/ 0 w 18"/>
                <a:gd name="T7" fmla="*/ 2 h 30"/>
                <a:gd name="T8" fmla="*/ 2 w 18"/>
                <a:gd name="T9" fmla="*/ 0 h 30"/>
                <a:gd name="T10" fmla="*/ 17 w 18"/>
                <a:gd name="T11" fmla="*/ 9 h 30"/>
                <a:gd name="T12" fmla="*/ 18 w 18"/>
                <a:gd name="T13" fmla="*/ 12 h 30"/>
                <a:gd name="T14" fmla="*/ 18 w 18"/>
                <a:gd name="T15" fmla="*/ 29 h 30"/>
                <a:gd name="T16" fmla="*/ 17 w 18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0">
                  <a:moveTo>
                    <a:pt x="17" y="30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1" y="21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10"/>
                    <a:pt x="18" y="11"/>
                    <a:pt x="18" y="12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8" y="30"/>
                    <a:pt x="1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7" name="Freeform 161">
              <a:extLst>
                <a:ext uri="{FF2B5EF4-FFF2-40B4-BE49-F238E27FC236}">
                  <a16:creationId xmlns:a16="http://schemas.microsoft.com/office/drawing/2014/main" id="{F4B31B91-BEE7-4704-9CB3-81B09485FD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7603799"/>
              <a:ext cx="88900" cy="138113"/>
            </a:xfrm>
            <a:custGeom>
              <a:avLst/>
              <a:gdLst>
                <a:gd name="T0" fmla="*/ 19 w 22"/>
                <a:gd name="T1" fmla="*/ 32 h 34"/>
                <a:gd name="T2" fmla="*/ 20 w 22"/>
                <a:gd name="T3" fmla="*/ 30 h 34"/>
                <a:gd name="T4" fmla="*/ 5 w 22"/>
                <a:gd name="T5" fmla="*/ 22 h 34"/>
                <a:gd name="T6" fmla="*/ 5 w 22"/>
                <a:gd name="T7" fmla="*/ 21 h 34"/>
                <a:gd name="T8" fmla="*/ 4 w 22"/>
                <a:gd name="T9" fmla="*/ 20 h 34"/>
                <a:gd name="T10" fmla="*/ 4 w 22"/>
                <a:gd name="T11" fmla="*/ 4 h 34"/>
                <a:gd name="T12" fmla="*/ 4 w 22"/>
                <a:gd name="T13" fmla="*/ 3 h 34"/>
                <a:gd name="T14" fmla="*/ 3 w 22"/>
                <a:gd name="T15" fmla="*/ 3 h 34"/>
                <a:gd name="T16" fmla="*/ 4 w 22"/>
                <a:gd name="T17" fmla="*/ 4 h 34"/>
                <a:gd name="T18" fmla="*/ 4 w 22"/>
                <a:gd name="T19" fmla="*/ 3 h 34"/>
                <a:gd name="T20" fmla="*/ 3 w 22"/>
                <a:gd name="T21" fmla="*/ 3 h 34"/>
                <a:gd name="T22" fmla="*/ 4 w 22"/>
                <a:gd name="T23" fmla="*/ 4 h 34"/>
                <a:gd name="T24" fmla="*/ 3 w 22"/>
                <a:gd name="T25" fmla="*/ 3 h 34"/>
                <a:gd name="T26" fmla="*/ 3 w 22"/>
                <a:gd name="T27" fmla="*/ 4 h 34"/>
                <a:gd name="T28" fmla="*/ 4 w 22"/>
                <a:gd name="T29" fmla="*/ 4 h 34"/>
                <a:gd name="T30" fmla="*/ 3 w 22"/>
                <a:gd name="T31" fmla="*/ 3 h 34"/>
                <a:gd name="T32" fmla="*/ 3 w 22"/>
                <a:gd name="T33" fmla="*/ 4 h 34"/>
                <a:gd name="T34" fmla="*/ 3 w 22"/>
                <a:gd name="T35" fmla="*/ 3 h 34"/>
                <a:gd name="T36" fmla="*/ 3 w 22"/>
                <a:gd name="T37" fmla="*/ 4 h 34"/>
                <a:gd name="T38" fmla="*/ 3 w 22"/>
                <a:gd name="T39" fmla="*/ 4 h 34"/>
                <a:gd name="T40" fmla="*/ 3 w 22"/>
                <a:gd name="T41" fmla="*/ 3 h 34"/>
                <a:gd name="T42" fmla="*/ 3 w 22"/>
                <a:gd name="T43" fmla="*/ 4 h 34"/>
                <a:gd name="T44" fmla="*/ 18 w 22"/>
                <a:gd name="T45" fmla="*/ 13 h 34"/>
                <a:gd name="T46" fmla="*/ 18 w 22"/>
                <a:gd name="T47" fmla="*/ 13 h 34"/>
                <a:gd name="T48" fmla="*/ 18 w 22"/>
                <a:gd name="T49" fmla="*/ 14 h 34"/>
                <a:gd name="T50" fmla="*/ 18 w 22"/>
                <a:gd name="T51" fmla="*/ 31 h 34"/>
                <a:gd name="T52" fmla="*/ 18 w 22"/>
                <a:gd name="T53" fmla="*/ 31 h 34"/>
                <a:gd name="T54" fmla="*/ 19 w 22"/>
                <a:gd name="T55" fmla="*/ 31 h 34"/>
                <a:gd name="T56" fmla="*/ 19 w 22"/>
                <a:gd name="T57" fmla="*/ 30 h 34"/>
                <a:gd name="T58" fmla="*/ 18 w 22"/>
                <a:gd name="T59" fmla="*/ 31 h 34"/>
                <a:gd name="T60" fmla="*/ 19 w 22"/>
                <a:gd name="T61" fmla="*/ 31 h 34"/>
                <a:gd name="T62" fmla="*/ 19 w 22"/>
                <a:gd name="T63" fmla="*/ 30 h 34"/>
                <a:gd name="T64" fmla="*/ 19 w 22"/>
                <a:gd name="T65" fmla="*/ 31 h 34"/>
                <a:gd name="T66" fmla="*/ 19 w 22"/>
                <a:gd name="T67" fmla="*/ 30 h 34"/>
                <a:gd name="T68" fmla="*/ 19 w 22"/>
                <a:gd name="T69" fmla="*/ 30 h 34"/>
                <a:gd name="T70" fmla="*/ 19 w 22"/>
                <a:gd name="T71" fmla="*/ 31 h 34"/>
                <a:gd name="T72" fmla="*/ 19 w 22"/>
                <a:gd name="T73" fmla="*/ 30 h 34"/>
                <a:gd name="T74" fmla="*/ 19 w 22"/>
                <a:gd name="T75" fmla="*/ 31 h 34"/>
                <a:gd name="T76" fmla="*/ 20 w 22"/>
                <a:gd name="T77" fmla="*/ 30 h 34"/>
                <a:gd name="T78" fmla="*/ 19 w 22"/>
                <a:gd name="T79" fmla="*/ 30 h 34"/>
                <a:gd name="T80" fmla="*/ 19 w 22"/>
                <a:gd name="T81" fmla="*/ 31 h 34"/>
                <a:gd name="T82" fmla="*/ 20 w 22"/>
                <a:gd name="T83" fmla="*/ 30 h 34"/>
                <a:gd name="T84" fmla="*/ 19 w 22"/>
                <a:gd name="T85" fmla="*/ 32 h 34"/>
                <a:gd name="T86" fmla="*/ 18 w 22"/>
                <a:gd name="T87" fmla="*/ 34 h 34"/>
                <a:gd name="T88" fmla="*/ 19 w 22"/>
                <a:gd name="T89" fmla="*/ 34 h 34"/>
                <a:gd name="T90" fmla="*/ 22 w 22"/>
                <a:gd name="T91" fmla="*/ 33 h 34"/>
                <a:gd name="T92" fmla="*/ 22 w 22"/>
                <a:gd name="T93" fmla="*/ 31 h 34"/>
                <a:gd name="T94" fmla="*/ 22 w 22"/>
                <a:gd name="T95" fmla="*/ 14 h 34"/>
                <a:gd name="T96" fmla="*/ 22 w 22"/>
                <a:gd name="T97" fmla="*/ 11 h 34"/>
                <a:gd name="T98" fmla="*/ 20 w 22"/>
                <a:gd name="T99" fmla="*/ 9 h 34"/>
                <a:gd name="T100" fmla="*/ 5 w 22"/>
                <a:gd name="T101" fmla="*/ 1 h 34"/>
                <a:gd name="T102" fmla="*/ 3 w 22"/>
                <a:gd name="T103" fmla="*/ 0 h 34"/>
                <a:gd name="T104" fmla="*/ 1 w 22"/>
                <a:gd name="T105" fmla="*/ 1 h 34"/>
                <a:gd name="T106" fmla="*/ 0 w 22"/>
                <a:gd name="T107" fmla="*/ 4 h 34"/>
                <a:gd name="T108" fmla="*/ 0 w 22"/>
                <a:gd name="T109" fmla="*/ 20 h 34"/>
                <a:gd name="T110" fmla="*/ 1 w 22"/>
                <a:gd name="T111" fmla="*/ 23 h 34"/>
                <a:gd name="T112" fmla="*/ 3 w 22"/>
                <a:gd name="T113" fmla="*/ 25 h 34"/>
                <a:gd name="T114" fmla="*/ 18 w 22"/>
                <a:gd name="T115" fmla="*/ 34 h 34"/>
                <a:gd name="T116" fmla="*/ 19 w 22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4">
                  <a:moveTo>
                    <a:pt x="19" y="32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9" y="34"/>
                    <a:pt x="19" y="34"/>
                  </a:cubicBezTo>
                  <a:cubicBezTo>
                    <a:pt x="20" y="34"/>
                    <a:pt x="21" y="34"/>
                    <a:pt x="22" y="33"/>
                  </a:cubicBezTo>
                  <a:cubicBezTo>
                    <a:pt x="22" y="32"/>
                    <a:pt x="22" y="31"/>
                    <a:pt x="22" y="3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2"/>
                    <a:pt x="22" y="11"/>
                  </a:cubicBezTo>
                  <a:cubicBezTo>
                    <a:pt x="21" y="11"/>
                    <a:pt x="21" y="10"/>
                    <a:pt x="20" y="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1" y="24"/>
                    <a:pt x="2" y="24"/>
                    <a:pt x="3" y="25"/>
                  </a:cubicBezTo>
                  <a:cubicBezTo>
                    <a:pt x="18" y="34"/>
                    <a:pt x="18" y="34"/>
                    <a:pt x="18" y="34"/>
                  </a:cubicBezTo>
                  <a:lnTo>
                    <a:pt x="19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8" name="Freeform 162">
              <a:extLst>
                <a:ext uri="{FF2B5EF4-FFF2-40B4-BE49-F238E27FC236}">
                  <a16:creationId xmlns:a16="http://schemas.microsoft.com/office/drawing/2014/main" id="{830C3FCA-EADC-46AF-A263-67C1A3340B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7549824"/>
              <a:ext cx="73025" cy="122238"/>
            </a:xfrm>
            <a:custGeom>
              <a:avLst/>
              <a:gdLst>
                <a:gd name="T0" fmla="*/ 16 w 18"/>
                <a:gd name="T1" fmla="*/ 30 h 30"/>
                <a:gd name="T2" fmla="*/ 1 w 18"/>
                <a:gd name="T3" fmla="*/ 21 h 30"/>
                <a:gd name="T4" fmla="*/ 0 w 18"/>
                <a:gd name="T5" fmla="*/ 18 h 30"/>
                <a:gd name="T6" fmla="*/ 0 w 18"/>
                <a:gd name="T7" fmla="*/ 1 h 30"/>
                <a:gd name="T8" fmla="*/ 1 w 18"/>
                <a:gd name="T9" fmla="*/ 0 h 30"/>
                <a:gd name="T10" fmla="*/ 16 w 18"/>
                <a:gd name="T11" fmla="*/ 9 h 30"/>
                <a:gd name="T12" fmla="*/ 18 w 18"/>
                <a:gd name="T13" fmla="*/ 12 h 30"/>
                <a:gd name="T14" fmla="*/ 18 w 18"/>
                <a:gd name="T15" fmla="*/ 29 h 30"/>
                <a:gd name="T16" fmla="*/ 16 w 18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0">
                  <a:moveTo>
                    <a:pt x="16" y="30"/>
                  </a:move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0" y="19"/>
                    <a:pt x="0" y="1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9"/>
                    <a:pt x="18" y="11"/>
                    <a:pt x="18" y="12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7" y="30"/>
                    <a:pt x="16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9" name="Freeform 163">
              <a:extLst>
                <a:ext uri="{FF2B5EF4-FFF2-40B4-BE49-F238E27FC236}">
                  <a16:creationId xmlns:a16="http://schemas.microsoft.com/office/drawing/2014/main" id="{FA584495-21AF-4485-92B6-16CBE6DC0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800" y="7541886"/>
              <a:ext cx="90488" cy="138113"/>
            </a:xfrm>
            <a:custGeom>
              <a:avLst/>
              <a:gdLst>
                <a:gd name="T0" fmla="*/ 18 w 22"/>
                <a:gd name="T1" fmla="*/ 32 h 34"/>
                <a:gd name="T2" fmla="*/ 19 w 22"/>
                <a:gd name="T3" fmla="*/ 30 h 34"/>
                <a:gd name="T4" fmla="*/ 4 w 22"/>
                <a:gd name="T5" fmla="*/ 21 h 34"/>
                <a:gd name="T6" fmla="*/ 4 w 22"/>
                <a:gd name="T7" fmla="*/ 21 h 34"/>
                <a:gd name="T8" fmla="*/ 4 w 22"/>
                <a:gd name="T9" fmla="*/ 20 h 34"/>
                <a:gd name="T10" fmla="*/ 4 w 22"/>
                <a:gd name="T11" fmla="*/ 3 h 34"/>
                <a:gd name="T12" fmla="*/ 4 w 22"/>
                <a:gd name="T13" fmla="*/ 3 h 34"/>
                <a:gd name="T14" fmla="*/ 3 w 22"/>
                <a:gd name="T15" fmla="*/ 3 h 34"/>
                <a:gd name="T16" fmla="*/ 4 w 22"/>
                <a:gd name="T17" fmla="*/ 4 h 34"/>
                <a:gd name="T18" fmla="*/ 4 w 22"/>
                <a:gd name="T19" fmla="*/ 3 h 34"/>
                <a:gd name="T20" fmla="*/ 3 w 22"/>
                <a:gd name="T21" fmla="*/ 3 h 34"/>
                <a:gd name="T22" fmla="*/ 4 w 22"/>
                <a:gd name="T23" fmla="*/ 4 h 34"/>
                <a:gd name="T24" fmla="*/ 3 w 22"/>
                <a:gd name="T25" fmla="*/ 3 h 34"/>
                <a:gd name="T26" fmla="*/ 3 w 22"/>
                <a:gd name="T27" fmla="*/ 4 h 34"/>
                <a:gd name="T28" fmla="*/ 4 w 22"/>
                <a:gd name="T29" fmla="*/ 4 h 34"/>
                <a:gd name="T30" fmla="*/ 3 w 22"/>
                <a:gd name="T31" fmla="*/ 3 h 34"/>
                <a:gd name="T32" fmla="*/ 3 w 22"/>
                <a:gd name="T33" fmla="*/ 4 h 34"/>
                <a:gd name="T34" fmla="*/ 3 w 22"/>
                <a:gd name="T35" fmla="*/ 3 h 34"/>
                <a:gd name="T36" fmla="*/ 2 w 22"/>
                <a:gd name="T37" fmla="*/ 4 h 34"/>
                <a:gd name="T38" fmla="*/ 3 w 22"/>
                <a:gd name="T39" fmla="*/ 4 h 34"/>
                <a:gd name="T40" fmla="*/ 3 w 22"/>
                <a:gd name="T41" fmla="*/ 3 h 34"/>
                <a:gd name="T42" fmla="*/ 2 w 22"/>
                <a:gd name="T43" fmla="*/ 4 h 34"/>
                <a:gd name="T44" fmla="*/ 17 w 22"/>
                <a:gd name="T45" fmla="*/ 13 h 34"/>
                <a:gd name="T46" fmla="*/ 18 w 22"/>
                <a:gd name="T47" fmla="*/ 13 h 34"/>
                <a:gd name="T48" fmla="*/ 18 w 22"/>
                <a:gd name="T49" fmla="*/ 14 h 34"/>
                <a:gd name="T50" fmla="*/ 18 w 22"/>
                <a:gd name="T51" fmla="*/ 31 h 34"/>
                <a:gd name="T52" fmla="*/ 18 w 22"/>
                <a:gd name="T53" fmla="*/ 31 h 34"/>
                <a:gd name="T54" fmla="*/ 19 w 22"/>
                <a:gd name="T55" fmla="*/ 31 h 34"/>
                <a:gd name="T56" fmla="*/ 18 w 22"/>
                <a:gd name="T57" fmla="*/ 30 h 34"/>
                <a:gd name="T58" fmla="*/ 18 w 22"/>
                <a:gd name="T59" fmla="*/ 31 h 34"/>
                <a:gd name="T60" fmla="*/ 19 w 22"/>
                <a:gd name="T61" fmla="*/ 31 h 34"/>
                <a:gd name="T62" fmla="*/ 18 w 22"/>
                <a:gd name="T63" fmla="*/ 30 h 34"/>
                <a:gd name="T64" fmla="*/ 19 w 22"/>
                <a:gd name="T65" fmla="*/ 31 h 34"/>
                <a:gd name="T66" fmla="*/ 19 w 22"/>
                <a:gd name="T67" fmla="*/ 30 h 34"/>
                <a:gd name="T68" fmla="*/ 18 w 22"/>
                <a:gd name="T69" fmla="*/ 30 h 34"/>
                <a:gd name="T70" fmla="*/ 19 w 22"/>
                <a:gd name="T71" fmla="*/ 31 h 34"/>
                <a:gd name="T72" fmla="*/ 19 w 22"/>
                <a:gd name="T73" fmla="*/ 30 h 34"/>
                <a:gd name="T74" fmla="*/ 19 w 22"/>
                <a:gd name="T75" fmla="*/ 31 h 34"/>
                <a:gd name="T76" fmla="*/ 19 w 22"/>
                <a:gd name="T77" fmla="*/ 30 h 34"/>
                <a:gd name="T78" fmla="*/ 19 w 22"/>
                <a:gd name="T79" fmla="*/ 30 h 34"/>
                <a:gd name="T80" fmla="*/ 19 w 22"/>
                <a:gd name="T81" fmla="*/ 31 h 34"/>
                <a:gd name="T82" fmla="*/ 19 w 22"/>
                <a:gd name="T83" fmla="*/ 30 h 34"/>
                <a:gd name="T84" fmla="*/ 18 w 22"/>
                <a:gd name="T85" fmla="*/ 32 h 34"/>
                <a:gd name="T86" fmla="*/ 17 w 22"/>
                <a:gd name="T87" fmla="*/ 34 h 34"/>
                <a:gd name="T88" fmla="*/ 19 w 22"/>
                <a:gd name="T89" fmla="*/ 34 h 34"/>
                <a:gd name="T90" fmla="*/ 21 w 22"/>
                <a:gd name="T91" fmla="*/ 33 h 34"/>
                <a:gd name="T92" fmla="*/ 22 w 22"/>
                <a:gd name="T93" fmla="*/ 31 h 34"/>
                <a:gd name="T94" fmla="*/ 22 w 22"/>
                <a:gd name="T95" fmla="*/ 14 h 34"/>
                <a:gd name="T96" fmla="*/ 21 w 22"/>
                <a:gd name="T97" fmla="*/ 11 h 34"/>
                <a:gd name="T98" fmla="*/ 19 w 22"/>
                <a:gd name="T99" fmla="*/ 9 h 34"/>
                <a:gd name="T100" fmla="*/ 4 w 22"/>
                <a:gd name="T101" fmla="*/ 0 h 34"/>
                <a:gd name="T102" fmla="*/ 3 w 22"/>
                <a:gd name="T103" fmla="*/ 0 h 34"/>
                <a:gd name="T104" fmla="*/ 0 w 22"/>
                <a:gd name="T105" fmla="*/ 1 h 34"/>
                <a:gd name="T106" fmla="*/ 0 w 22"/>
                <a:gd name="T107" fmla="*/ 3 h 34"/>
                <a:gd name="T108" fmla="*/ 0 w 22"/>
                <a:gd name="T109" fmla="*/ 20 h 34"/>
                <a:gd name="T110" fmla="*/ 1 w 22"/>
                <a:gd name="T111" fmla="*/ 23 h 34"/>
                <a:gd name="T112" fmla="*/ 2 w 22"/>
                <a:gd name="T113" fmla="*/ 25 h 34"/>
                <a:gd name="T114" fmla="*/ 17 w 22"/>
                <a:gd name="T115" fmla="*/ 34 h 34"/>
                <a:gd name="T116" fmla="*/ 18 w 22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4">
                  <a:moveTo>
                    <a:pt x="18" y="32"/>
                  </a:moveTo>
                  <a:cubicBezTo>
                    <a:pt x="19" y="30"/>
                    <a:pt x="19" y="30"/>
                    <a:pt x="19" y="3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0" y="34"/>
                    <a:pt x="21" y="33"/>
                    <a:pt x="21" y="33"/>
                  </a:cubicBezTo>
                  <a:cubicBezTo>
                    <a:pt x="22" y="32"/>
                    <a:pt x="22" y="31"/>
                    <a:pt x="22" y="3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2"/>
                    <a:pt x="21" y="11"/>
                  </a:cubicBezTo>
                  <a:cubicBezTo>
                    <a:pt x="21" y="10"/>
                    <a:pt x="20" y="10"/>
                    <a:pt x="19" y="9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1" y="24"/>
                    <a:pt x="2" y="24"/>
                    <a:pt x="2" y="25"/>
                  </a:cubicBezTo>
                  <a:cubicBezTo>
                    <a:pt x="17" y="34"/>
                    <a:pt x="17" y="34"/>
                    <a:pt x="17" y="34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0" name="Freeform 164">
              <a:extLst>
                <a:ext uri="{FF2B5EF4-FFF2-40B4-BE49-F238E27FC236}">
                  <a16:creationId xmlns:a16="http://schemas.microsoft.com/office/drawing/2014/main" id="{0E0739CE-60D0-45CB-882A-0B45DE66E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375" y="7484736"/>
              <a:ext cx="74613" cy="127000"/>
            </a:xfrm>
            <a:custGeom>
              <a:avLst/>
              <a:gdLst>
                <a:gd name="T0" fmla="*/ 16 w 18"/>
                <a:gd name="T1" fmla="*/ 31 h 31"/>
                <a:gd name="T2" fmla="*/ 1 w 18"/>
                <a:gd name="T3" fmla="*/ 22 h 31"/>
                <a:gd name="T4" fmla="*/ 0 w 18"/>
                <a:gd name="T5" fmla="*/ 19 h 31"/>
                <a:gd name="T6" fmla="*/ 0 w 18"/>
                <a:gd name="T7" fmla="*/ 2 h 31"/>
                <a:gd name="T8" fmla="*/ 1 w 18"/>
                <a:gd name="T9" fmla="*/ 1 h 31"/>
                <a:gd name="T10" fmla="*/ 16 w 18"/>
                <a:gd name="T11" fmla="*/ 10 h 31"/>
                <a:gd name="T12" fmla="*/ 18 w 18"/>
                <a:gd name="T13" fmla="*/ 13 h 31"/>
                <a:gd name="T14" fmla="*/ 18 w 18"/>
                <a:gd name="T15" fmla="*/ 29 h 31"/>
                <a:gd name="T16" fmla="*/ 16 w 18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1">
                  <a:moveTo>
                    <a:pt x="16" y="3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8" y="12"/>
                    <a:pt x="18" y="13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1"/>
                    <a:pt x="17" y="31"/>
                    <a:pt x="16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1" name="Freeform 165">
              <a:extLst>
                <a:ext uri="{FF2B5EF4-FFF2-40B4-BE49-F238E27FC236}">
                  <a16:creationId xmlns:a16="http://schemas.microsoft.com/office/drawing/2014/main" id="{EF6918AE-1281-4C10-BE04-0BF4730E0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438" y="7479974"/>
              <a:ext cx="90488" cy="139700"/>
            </a:xfrm>
            <a:custGeom>
              <a:avLst/>
              <a:gdLst>
                <a:gd name="T0" fmla="*/ 18 w 22"/>
                <a:gd name="T1" fmla="*/ 32 h 34"/>
                <a:gd name="T2" fmla="*/ 19 w 22"/>
                <a:gd name="T3" fmla="*/ 30 h 34"/>
                <a:gd name="T4" fmla="*/ 4 w 22"/>
                <a:gd name="T5" fmla="*/ 21 h 34"/>
                <a:gd name="T6" fmla="*/ 4 w 22"/>
                <a:gd name="T7" fmla="*/ 21 h 34"/>
                <a:gd name="T8" fmla="*/ 4 w 22"/>
                <a:gd name="T9" fmla="*/ 20 h 34"/>
                <a:gd name="T10" fmla="*/ 4 w 22"/>
                <a:gd name="T11" fmla="*/ 3 h 34"/>
                <a:gd name="T12" fmla="*/ 4 w 22"/>
                <a:gd name="T13" fmla="*/ 3 h 34"/>
                <a:gd name="T14" fmla="*/ 3 w 22"/>
                <a:gd name="T15" fmla="*/ 3 h 34"/>
                <a:gd name="T16" fmla="*/ 3 w 22"/>
                <a:gd name="T17" fmla="*/ 3 h 34"/>
                <a:gd name="T18" fmla="*/ 4 w 22"/>
                <a:gd name="T19" fmla="*/ 3 h 34"/>
                <a:gd name="T20" fmla="*/ 3 w 22"/>
                <a:gd name="T21" fmla="*/ 3 h 34"/>
                <a:gd name="T22" fmla="*/ 3 w 22"/>
                <a:gd name="T23" fmla="*/ 3 h 34"/>
                <a:gd name="T24" fmla="*/ 3 w 22"/>
                <a:gd name="T25" fmla="*/ 3 h 34"/>
                <a:gd name="T26" fmla="*/ 3 w 22"/>
                <a:gd name="T27" fmla="*/ 4 h 34"/>
                <a:gd name="T28" fmla="*/ 3 w 22"/>
                <a:gd name="T29" fmla="*/ 3 h 34"/>
                <a:gd name="T30" fmla="*/ 3 w 22"/>
                <a:gd name="T31" fmla="*/ 3 h 34"/>
                <a:gd name="T32" fmla="*/ 3 w 22"/>
                <a:gd name="T33" fmla="*/ 4 h 34"/>
                <a:gd name="T34" fmla="*/ 3 w 22"/>
                <a:gd name="T35" fmla="*/ 3 h 34"/>
                <a:gd name="T36" fmla="*/ 2 w 22"/>
                <a:gd name="T37" fmla="*/ 4 h 34"/>
                <a:gd name="T38" fmla="*/ 3 w 22"/>
                <a:gd name="T39" fmla="*/ 4 h 34"/>
                <a:gd name="T40" fmla="*/ 3 w 22"/>
                <a:gd name="T41" fmla="*/ 3 h 34"/>
                <a:gd name="T42" fmla="*/ 2 w 22"/>
                <a:gd name="T43" fmla="*/ 4 h 34"/>
                <a:gd name="T44" fmla="*/ 17 w 22"/>
                <a:gd name="T45" fmla="*/ 12 h 34"/>
                <a:gd name="T46" fmla="*/ 17 w 22"/>
                <a:gd name="T47" fmla="*/ 12 h 34"/>
                <a:gd name="T48" fmla="*/ 18 w 22"/>
                <a:gd name="T49" fmla="*/ 14 h 34"/>
                <a:gd name="T50" fmla="*/ 18 w 22"/>
                <a:gd name="T51" fmla="*/ 30 h 34"/>
                <a:gd name="T52" fmla="*/ 18 w 22"/>
                <a:gd name="T53" fmla="*/ 30 h 34"/>
                <a:gd name="T54" fmla="*/ 19 w 22"/>
                <a:gd name="T55" fmla="*/ 31 h 34"/>
                <a:gd name="T56" fmla="*/ 18 w 22"/>
                <a:gd name="T57" fmla="*/ 30 h 34"/>
                <a:gd name="T58" fmla="*/ 18 w 22"/>
                <a:gd name="T59" fmla="*/ 30 h 34"/>
                <a:gd name="T60" fmla="*/ 19 w 22"/>
                <a:gd name="T61" fmla="*/ 31 h 34"/>
                <a:gd name="T62" fmla="*/ 18 w 22"/>
                <a:gd name="T63" fmla="*/ 30 h 34"/>
                <a:gd name="T64" fmla="*/ 19 w 22"/>
                <a:gd name="T65" fmla="*/ 31 h 34"/>
                <a:gd name="T66" fmla="*/ 19 w 22"/>
                <a:gd name="T67" fmla="*/ 30 h 34"/>
                <a:gd name="T68" fmla="*/ 18 w 22"/>
                <a:gd name="T69" fmla="*/ 30 h 34"/>
                <a:gd name="T70" fmla="*/ 19 w 22"/>
                <a:gd name="T71" fmla="*/ 31 h 34"/>
                <a:gd name="T72" fmla="*/ 19 w 22"/>
                <a:gd name="T73" fmla="*/ 30 h 34"/>
                <a:gd name="T74" fmla="*/ 19 w 22"/>
                <a:gd name="T75" fmla="*/ 30 h 34"/>
                <a:gd name="T76" fmla="*/ 19 w 22"/>
                <a:gd name="T77" fmla="*/ 30 h 34"/>
                <a:gd name="T78" fmla="*/ 19 w 22"/>
                <a:gd name="T79" fmla="*/ 30 h 34"/>
                <a:gd name="T80" fmla="*/ 19 w 22"/>
                <a:gd name="T81" fmla="*/ 30 h 34"/>
                <a:gd name="T82" fmla="*/ 19 w 22"/>
                <a:gd name="T83" fmla="*/ 30 h 34"/>
                <a:gd name="T84" fmla="*/ 18 w 22"/>
                <a:gd name="T85" fmla="*/ 32 h 34"/>
                <a:gd name="T86" fmla="*/ 17 w 22"/>
                <a:gd name="T87" fmla="*/ 33 h 34"/>
                <a:gd name="T88" fmla="*/ 19 w 22"/>
                <a:gd name="T89" fmla="*/ 34 h 34"/>
                <a:gd name="T90" fmla="*/ 21 w 22"/>
                <a:gd name="T91" fmla="*/ 33 h 34"/>
                <a:gd name="T92" fmla="*/ 22 w 22"/>
                <a:gd name="T93" fmla="*/ 30 h 34"/>
                <a:gd name="T94" fmla="*/ 22 w 22"/>
                <a:gd name="T95" fmla="*/ 14 h 34"/>
                <a:gd name="T96" fmla="*/ 21 w 22"/>
                <a:gd name="T97" fmla="*/ 11 h 34"/>
                <a:gd name="T98" fmla="*/ 19 w 22"/>
                <a:gd name="T99" fmla="*/ 9 h 34"/>
                <a:gd name="T100" fmla="*/ 4 w 22"/>
                <a:gd name="T101" fmla="*/ 0 h 34"/>
                <a:gd name="T102" fmla="*/ 3 w 22"/>
                <a:gd name="T103" fmla="*/ 0 h 34"/>
                <a:gd name="T104" fmla="*/ 0 w 22"/>
                <a:gd name="T105" fmla="*/ 1 h 34"/>
                <a:gd name="T106" fmla="*/ 0 w 22"/>
                <a:gd name="T107" fmla="*/ 3 h 34"/>
                <a:gd name="T108" fmla="*/ 0 w 22"/>
                <a:gd name="T109" fmla="*/ 20 h 34"/>
                <a:gd name="T110" fmla="*/ 0 w 22"/>
                <a:gd name="T111" fmla="*/ 23 h 34"/>
                <a:gd name="T112" fmla="*/ 2 w 22"/>
                <a:gd name="T113" fmla="*/ 25 h 34"/>
                <a:gd name="T114" fmla="*/ 17 w 22"/>
                <a:gd name="T115" fmla="*/ 33 h 34"/>
                <a:gd name="T116" fmla="*/ 18 w 22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4">
                  <a:moveTo>
                    <a:pt x="18" y="32"/>
                  </a:moveTo>
                  <a:cubicBezTo>
                    <a:pt x="19" y="30"/>
                    <a:pt x="19" y="30"/>
                    <a:pt x="19" y="3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0" y="34"/>
                    <a:pt x="21" y="33"/>
                    <a:pt x="21" y="33"/>
                  </a:cubicBezTo>
                  <a:cubicBezTo>
                    <a:pt x="22" y="32"/>
                    <a:pt x="22" y="31"/>
                    <a:pt x="22" y="3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2"/>
                    <a:pt x="21" y="11"/>
                  </a:cubicBezTo>
                  <a:cubicBezTo>
                    <a:pt x="21" y="10"/>
                    <a:pt x="20" y="9"/>
                    <a:pt x="19" y="9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3"/>
                  </a:cubicBezTo>
                  <a:cubicBezTo>
                    <a:pt x="1" y="23"/>
                    <a:pt x="1" y="24"/>
                    <a:pt x="2" y="25"/>
                  </a:cubicBezTo>
                  <a:cubicBezTo>
                    <a:pt x="17" y="33"/>
                    <a:pt x="17" y="33"/>
                    <a:pt x="17" y="33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2" name="Freeform 166">
              <a:extLst>
                <a:ext uri="{FF2B5EF4-FFF2-40B4-BE49-F238E27FC236}">
                  <a16:creationId xmlns:a16="http://schemas.microsoft.com/office/drawing/2014/main" id="{7674041F-1A9D-4196-A3E6-350515572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7424411"/>
              <a:ext cx="77788" cy="125413"/>
            </a:xfrm>
            <a:custGeom>
              <a:avLst/>
              <a:gdLst>
                <a:gd name="T0" fmla="*/ 17 w 19"/>
                <a:gd name="T1" fmla="*/ 30 h 31"/>
                <a:gd name="T2" fmla="*/ 2 w 19"/>
                <a:gd name="T3" fmla="*/ 22 h 31"/>
                <a:gd name="T4" fmla="*/ 0 w 19"/>
                <a:gd name="T5" fmla="*/ 19 h 31"/>
                <a:gd name="T6" fmla="*/ 0 w 19"/>
                <a:gd name="T7" fmla="*/ 2 h 31"/>
                <a:gd name="T8" fmla="*/ 2 w 19"/>
                <a:gd name="T9" fmla="*/ 1 h 31"/>
                <a:gd name="T10" fmla="*/ 17 w 19"/>
                <a:gd name="T11" fmla="*/ 9 h 31"/>
                <a:gd name="T12" fmla="*/ 19 w 19"/>
                <a:gd name="T13" fmla="*/ 13 h 31"/>
                <a:gd name="T14" fmla="*/ 19 w 19"/>
                <a:gd name="T15" fmla="*/ 29 h 31"/>
                <a:gd name="T16" fmla="*/ 17 w 19"/>
                <a:gd name="T1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7" y="30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1" y="21"/>
                    <a:pt x="0" y="20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1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10"/>
                    <a:pt x="19" y="11"/>
                    <a:pt x="19" y="13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30"/>
                    <a:pt x="18" y="31"/>
                    <a:pt x="1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3" name="Freeform 167">
              <a:extLst>
                <a:ext uri="{FF2B5EF4-FFF2-40B4-BE49-F238E27FC236}">
                  <a16:creationId xmlns:a16="http://schemas.microsoft.com/office/drawing/2014/main" id="{61D5ED3C-1073-403C-AD9C-DB2B749D62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0" y="7419649"/>
              <a:ext cx="93663" cy="138113"/>
            </a:xfrm>
            <a:custGeom>
              <a:avLst/>
              <a:gdLst>
                <a:gd name="T0" fmla="*/ 19 w 23"/>
                <a:gd name="T1" fmla="*/ 31 h 34"/>
                <a:gd name="T2" fmla="*/ 20 w 23"/>
                <a:gd name="T3" fmla="*/ 30 h 34"/>
                <a:gd name="T4" fmla="*/ 5 w 23"/>
                <a:gd name="T5" fmla="*/ 21 h 34"/>
                <a:gd name="T6" fmla="*/ 5 w 23"/>
                <a:gd name="T7" fmla="*/ 21 h 34"/>
                <a:gd name="T8" fmla="*/ 4 w 23"/>
                <a:gd name="T9" fmla="*/ 20 h 34"/>
                <a:gd name="T10" fmla="*/ 4 w 23"/>
                <a:gd name="T11" fmla="*/ 3 h 34"/>
                <a:gd name="T12" fmla="*/ 4 w 23"/>
                <a:gd name="T13" fmla="*/ 3 h 34"/>
                <a:gd name="T14" fmla="*/ 4 w 23"/>
                <a:gd name="T15" fmla="*/ 3 h 34"/>
                <a:gd name="T16" fmla="*/ 4 w 23"/>
                <a:gd name="T17" fmla="*/ 3 h 34"/>
                <a:gd name="T18" fmla="*/ 4 w 23"/>
                <a:gd name="T19" fmla="*/ 3 h 34"/>
                <a:gd name="T20" fmla="*/ 4 w 23"/>
                <a:gd name="T21" fmla="*/ 3 h 34"/>
                <a:gd name="T22" fmla="*/ 4 w 23"/>
                <a:gd name="T23" fmla="*/ 3 h 34"/>
                <a:gd name="T24" fmla="*/ 3 w 23"/>
                <a:gd name="T25" fmla="*/ 2 h 34"/>
                <a:gd name="T26" fmla="*/ 3 w 23"/>
                <a:gd name="T27" fmla="*/ 4 h 34"/>
                <a:gd name="T28" fmla="*/ 4 w 23"/>
                <a:gd name="T29" fmla="*/ 3 h 34"/>
                <a:gd name="T30" fmla="*/ 3 w 23"/>
                <a:gd name="T31" fmla="*/ 2 h 34"/>
                <a:gd name="T32" fmla="*/ 3 w 23"/>
                <a:gd name="T33" fmla="*/ 4 h 34"/>
                <a:gd name="T34" fmla="*/ 3 w 23"/>
                <a:gd name="T35" fmla="*/ 3 h 34"/>
                <a:gd name="T36" fmla="*/ 3 w 23"/>
                <a:gd name="T37" fmla="*/ 4 h 34"/>
                <a:gd name="T38" fmla="*/ 3 w 23"/>
                <a:gd name="T39" fmla="*/ 4 h 34"/>
                <a:gd name="T40" fmla="*/ 3 w 23"/>
                <a:gd name="T41" fmla="*/ 3 h 34"/>
                <a:gd name="T42" fmla="*/ 3 w 23"/>
                <a:gd name="T43" fmla="*/ 4 h 34"/>
                <a:gd name="T44" fmla="*/ 3 w 23"/>
                <a:gd name="T45" fmla="*/ 4 h 34"/>
                <a:gd name="T46" fmla="*/ 18 w 23"/>
                <a:gd name="T47" fmla="*/ 12 h 34"/>
                <a:gd name="T48" fmla="*/ 18 w 23"/>
                <a:gd name="T49" fmla="*/ 12 h 34"/>
                <a:gd name="T50" fmla="*/ 19 w 23"/>
                <a:gd name="T51" fmla="*/ 14 h 34"/>
                <a:gd name="T52" fmla="*/ 19 w 23"/>
                <a:gd name="T53" fmla="*/ 30 h 34"/>
                <a:gd name="T54" fmla="*/ 19 w 23"/>
                <a:gd name="T55" fmla="*/ 30 h 34"/>
                <a:gd name="T56" fmla="*/ 19 w 23"/>
                <a:gd name="T57" fmla="*/ 30 h 34"/>
                <a:gd name="T58" fmla="*/ 19 w 23"/>
                <a:gd name="T59" fmla="*/ 30 h 34"/>
                <a:gd name="T60" fmla="*/ 19 w 23"/>
                <a:gd name="T61" fmla="*/ 30 h 34"/>
                <a:gd name="T62" fmla="*/ 19 w 23"/>
                <a:gd name="T63" fmla="*/ 30 h 34"/>
                <a:gd name="T64" fmla="*/ 19 w 23"/>
                <a:gd name="T65" fmla="*/ 30 h 34"/>
                <a:gd name="T66" fmla="*/ 20 w 23"/>
                <a:gd name="T67" fmla="*/ 31 h 34"/>
                <a:gd name="T68" fmla="*/ 20 w 23"/>
                <a:gd name="T69" fmla="*/ 30 h 34"/>
                <a:gd name="T70" fmla="*/ 19 w 23"/>
                <a:gd name="T71" fmla="*/ 30 h 34"/>
                <a:gd name="T72" fmla="*/ 20 w 23"/>
                <a:gd name="T73" fmla="*/ 31 h 34"/>
                <a:gd name="T74" fmla="*/ 20 w 23"/>
                <a:gd name="T75" fmla="*/ 30 h 34"/>
                <a:gd name="T76" fmla="*/ 20 w 23"/>
                <a:gd name="T77" fmla="*/ 30 h 34"/>
                <a:gd name="T78" fmla="*/ 20 w 23"/>
                <a:gd name="T79" fmla="*/ 30 h 34"/>
                <a:gd name="T80" fmla="*/ 20 w 23"/>
                <a:gd name="T81" fmla="*/ 30 h 34"/>
                <a:gd name="T82" fmla="*/ 20 w 23"/>
                <a:gd name="T83" fmla="*/ 30 h 34"/>
                <a:gd name="T84" fmla="*/ 20 w 23"/>
                <a:gd name="T85" fmla="*/ 30 h 34"/>
                <a:gd name="T86" fmla="*/ 19 w 23"/>
                <a:gd name="T87" fmla="*/ 31 h 34"/>
                <a:gd name="T88" fmla="*/ 18 w 23"/>
                <a:gd name="T89" fmla="*/ 33 h 34"/>
                <a:gd name="T90" fmla="*/ 20 w 23"/>
                <a:gd name="T91" fmla="*/ 34 h 34"/>
                <a:gd name="T92" fmla="*/ 22 w 23"/>
                <a:gd name="T93" fmla="*/ 32 h 34"/>
                <a:gd name="T94" fmla="*/ 23 w 23"/>
                <a:gd name="T95" fmla="*/ 30 h 34"/>
                <a:gd name="T96" fmla="*/ 23 w 23"/>
                <a:gd name="T97" fmla="*/ 14 h 34"/>
                <a:gd name="T98" fmla="*/ 22 w 23"/>
                <a:gd name="T99" fmla="*/ 11 h 34"/>
                <a:gd name="T100" fmla="*/ 20 w 23"/>
                <a:gd name="T101" fmla="*/ 9 h 34"/>
                <a:gd name="T102" fmla="*/ 5 w 23"/>
                <a:gd name="T103" fmla="*/ 0 h 34"/>
                <a:gd name="T104" fmla="*/ 5 w 23"/>
                <a:gd name="T105" fmla="*/ 0 h 34"/>
                <a:gd name="T106" fmla="*/ 3 w 23"/>
                <a:gd name="T107" fmla="*/ 0 h 34"/>
                <a:gd name="T108" fmla="*/ 1 w 23"/>
                <a:gd name="T109" fmla="*/ 1 h 34"/>
                <a:gd name="T110" fmla="*/ 0 w 23"/>
                <a:gd name="T111" fmla="*/ 3 h 34"/>
                <a:gd name="T112" fmla="*/ 0 w 23"/>
                <a:gd name="T113" fmla="*/ 20 h 34"/>
                <a:gd name="T114" fmla="*/ 1 w 23"/>
                <a:gd name="T115" fmla="*/ 22 h 34"/>
                <a:gd name="T116" fmla="*/ 3 w 23"/>
                <a:gd name="T117" fmla="*/ 25 h 34"/>
                <a:gd name="T118" fmla="*/ 18 w 23"/>
                <a:gd name="T119" fmla="*/ 33 h 34"/>
                <a:gd name="T120" fmla="*/ 19 w 23"/>
                <a:gd name="T121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" h="34">
                  <a:moveTo>
                    <a:pt x="19" y="31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9" y="34"/>
                    <a:pt x="20" y="34"/>
                  </a:cubicBezTo>
                  <a:cubicBezTo>
                    <a:pt x="20" y="34"/>
                    <a:pt x="21" y="33"/>
                    <a:pt x="22" y="32"/>
                  </a:cubicBezTo>
                  <a:cubicBezTo>
                    <a:pt x="22" y="32"/>
                    <a:pt x="23" y="31"/>
                    <a:pt x="23" y="30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3"/>
                    <a:pt x="22" y="12"/>
                    <a:pt x="22" y="11"/>
                  </a:cubicBezTo>
                  <a:cubicBezTo>
                    <a:pt x="21" y="10"/>
                    <a:pt x="21" y="9"/>
                    <a:pt x="20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1" y="22"/>
                    <a:pt x="1" y="22"/>
                  </a:cubicBezTo>
                  <a:cubicBezTo>
                    <a:pt x="1" y="23"/>
                    <a:pt x="2" y="24"/>
                    <a:pt x="3" y="25"/>
                  </a:cubicBezTo>
                  <a:cubicBezTo>
                    <a:pt x="18" y="33"/>
                    <a:pt x="18" y="33"/>
                    <a:pt x="18" y="33"/>
                  </a:cubicBezTo>
                  <a:lnTo>
                    <a:pt x="19" y="31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4" name="Freeform 168">
              <a:extLst>
                <a:ext uri="{FF2B5EF4-FFF2-40B4-BE49-F238E27FC236}">
                  <a16:creationId xmlns:a16="http://schemas.microsoft.com/office/drawing/2014/main" id="{43CC484E-AFAB-4A91-A41D-69CF1C8E01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000" y="7848274"/>
              <a:ext cx="74613" cy="125413"/>
            </a:xfrm>
            <a:custGeom>
              <a:avLst/>
              <a:gdLst>
                <a:gd name="T0" fmla="*/ 16 w 18"/>
                <a:gd name="T1" fmla="*/ 31 h 31"/>
                <a:gd name="T2" fmla="*/ 1 w 18"/>
                <a:gd name="T3" fmla="*/ 22 h 31"/>
                <a:gd name="T4" fmla="*/ 0 w 18"/>
                <a:gd name="T5" fmla="*/ 19 h 31"/>
                <a:gd name="T6" fmla="*/ 0 w 18"/>
                <a:gd name="T7" fmla="*/ 2 h 31"/>
                <a:gd name="T8" fmla="*/ 1 w 18"/>
                <a:gd name="T9" fmla="*/ 1 h 31"/>
                <a:gd name="T10" fmla="*/ 16 w 18"/>
                <a:gd name="T11" fmla="*/ 10 h 31"/>
                <a:gd name="T12" fmla="*/ 18 w 18"/>
                <a:gd name="T13" fmla="*/ 13 h 31"/>
                <a:gd name="T14" fmla="*/ 18 w 18"/>
                <a:gd name="T15" fmla="*/ 29 h 31"/>
                <a:gd name="T16" fmla="*/ 16 w 18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1">
                  <a:moveTo>
                    <a:pt x="16" y="31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1"/>
                    <a:pt x="0" y="20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8" y="12"/>
                    <a:pt x="18" y="13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1"/>
                    <a:pt x="17" y="31"/>
                    <a:pt x="16" y="3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5" name="Freeform 169">
              <a:extLst>
                <a:ext uri="{FF2B5EF4-FFF2-40B4-BE49-F238E27FC236}">
                  <a16:creationId xmlns:a16="http://schemas.microsoft.com/office/drawing/2014/main" id="{D7371AE9-76C4-4E90-9B51-5AB95456C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7843511"/>
              <a:ext cx="90488" cy="138113"/>
            </a:xfrm>
            <a:custGeom>
              <a:avLst/>
              <a:gdLst>
                <a:gd name="T0" fmla="*/ 18 w 22"/>
                <a:gd name="T1" fmla="*/ 32 h 34"/>
                <a:gd name="T2" fmla="*/ 19 w 22"/>
                <a:gd name="T3" fmla="*/ 30 h 34"/>
                <a:gd name="T4" fmla="*/ 4 w 22"/>
                <a:gd name="T5" fmla="*/ 21 h 34"/>
                <a:gd name="T6" fmla="*/ 4 w 22"/>
                <a:gd name="T7" fmla="*/ 21 h 34"/>
                <a:gd name="T8" fmla="*/ 4 w 22"/>
                <a:gd name="T9" fmla="*/ 20 h 34"/>
                <a:gd name="T10" fmla="*/ 4 w 22"/>
                <a:gd name="T11" fmla="*/ 3 h 34"/>
                <a:gd name="T12" fmla="*/ 4 w 22"/>
                <a:gd name="T13" fmla="*/ 3 h 34"/>
                <a:gd name="T14" fmla="*/ 3 w 22"/>
                <a:gd name="T15" fmla="*/ 3 h 34"/>
                <a:gd name="T16" fmla="*/ 3 w 22"/>
                <a:gd name="T17" fmla="*/ 3 h 34"/>
                <a:gd name="T18" fmla="*/ 4 w 22"/>
                <a:gd name="T19" fmla="*/ 3 h 34"/>
                <a:gd name="T20" fmla="*/ 3 w 22"/>
                <a:gd name="T21" fmla="*/ 3 h 34"/>
                <a:gd name="T22" fmla="*/ 3 w 22"/>
                <a:gd name="T23" fmla="*/ 3 h 34"/>
                <a:gd name="T24" fmla="*/ 3 w 22"/>
                <a:gd name="T25" fmla="*/ 3 h 34"/>
                <a:gd name="T26" fmla="*/ 3 w 22"/>
                <a:gd name="T27" fmla="*/ 4 h 34"/>
                <a:gd name="T28" fmla="*/ 3 w 22"/>
                <a:gd name="T29" fmla="*/ 3 h 34"/>
                <a:gd name="T30" fmla="*/ 3 w 22"/>
                <a:gd name="T31" fmla="*/ 3 h 34"/>
                <a:gd name="T32" fmla="*/ 3 w 22"/>
                <a:gd name="T33" fmla="*/ 4 h 34"/>
                <a:gd name="T34" fmla="*/ 3 w 22"/>
                <a:gd name="T35" fmla="*/ 3 h 34"/>
                <a:gd name="T36" fmla="*/ 2 w 22"/>
                <a:gd name="T37" fmla="*/ 4 h 34"/>
                <a:gd name="T38" fmla="*/ 3 w 22"/>
                <a:gd name="T39" fmla="*/ 4 h 34"/>
                <a:gd name="T40" fmla="*/ 3 w 22"/>
                <a:gd name="T41" fmla="*/ 3 h 34"/>
                <a:gd name="T42" fmla="*/ 2 w 22"/>
                <a:gd name="T43" fmla="*/ 4 h 34"/>
                <a:gd name="T44" fmla="*/ 17 w 22"/>
                <a:gd name="T45" fmla="*/ 12 h 34"/>
                <a:gd name="T46" fmla="*/ 17 w 22"/>
                <a:gd name="T47" fmla="*/ 12 h 34"/>
                <a:gd name="T48" fmla="*/ 18 w 22"/>
                <a:gd name="T49" fmla="*/ 14 h 34"/>
                <a:gd name="T50" fmla="*/ 18 w 22"/>
                <a:gd name="T51" fmla="*/ 30 h 34"/>
                <a:gd name="T52" fmla="*/ 18 w 22"/>
                <a:gd name="T53" fmla="*/ 30 h 34"/>
                <a:gd name="T54" fmla="*/ 19 w 22"/>
                <a:gd name="T55" fmla="*/ 31 h 34"/>
                <a:gd name="T56" fmla="*/ 18 w 22"/>
                <a:gd name="T57" fmla="*/ 30 h 34"/>
                <a:gd name="T58" fmla="*/ 18 w 22"/>
                <a:gd name="T59" fmla="*/ 30 h 34"/>
                <a:gd name="T60" fmla="*/ 19 w 22"/>
                <a:gd name="T61" fmla="*/ 31 h 34"/>
                <a:gd name="T62" fmla="*/ 18 w 22"/>
                <a:gd name="T63" fmla="*/ 30 h 34"/>
                <a:gd name="T64" fmla="*/ 19 w 22"/>
                <a:gd name="T65" fmla="*/ 31 h 34"/>
                <a:gd name="T66" fmla="*/ 19 w 22"/>
                <a:gd name="T67" fmla="*/ 30 h 34"/>
                <a:gd name="T68" fmla="*/ 18 w 22"/>
                <a:gd name="T69" fmla="*/ 30 h 34"/>
                <a:gd name="T70" fmla="*/ 19 w 22"/>
                <a:gd name="T71" fmla="*/ 31 h 34"/>
                <a:gd name="T72" fmla="*/ 19 w 22"/>
                <a:gd name="T73" fmla="*/ 30 h 34"/>
                <a:gd name="T74" fmla="*/ 19 w 22"/>
                <a:gd name="T75" fmla="*/ 30 h 34"/>
                <a:gd name="T76" fmla="*/ 19 w 22"/>
                <a:gd name="T77" fmla="*/ 30 h 34"/>
                <a:gd name="T78" fmla="*/ 19 w 22"/>
                <a:gd name="T79" fmla="*/ 30 h 34"/>
                <a:gd name="T80" fmla="*/ 19 w 22"/>
                <a:gd name="T81" fmla="*/ 30 h 34"/>
                <a:gd name="T82" fmla="*/ 19 w 22"/>
                <a:gd name="T83" fmla="*/ 30 h 34"/>
                <a:gd name="T84" fmla="*/ 18 w 22"/>
                <a:gd name="T85" fmla="*/ 32 h 34"/>
                <a:gd name="T86" fmla="*/ 17 w 22"/>
                <a:gd name="T87" fmla="*/ 33 h 34"/>
                <a:gd name="T88" fmla="*/ 19 w 22"/>
                <a:gd name="T89" fmla="*/ 34 h 34"/>
                <a:gd name="T90" fmla="*/ 21 w 22"/>
                <a:gd name="T91" fmla="*/ 33 h 34"/>
                <a:gd name="T92" fmla="*/ 22 w 22"/>
                <a:gd name="T93" fmla="*/ 30 h 34"/>
                <a:gd name="T94" fmla="*/ 22 w 22"/>
                <a:gd name="T95" fmla="*/ 14 h 34"/>
                <a:gd name="T96" fmla="*/ 21 w 22"/>
                <a:gd name="T97" fmla="*/ 11 h 34"/>
                <a:gd name="T98" fmla="*/ 19 w 22"/>
                <a:gd name="T99" fmla="*/ 9 h 34"/>
                <a:gd name="T100" fmla="*/ 4 w 22"/>
                <a:gd name="T101" fmla="*/ 0 h 34"/>
                <a:gd name="T102" fmla="*/ 3 w 22"/>
                <a:gd name="T103" fmla="*/ 0 h 34"/>
                <a:gd name="T104" fmla="*/ 0 w 22"/>
                <a:gd name="T105" fmla="*/ 1 h 34"/>
                <a:gd name="T106" fmla="*/ 0 w 22"/>
                <a:gd name="T107" fmla="*/ 3 h 34"/>
                <a:gd name="T108" fmla="*/ 0 w 22"/>
                <a:gd name="T109" fmla="*/ 20 h 34"/>
                <a:gd name="T110" fmla="*/ 0 w 22"/>
                <a:gd name="T111" fmla="*/ 23 h 34"/>
                <a:gd name="T112" fmla="*/ 2 w 22"/>
                <a:gd name="T113" fmla="*/ 25 h 34"/>
                <a:gd name="T114" fmla="*/ 17 w 22"/>
                <a:gd name="T115" fmla="*/ 33 h 34"/>
                <a:gd name="T116" fmla="*/ 18 w 22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4">
                  <a:moveTo>
                    <a:pt x="18" y="32"/>
                  </a:moveTo>
                  <a:cubicBezTo>
                    <a:pt x="19" y="30"/>
                    <a:pt x="19" y="30"/>
                    <a:pt x="19" y="30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0" y="34"/>
                    <a:pt x="21" y="33"/>
                    <a:pt x="21" y="33"/>
                  </a:cubicBezTo>
                  <a:cubicBezTo>
                    <a:pt x="22" y="32"/>
                    <a:pt x="22" y="31"/>
                    <a:pt x="22" y="30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2"/>
                    <a:pt x="21" y="11"/>
                  </a:cubicBezTo>
                  <a:cubicBezTo>
                    <a:pt x="21" y="10"/>
                    <a:pt x="20" y="9"/>
                    <a:pt x="19" y="9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3"/>
                  </a:cubicBezTo>
                  <a:cubicBezTo>
                    <a:pt x="1" y="23"/>
                    <a:pt x="1" y="24"/>
                    <a:pt x="2" y="25"/>
                  </a:cubicBezTo>
                  <a:cubicBezTo>
                    <a:pt x="17" y="33"/>
                    <a:pt x="17" y="33"/>
                    <a:pt x="17" y="33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6" name="Freeform 170">
              <a:extLst>
                <a:ext uri="{FF2B5EF4-FFF2-40B4-BE49-F238E27FC236}">
                  <a16:creationId xmlns:a16="http://schemas.microsoft.com/office/drawing/2014/main" id="{C600DE20-86AA-4BC1-8A2B-E7D5D2E3E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0463" y="7786361"/>
              <a:ext cx="77788" cy="127000"/>
            </a:xfrm>
            <a:custGeom>
              <a:avLst/>
              <a:gdLst>
                <a:gd name="T0" fmla="*/ 17 w 19"/>
                <a:gd name="T1" fmla="*/ 30 h 31"/>
                <a:gd name="T2" fmla="*/ 2 w 19"/>
                <a:gd name="T3" fmla="*/ 22 h 31"/>
                <a:gd name="T4" fmla="*/ 0 w 19"/>
                <a:gd name="T5" fmla="*/ 19 h 31"/>
                <a:gd name="T6" fmla="*/ 0 w 19"/>
                <a:gd name="T7" fmla="*/ 2 h 31"/>
                <a:gd name="T8" fmla="*/ 2 w 19"/>
                <a:gd name="T9" fmla="*/ 1 h 31"/>
                <a:gd name="T10" fmla="*/ 17 w 19"/>
                <a:gd name="T11" fmla="*/ 9 h 31"/>
                <a:gd name="T12" fmla="*/ 19 w 19"/>
                <a:gd name="T13" fmla="*/ 13 h 31"/>
                <a:gd name="T14" fmla="*/ 19 w 19"/>
                <a:gd name="T15" fmla="*/ 29 h 31"/>
                <a:gd name="T16" fmla="*/ 17 w 19"/>
                <a:gd name="T1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7" y="30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1" y="21"/>
                    <a:pt x="0" y="20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1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10"/>
                    <a:pt x="19" y="11"/>
                    <a:pt x="19" y="13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30"/>
                    <a:pt x="18" y="31"/>
                    <a:pt x="1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7" name="Freeform 171">
              <a:extLst>
                <a:ext uri="{FF2B5EF4-FFF2-40B4-BE49-F238E27FC236}">
                  <a16:creationId xmlns:a16="http://schemas.microsoft.com/office/drawing/2014/main" id="{30A70659-E359-4984-89BF-24F3AC2E2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2525" y="7783186"/>
              <a:ext cx="93663" cy="138113"/>
            </a:xfrm>
            <a:custGeom>
              <a:avLst/>
              <a:gdLst>
                <a:gd name="T0" fmla="*/ 19 w 23"/>
                <a:gd name="T1" fmla="*/ 31 h 34"/>
                <a:gd name="T2" fmla="*/ 20 w 23"/>
                <a:gd name="T3" fmla="*/ 30 h 34"/>
                <a:gd name="T4" fmla="*/ 5 w 23"/>
                <a:gd name="T5" fmla="*/ 21 h 34"/>
                <a:gd name="T6" fmla="*/ 5 w 23"/>
                <a:gd name="T7" fmla="*/ 21 h 34"/>
                <a:gd name="T8" fmla="*/ 4 w 23"/>
                <a:gd name="T9" fmla="*/ 20 h 34"/>
                <a:gd name="T10" fmla="*/ 4 w 23"/>
                <a:gd name="T11" fmla="*/ 3 h 34"/>
                <a:gd name="T12" fmla="*/ 4 w 23"/>
                <a:gd name="T13" fmla="*/ 3 h 34"/>
                <a:gd name="T14" fmla="*/ 4 w 23"/>
                <a:gd name="T15" fmla="*/ 3 h 34"/>
                <a:gd name="T16" fmla="*/ 4 w 23"/>
                <a:gd name="T17" fmla="*/ 3 h 34"/>
                <a:gd name="T18" fmla="*/ 4 w 23"/>
                <a:gd name="T19" fmla="*/ 3 h 34"/>
                <a:gd name="T20" fmla="*/ 4 w 23"/>
                <a:gd name="T21" fmla="*/ 3 h 34"/>
                <a:gd name="T22" fmla="*/ 4 w 23"/>
                <a:gd name="T23" fmla="*/ 3 h 34"/>
                <a:gd name="T24" fmla="*/ 3 w 23"/>
                <a:gd name="T25" fmla="*/ 2 h 34"/>
                <a:gd name="T26" fmla="*/ 3 w 23"/>
                <a:gd name="T27" fmla="*/ 4 h 34"/>
                <a:gd name="T28" fmla="*/ 4 w 23"/>
                <a:gd name="T29" fmla="*/ 3 h 34"/>
                <a:gd name="T30" fmla="*/ 3 w 23"/>
                <a:gd name="T31" fmla="*/ 2 h 34"/>
                <a:gd name="T32" fmla="*/ 3 w 23"/>
                <a:gd name="T33" fmla="*/ 4 h 34"/>
                <a:gd name="T34" fmla="*/ 3 w 23"/>
                <a:gd name="T35" fmla="*/ 3 h 34"/>
                <a:gd name="T36" fmla="*/ 3 w 23"/>
                <a:gd name="T37" fmla="*/ 3 h 34"/>
                <a:gd name="T38" fmla="*/ 3 w 23"/>
                <a:gd name="T39" fmla="*/ 4 h 34"/>
                <a:gd name="T40" fmla="*/ 3 w 23"/>
                <a:gd name="T41" fmla="*/ 3 h 34"/>
                <a:gd name="T42" fmla="*/ 3 w 23"/>
                <a:gd name="T43" fmla="*/ 3 h 34"/>
                <a:gd name="T44" fmla="*/ 18 w 23"/>
                <a:gd name="T45" fmla="*/ 12 h 34"/>
                <a:gd name="T46" fmla="*/ 18 w 23"/>
                <a:gd name="T47" fmla="*/ 12 h 34"/>
                <a:gd name="T48" fmla="*/ 19 w 23"/>
                <a:gd name="T49" fmla="*/ 14 h 34"/>
                <a:gd name="T50" fmla="*/ 19 w 23"/>
                <a:gd name="T51" fmla="*/ 30 h 34"/>
                <a:gd name="T52" fmla="*/ 19 w 23"/>
                <a:gd name="T53" fmla="*/ 30 h 34"/>
                <a:gd name="T54" fmla="*/ 19 w 23"/>
                <a:gd name="T55" fmla="*/ 30 h 34"/>
                <a:gd name="T56" fmla="*/ 19 w 23"/>
                <a:gd name="T57" fmla="*/ 30 h 34"/>
                <a:gd name="T58" fmla="*/ 19 w 23"/>
                <a:gd name="T59" fmla="*/ 30 h 34"/>
                <a:gd name="T60" fmla="*/ 19 w 23"/>
                <a:gd name="T61" fmla="*/ 30 h 34"/>
                <a:gd name="T62" fmla="*/ 19 w 23"/>
                <a:gd name="T63" fmla="*/ 30 h 34"/>
                <a:gd name="T64" fmla="*/ 20 w 23"/>
                <a:gd name="T65" fmla="*/ 31 h 34"/>
                <a:gd name="T66" fmla="*/ 20 w 23"/>
                <a:gd name="T67" fmla="*/ 30 h 34"/>
                <a:gd name="T68" fmla="*/ 19 w 23"/>
                <a:gd name="T69" fmla="*/ 30 h 34"/>
                <a:gd name="T70" fmla="*/ 20 w 23"/>
                <a:gd name="T71" fmla="*/ 31 h 34"/>
                <a:gd name="T72" fmla="*/ 20 w 23"/>
                <a:gd name="T73" fmla="*/ 30 h 34"/>
                <a:gd name="T74" fmla="*/ 20 w 23"/>
                <a:gd name="T75" fmla="*/ 30 h 34"/>
                <a:gd name="T76" fmla="*/ 20 w 23"/>
                <a:gd name="T77" fmla="*/ 30 h 34"/>
                <a:gd name="T78" fmla="*/ 20 w 23"/>
                <a:gd name="T79" fmla="*/ 30 h 34"/>
                <a:gd name="T80" fmla="*/ 20 w 23"/>
                <a:gd name="T81" fmla="*/ 30 h 34"/>
                <a:gd name="T82" fmla="*/ 20 w 23"/>
                <a:gd name="T83" fmla="*/ 30 h 34"/>
                <a:gd name="T84" fmla="*/ 19 w 23"/>
                <a:gd name="T85" fmla="*/ 31 h 34"/>
                <a:gd name="T86" fmla="*/ 18 w 23"/>
                <a:gd name="T87" fmla="*/ 33 h 34"/>
                <a:gd name="T88" fmla="*/ 20 w 23"/>
                <a:gd name="T89" fmla="*/ 34 h 34"/>
                <a:gd name="T90" fmla="*/ 22 w 23"/>
                <a:gd name="T91" fmla="*/ 32 h 34"/>
                <a:gd name="T92" fmla="*/ 23 w 23"/>
                <a:gd name="T93" fmla="*/ 30 h 34"/>
                <a:gd name="T94" fmla="*/ 23 w 23"/>
                <a:gd name="T95" fmla="*/ 14 h 34"/>
                <a:gd name="T96" fmla="*/ 22 w 23"/>
                <a:gd name="T97" fmla="*/ 11 h 34"/>
                <a:gd name="T98" fmla="*/ 20 w 23"/>
                <a:gd name="T99" fmla="*/ 9 h 34"/>
                <a:gd name="T100" fmla="*/ 5 w 23"/>
                <a:gd name="T101" fmla="*/ 0 h 34"/>
                <a:gd name="T102" fmla="*/ 3 w 23"/>
                <a:gd name="T103" fmla="*/ 0 h 34"/>
                <a:gd name="T104" fmla="*/ 1 w 23"/>
                <a:gd name="T105" fmla="*/ 1 h 34"/>
                <a:gd name="T106" fmla="*/ 0 w 23"/>
                <a:gd name="T107" fmla="*/ 3 h 34"/>
                <a:gd name="T108" fmla="*/ 0 w 23"/>
                <a:gd name="T109" fmla="*/ 20 h 34"/>
                <a:gd name="T110" fmla="*/ 1 w 23"/>
                <a:gd name="T111" fmla="*/ 22 h 34"/>
                <a:gd name="T112" fmla="*/ 3 w 23"/>
                <a:gd name="T113" fmla="*/ 24 h 34"/>
                <a:gd name="T114" fmla="*/ 18 w 23"/>
                <a:gd name="T115" fmla="*/ 33 h 34"/>
                <a:gd name="T116" fmla="*/ 19 w 23"/>
                <a:gd name="T117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" h="34">
                  <a:moveTo>
                    <a:pt x="19" y="31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9" y="34"/>
                    <a:pt x="20" y="34"/>
                  </a:cubicBezTo>
                  <a:cubicBezTo>
                    <a:pt x="21" y="34"/>
                    <a:pt x="22" y="33"/>
                    <a:pt x="22" y="32"/>
                  </a:cubicBezTo>
                  <a:cubicBezTo>
                    <a:pt x="22" y="32"/>
                    <a:pt x="23" y="31"/>
                    <a:pt x="23" y="30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3"/>
                    <a:pt x="22" y="12"/>
                    <a:pt x="22" y="11"/>
                  </a:cubicBezTo>
                  <a:cubicBezTo>
                    <a:pt x="22" y="10"/>
                    <a:pt x="21" y="9"/>
                    <a:pt x="20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1" y="22"/>
                    <a:pt x="1" y="22"/>
                  </a:cubicBezTo>
                  <a:cubicBezTo>
                    <a:pt x="2" y="23"/>
                    <a:pt x="2" y="24"/>
                    <a:pt x="3" y="24"/>
                  </a:cubicBezTo>
                  <a:cubicBezTo>
                    <a:pt x="18" y="33"/>
                    <a:pt x="18" y="33"/>
                    <a:pt x="18" y="33"/>
                  </a:cubicBezTo>
                  <a:lnTo>
                    <a:pt x="19" y="31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8" name="Freeform 172">
              <a:extLst>
                <a:ext uri="{FF2B5EF4-FFF2-40B4-BE49-F238E27FC236}">
                  <a16:creationId xmlns:a16="http://schemas.microsoft.com/office/drawing/2014/main" id="{88F20157-4BAF-498B-90F9-9E066920A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0" y="7726036"/>
              <a:ext cx="73025" cy="125413"/>
            </a:xfrm>
            <a:custGeom>
              <a:avLst/>
              <a:gdLst>
                <a:gd name="T0" fmla="*/ 17 w 18"/>
                <a:gd name="T1" fmla="*/ 30 h 31"/>
                <a:gd name="T2" fmla="*/ 2 w 18"/>
                <a:gd name="T3" fmla="*/ 22 h 31"/>
                <a:gd name="T4" fmla="*/ 0 w 18"/>
                <a:gd name="T5" fmla="*/ 18 h 31"/>
                <a:gd name="T6" fmla="*/ 0 w 18"/>
                <a:gd name="T7" fmla="*/ 2 h 31"/>
                <a:gd name="T8" fmla="*/ 2 w 18"/>
                <a:gd name="T9" fmla="*/ 1 h 31"/>
                <a:gd name="T10" fmla="*/ 17 w 18"/>
                <a:gd name="T11" fmla="*/ 9 h 31"/>
                <a:gd name="T12" fmla="*/ 18 w 18"/>
                <a:gd name="T13" fmla="*/ 12 h 31"/>
                <a:gd name="T14" fmla="*/ 18 w 18"/>
                <a:gd name="T15" fmla="*/ 29 h 31"/>
                <a:gd name="T16" fmla="*/ 17 w 18"/>
                <a:gd name="T1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1">
                  <a:moveTo>
                    <a:pt x="17" y="30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1" y="21"/>
                    <a:pt x="0" y="20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2" y="1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10"/>
                    <a:pt x="18" y="11"/>
                    <a:pt x="18" y="12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8" y="31"/>
                    <a:pt x="1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9" name="Freeform 173">
              <a:extLst>
                <a:ext uri="{FF2B5EF4-FFF2-40B4-BE49-F238E27FC236}">
                  <a16:creationId xmlns:a16="http://schemas.microsoft.com/office/drawing/2014/main" id="{E00B2D32-DFF8-4F70-964D-C3234FAAE5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7716511"/>
              <a:ext cx="88900" cy="139700"/>
            </a:xfrm>
            <a:custGeom>
              <a:avLst/>
              <a:gdLst>
                <a:gd name="T0" fmla="*/ 19 w 22"/>
                <a:gd name="T1" fmla="*/ 32 h 34"/>
                <a:gd name="T2" fmla="*/ 20 w 22"/>
                <a:gd name="T3" fmla="*/ 31 h 34"/>
                <a:gd name="T4" fmla="*/ 5 w 22"/>
                <a:gd name="T5" fmla="*/ 22 h 34"/>
                <a:gd name="T6" fmla="*/ 5 w 22"/>
                <a:gd name="T7" fmla="*/ 22 h 34"/>
                <a:gd name="T8" fmla="*/ 4 w 22"/>
                <a:gd name="T9" fmla="*/ 20 h 34"/>
                <a:gd name="T10" fmla="*/ 4 w 22"/>
                <a:gd name="T11" fmla="*/ 4 h 34"/>
                <a:gd name="T12" fmla="*/ 4 w 22"/>
                <a:gd name="T13" fmla="*/ 4 h 34"/>
                <a:gd name="T14" fmla="*/ 3 w 22"/>
                <a:gd name="T15" fmla="*/ 4 h 34"/>
                <a:gd name="T16" fmla="*/ 4 w 22"/>
                <a:gd name="T17" fmla="*/ 4 h 34"/>
                <a:gd name="T18" fmla="*/ 4 w 22"/>
                <a:gd name="T19" fmla="*/ 4 h 34"/>
                <a:gd name="T20" fmla="*/ 3 w 22"/>
                <a:gd name="T21" fmla="*/ 4 h 34"/>
                <a:gd name="T22" fmla="*/ 4 w 22"/>
                <a:gd name="T23" fmla="*/ 4 h 34"/>
                <a:gd name="T24" fmla="*/ 3 w 22"/>
                <a:gd name="T25" fmla="*/ 3 h 34"/>
                <a:gd name="T26" fmla="*/ 3 w 22"/>
                <a:gd name="T27" fmla="*/ 4 h 34"/>
                <a:gd name="T28" fmla="*/ 4 w 22"/>
                <a:gd name="T29" fmla="*/ 4 h 34"/>
                <a:gd name="T30" fmla="*/ 3 w 22"/>
                <a:gd name="T31" fmla="*/ 3 h 34"/>
                <a:gd name="T32" fmla="*/ 3 w 22"/>
                <a:gd name="T33" fmla="*/ 4 h 34"/>
                <a:gd name="T34" fmla="*/ 3 w 22"/>
                <a:gd name="T35" fmla="*/ 4 h 34"/>
                <a:gd name="T36" fmla="*/ 3 w 22"/>
                <a:gd name="T37" fmla="*/ 4 h 34"/>
                <a:gd name="T38" fmla="*/ 3 w 22"/>
                <a:gd name="T39" fmla="*/ 4 h 34"/>
                <a:gd name="T40" fmla="*/ 3 w 22"/>
                <a:gd name="T41" fmla="*/ 4 h 34"/>
                <a:gd name="T42" fmla="*/ 3 w 22"/>
                <a:gd name="T43" fmla="*/ 4 h 34"/>
                <a:gd name="T44" fmla="*/ 18 w 22"/>
                <a:gd name="T45" fmla="*/ 13 h 34"/>
                <a:gd name="T46" fmla="*/ 18 w 22"/>
                <a:gd name="T47" fmla="*/ 13 h 34"/>
                <a:gd name="T48" fmla="*/ 18 w 22"/>
                <a:gd name="T49" fmla="*/ 14 h 34"/>
                <a:gd name="T50" fmla="*/ 18 w 22"/>
                <a:gd name="T51" fmla="*/ 31 h 34"/>
                <a:gd name="T52" fmla="*/ 18 w 22"/>
                <a:gd name="T53" fmla="*/ 31 h 34"/>
                <a:gd name="T54" fmla="*/ 19 w 22"/>
                <a:gd name="T55" fmla="*/ 31 h 34"/>
                <a:gd name="T56" fmla="*/ 19 w 22"/>
                <a:gd name="T57" fmla="*/ 31 h 34"/>
                <a:gd name="T58" fmla="*/ 18 w 22"/>
                <a:gd name="T59" fmla="*/ 31 h 34"/>
                <a:gd name="T60" fmla="*/ 19 w 22"/>
                <a:gd name="T61" fmla="*/ 31 h 34"/>
                <a:gd name="T62" fmla="*/ 19 w 22"/>
                <a:gd name="T63" fmla="*/ 31 h 34"/>
                <a:gd name="T64" fmla="*/ 19 w 22"/>
                <a:gd name="T65" fmla="*/ 32 h 34"/>
                <a:gd name="T66" fmla="*/ 19 w 22"/>
                <a:gd name="T67" fmla="*/ 30 h 34"/>
                <a:gd name="T68" fmla="*/ 19 w 22"/>
                <a:gd name="T69" fmla="*/ 31 h 34"/>
                <a:gd name="T70" fmla="*/ 19 w 22"/>
                <a:gd name="T71" fmla="*/ 32 h 34"/>
                <a:gd name="T72" fmla="*/ 19 w 22"/>
                <a:gd name="T73" fmla="*/ 30 h 34"/>
                <a:gd name="T74" fmla="*/ 19 w 22"/>
                <a:gd name="T75" fmla="*/ 31 h 34"/>
                <a:gd name="T76" fmla="*/ 20 w 22"/>
                <a:gd name="T77" fmla="*/ 31 h 34"/>
                <a:gd name="T78" fmla="*/ 19 w 22"/>
                <a:gd name="T79" fmla="*/ 30 h 34"/>
                <a:gd name="T80" fmla="*/ 19 w 22"/>
                <a:gd name="T81" fmla="*/ 31 h 34"/>
                <a:gd name="T82" fmla="*/ 20 w 22"/>
                <a:gd name="T83" fmla="*/ 31 h 34"/>
                <a:gd name="T84" fmla="*/ 19 w 22"/>
                <a:gd name="T85" fmla="*/ 32 h 34"/>
                <a:gd name="T86" fmla="*/ 18 w 22"/>
                <a:gd name="T87" fmla="*/ 34 h 34"/>
                <a:gd name="T88" fmla="*/ 19 w 22"/>
                <a:gd name="T89" fmla="*/ 34 h 34"/>
                <a:gd name="T90" fmla="*/ 22 w 22"/>
                <a:gd name="T91" fmla="*/ 33 h 34"/>
                <a:gd name="T92" fmla="*/ 22 w 22"/>
                <a:gd name="T93" fmla="*/ 31 h 34"/>
                <a:gd name="T94" fmla="*/ 22 w 22"/>
                <a:gd name="T95" fmla="*/ 14 h 34"/>
                <a:gd name="T96" fmla="*/ 22 w 22"/>
                <a:gd name="T97" fmla="*/ 12 h 34"/>
                <a:gd name="T98" fmla="*/ 20 w 22"/>
                <a:gd name="T99" fmla="*/ 10 h 34"/>
                <a:gd name="T100" fmla="*/ 5 w 22"/>
                <a:gd name="T101" fmla="*/ 1 h 34"/>
                <a:gd name="T102" fmla="*/ 3 w 22"/>
                <a:gd name="T103" fmla="*/ 0 h 34"/>
                <a:gd name="T104" fmla="*/ 1 w 22"/>
                <a:gd name="T105" fmla="*/ 2 h 34"/>
                <a:gd name="T106" fmla="*/ 0 w 22"/>
                <a:gd name="T107" fmla="*/ 4 h 34"/>
                <a:gd name="T108" fmla="*/ 0 w 22"/>
                <a:gd name="T109" fmla="*/ 20 h 34"/>
                <a:gd name="T110" fmla="*/ 1 w 22"/>
                <a:gd name="T111" fmla="*/ 23 h 34"/>
                <a:gd name="T112" fmla="*/ 3 w 22"/>
                <a:gd name="T113" fmla="*/ 25 h 34"/>
                <a:gd name="T114" fmla="*/ 18 w 22"/>
                <a:gd name="T115" fmla="*/ 34 h 34"/>
                <a:gd name="T116" fmla="*/ 19 w 22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4">
                  <a:moveTo>
                    <a:pt x="19" y="32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9" y="34"/>
                    <a:pt x="19" y="34"/>
                  </a:cubicBezTo>
                  <a:cubicBezTo>
                    <a:pt x="20" y="34"/>
                    <a:pt x="21" y="34"/>
                    <a:pt x="22" y="33"/>
                  </a:cubicBezTo>
                  <a:cubicBezTo>
                    <a:pt x="22" y="33"/>
                    <a:pt x="22" y="32"/>
                    <a:pt x="22" y="3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2"/>
                    <a:pt x="22" y="12"/>
                  </a:cubicBezTo>
                  <a:cubicBezTo>
                    <a:pt x="21" y="11"/>
                    <a:pt x="21" y="10"/>
                    <a:pt x="20" y="1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1" y="24"/>
                    <a:pt x="2" y="25"/>
                    <a:pt x="3" y="25"/>
                  </a:cubicBezTo>
                  <a:cubicBezTo>
                    <a:pt x="18" y="34"/>
                    <a:pt x="18" y="34"/>
                    <a:pt x="18" y="34"/>
                  </a:cubicBezTo>
                  <a:lnTo>
                    <a:pt x="19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0" name="Freeform 174">
              <a:extLst>
                <a:ext uri="{FF2B5EF4-FFF2-40B4-BE49-F238E27FC236}">
                  <a16:creationId xmlns:a16="http://schemas.microsoft.com/office/drawing/2014/main" id="{2EF23372-DAEF-4794-9D51-6037AA64D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7664124"/>
              <a:ext cx="73025" cy="127000"/>
            </a:xfrm>
            <a:custGeom>
              <a:avLst/>
              <a:gdLst>
                <a:gd name="T0" fmla="*/ 16 w 18"/>
                <a:gd name="T1" fmla="*/ 30 h 31"/>
                <a:gd name="T2" fmla="*/ 1 w 18"/>
                <a:gd name="T3" fmla="*/ 21 h 31"/>
                <a:gd name="T4" fmla="*/ 0 w 18"/>
                <a:gd name="T5" fmla="*/ 18 h 31"/>
                <a:gd name="T6" fmla="*/ 0 w 18"/>
                <a:gd name="T7" fmla="*/ 2 h 31"/>
                <a:gd name="T8" fmla="*/ 1 w 18"/>
                <a:gd name="T9" fmla="*/ 0 h 31"/>
                <a:gd name="T10" fmla="*/ 16 w 18"/>
                <a:gd name="T11" fmla="*/ 9 h 31"/>
                <a:gd name="T12" fmla="*/ 18 w 18"/>
                <a:gd name="T13" fmla="*/ 12 h 31"/>
                <a:gd name="T14" fmla="*/ 18 w 18"/>
                <a:gd name="T15" fmla="*/ 29 h 31"/>
                <a:gd name="T16" fmla="*/ 16 w 18"/>
                <a:gd name="T1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1">
                  <a:moveTo>
                    <a:pt x="16" y="30"/>
                  </a:move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10"/>
                    <a:pt x="18" y="11"/>
                    <a:pt x="18" y="12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7" y="31"/>
                    <a:pt x="16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1" name="Freeform 175">
              <a:extLst>
                <a:ext uri="{FF2B5EF4-FFF2-40B4-BE49-F238E27FC236}">
                  <a16:creationId xmlns:a16="http://schemas.microsoft.com/office/drawing/2014/main" id="{F2B951DA-EB96-4772-8B1C-083354201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800" y="7656186"/>
              <a:ext cx="90488" cy="138113"/>
            </a:xfrm>
            <a:custGeom>
              <a:avLst/>
              <a:gdLst>
                <a:gd name="T0" fmla="*/ 18 w 22"/>
                <a:gd name="T1" fmla="*/ 32 h 34"/>
                <a:gd name="T2" fmla="*/ 19 w 22"/>
                <a:gd name="T3" fmla="*/ 30 h 34"/>
                <a:gd name="T4" fmla="*/ 4 w 22"/>
                <a:gd name="T5" fmla="*/ 22 h 34"/>
                <a:gd name="T6" fmla="*/ 4 w 22"/>
                <a:gd name="T7" fmla="*/ 22 h 34"/>
                <a:gd name="T8" fmla="*/ 4 w 22"/>
                <a:gd name="T9" fmla="*/ 20 h 34"/>
                <a:gd name="T10" fmla="*/ 4 w 22"/>
                <a:gd name="T11" fmla="*/ 4 h 34"/>
                <a:gd name="T12" fmla="*/ 4 w 22"/>
                <a:gd name="T13" fmla="*/ 4 h 34"/>
                <a:gd name="T14" fmla="*/ 3 w 22"/>
                <a:gd name="T15" fmla="*/ 3 h 34"/>
                <a:gd name="T16" fmla="*/ 4 w 22"/>
                <a:gd name="T17" fmla="*/ 4 h 34"/>
                <a:gd name="T18" fmla="*/ 4 w 22"/>
                <a:gd name="T19" fmla="*/ 4 h 34"/>
                <a:gd name="T20" fmla="*/ 3 w 22"/>
                <a:gd name="T21" fmla="*/ 3 h 34"/>
                <a:gd name="T22" fmla="*/ 4 w 22"/>
                <a:gd name="T23" fmla="*/ 4 h 34"/>
                <a:gd name="T24" fmla="*/ 3 w 22"/>
                <a:gd name="T25" fmla="*/ 3 h 34"/>
                <a:gd name="T26" fmla="*/ 3 w 22"/>
                <a:gd name="T27" fmla="*/ 4 h 34"/>
                <a:gd name="T28" fmla="*/ 4 w 22"/>
                <a:gd name="T29" fmla="*/ 4 h 34"/>
                <a:gd name="T30" fmla="*/ 3 w 22"/>
                <a:gd name="T31" fmla="*/ 3 h 34"/>
                <a:gd name="T32" fmla="*/ 3 w 22"/>
                <a:gd name="T33" fmla="*/ 4 h 34"/>
                <a:gd name="T34" fmla="*/ 3 w 22"/>
                <a:gd name="T35" fmla="*/ 4 h 34"/>
                <a:gd name="T36" fmla="*/ 2 w 22"/>
                <a:gd name="T37" fmla="*/ 4 h 34"/>
                <a:gd name="T38" fmla="*/ 3 w 22"/>
                <a:gd name="T39" fmla="*/ 4 h 34"/>
                <a:gd name="T40" fmla="*/ 3 w 22"/>
                <a:gd name="T41" fmla="*/ 4 h 34"/>
                <a:gd name="T42" fmla="*/ 2 w 22"/>
                <a:gd name="T43" fmla="*/ 4 h 34"/>
                <a:gd name="T44" fmla="*/ 17 w 22"/>
                <a:gd name="T45" fmla="*/ 13 h 34"/>
                <a:gd name="T46" fmla="*/ 18 w 22"/>
                <a:gd name="T47" fmla="*/ 13 h 34"/>
                <a:gd name="T48" fmla="*/ 18 w 22"/>
                <a:gd name="T49" fmla="*/ 14 h 34"/>
                <a:gd name="T50" fmla="*/ 18 w 22"/>
                <a:gd name="T51" fmla="*/ 31 h 34"/>
                <a:gd name="T52" fmla="*/ 18 w 22"/>
                <a:gd name="T53" fmla="*/ 31 h 34"/>
                <a:gd name="T54" fmla="*/ 19 w 22"/>
                <a:gd name="T55" fmla="*/ 31 h 34"/>
                <a:gd name="T56" fmla="*/ 18 w 22"/>
                <a:gd name="T57" fmla="*/ 31 h 34"/>
                <a:gd name="T58" fmla="*/ 18 w 22"/>
                <a:gd name="T59" fmla="*/ 31 h 34"/>
                <a:gd name="T60" fmla="*/ 19 w 22"/>
                <a:gd name="T61" fmla="*/ 31 h 34"/>
                <a:gd name="T62" fmla="*/ 18 w 22"/>
                <a:gd name="T63" fmla="*/ 31 h 34"/>
                <a:gd name="T64" fmla="*/ 19 w 22"/>
                <a:gd name="T65" fmla="*/ 31 h 34"/>
                <a:gd name="T66" fmla="*/ 19 w 22"/>
                <a:gd name="T67" fmla="*/ 30 h 34"/>
                <a:gd name="T68" fmla="*/ 18 w 22"/>
                <a:gd name="T69" fmla="*/ 31 h 34"/>
                <a:gd name="T70" fmla="*/ 19 w 22"/>
                <a:gd name="T71" fmla="*/ 31 h 34"/>
                <a:gd name="T72" fmla="*/ 19 w 22"/>
                <a:gd name="T73" fmla="*/ 30 h 34"/>
                <a:gd name="T74" fmla="*/ 19 w 22"/>
                <a:gd name="T75" fmla="*/ 31 h 34"/>
                <a:gd name="T76" fmla="*/ 19 w 22"/>
                <a:gd name="T77" fmla="*/ 30 h 34"/>
                <a:gd name="T78" fmla="*/ 19 w 22"/>
                <a:gd name="T79" fmla="*/ 30 h 34"/>
                <a:gd name="T80" fmla="*/ 19 w 22"/>
                <a:gd name="T81" fmla="*/ 31 h 34"/>
                <a:gd name="T82" fmla="*/ 19 w 22"/>
                <a:gd name="T83" fmla="*/ 30 h 34"/>
                <a:gd name="T84" fmla="*/ 18 w 22"/>
                <a:gd name="T85" fmla="*/ 32 h 34"/>
                <a:gd name="T86" fmla="*/ 17 w 22"/>
                <a:gd name="T87" fmla="*/ 34 h 34"/>
                <a:gd name="T88" fmla="*/ 19 w 22"/>
                <a:gd name="T89" fmla="*/ 34 h 34"/>
                <a:gd name="T90" fmla="*/ 21 w 22"/>
                <a:gd name="T91" fmla="*/ 33 h 34"/>
                <a:gd name="T92" fmla="*/ 22 w 22"/>
                <a:gd name="T93" fmla="*/ 31 h 34"/>
                <a:gd name="T94" fmla="*/ 22 w 22"/>
                <a:gd name="T95" fmla="*/ 14 h 34"/>
                <a:gd name="T96" fmla="*/ 21 w 22"/>
                <a:gd name="T97" fmla="*/ 11 h 34"/>
                <a:gd name="T98" fmla="*/ 19 w 22"/>
                <a:gd name="T99" fmla="*/ 9 h 34"/>
                <a:gd name="T100" fmla="*/ 4 w 22"/>
                <a:gd name="T101" fmla="*/ 1 h 34"/>
                <a:gd name="T102" fmla="*/ 3 w 22"/>
                <a:gd name="T103" fmla="*/ 0 h 34"/>
                <a:gd name="T104" fmla="*/ 0 w 22"/>
                <a:gd name="T105" fmla="*/ 1 h 34"/>
                <a:gd name="T106" fmla="*/ 0 w 22"/>
                <a:gd name="T107" fmla="*/ 4 h 34"/>
                <a:gd name="T108" fmla="*/ 0 w 22"/>
                <a:gd name="T109" fmla="*/ 20 h 34"/>
                <a:gd name="T110" fmla="*/ 1 w 22"/>
                <a:gd name="T111" fmla="*/ 23 h 34"/>
                <a:gd name="T112" fmla="*/ 2 w 22"/>
                <a:gd name="T113" fmla="*/ 25 h 34"/>
                <a:gd name="T114" fmla="*/ 17 w 22"/>
                <a:gd name="T115" fmla="*/ 34 h 34"/>
                <a:gd name="T116" fmla="*/ 18 w 22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4">
                  <a:moveTo>
                    <a:pt x="18" y="32"/>
                  </a:moveTo>
                  <a:cubicBezTo>
                    <a:pt x="19" y="30"/>
                    <a:pt x="19" y="30"/>
                    <a:pt x="19" y="3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0" y="34"/>
                    <a:pt x="21" y="34"/>
                    <a:pt x="21" y="33"/>
                  </a:cubicBezTo>
                  <a:cubicBezTo>
                    <a:pt x="22" y="32"/>
                    <a:pt x="22" y="32"/>
                    <a:pt x="22" y="3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2"/>
                    <a:pt x="21" y="11"/>
                  </a:cubicBezTo>
                  <a:cubicBezTo>
                    <a:pt x="21" y="11"/>
                    <a:pt x="20" y="10"/>
                    <a:pt x="19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1" y="23"/>
                  </a:cubicBezTo>
                  <a:cubicBezTo>
                    <a:pt x="1" y="24"/>
                    <a:pt x="2" y="25"/>
                    <a:pt x="2" y="25"/>
                  </a:cubicBezTo>
                  <a:cubicBezTo>
                    <a:pt x="17" y="34"/>
                    <a:pt x="17" y="34"/>
                    <a:pt x="17" y="34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2" name="Freeform 176">
              <a:extLst>
                <a:ext uri="{FF2B5EF4-FFF2-40B4-BE49-F238E27FC236}">
                  <a16:creationId xmlns:a16="http://schemas.microsoft.com/office/drawing/2014/main" id="{8EEF4E78-9261-4E1A-BD6D-EF314D074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375" y="7603799"/>
              <a:ext cx="74613" cy="122238"/>
            </a:xfrm>
            <a:custGeom>
              <a:avLst/>
              <a:gdLst>
                <a:gd name="T0" fmla="*/ 16 w 18"/>
                <a:gd name="T1" fmla="*/ 30 h 30"/>
                <a:gd name="T2" fmla="*/ 1 w 18"/>
                <a:gd name="T3" fmla="*/ 21 h 30"/>
                <a:gd name="T4" fmla="*/ 0 w 18"/>
                <a:gd name="T5" fmla="*/ 18 h 30"/>
                <a:gd name="T6" fmla="*/ 0 w 18"/>
                <a:gd name="T7" fmla="*/ 2 h 30"/>
                <a:gd name="T8" fmla="*/ 1 w 18"/>
                <a:gd name="T9" fmla="*/ 0 h 30"/>
                <a:gd name="T10" fmla="*/ 16 w 18"/>
                <a:gd name="T11" fmla="*/ 9 h 30"/>
                <a:gd name="T12" fmla="*/ 18 w 18"/>
                <a:gd name="T13" fmla="*/ 12 h 30"/>
                <a:gd name="T14" fmla="*/ 18 w 18"/>
                <a:gd name="T15" fmla="*/ 29 h 30"/>
                <a:gd name="T16" fmla="*/ 16 w 18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0">
                  <a:moveTo>
                    <a:pt x="16" y="30"/>
                  </a:moveTo>
                  <a:cubicBezTo>
                    <a:pt x="1" y="21"/>
                    <a:pt x="1" y="21"/>
                    <a:pt x="1" y="21"/>
                  </a:cubicBezTo>
                  <a:cubicBezTo>
                    <a:pt x="0" y="21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9"/>
                    <a:pt x="18" y="11"/>
                    <a:pt x="18" y="12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7" y="30"/>
                    <a:pt x="16" y="3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3" name="Freeform 177">
              <a:extLst>
                <a:ext uri="{FF2B5EF4-FFF2-40B4-BE49-F238E27FC236}">
                  <a16:creationId xmlns:a16="http://schemas.microsoft.com/office/drawing/2014/main" id="{9867CCB6-0423-4FBE-BB5D-7A5D930D06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438" y="7594274"/>
              <a:ext cx="90488" cy="139700"/>
            </a:xfrm>
            <a:custGeom>
              <a:avLst/>
              <a:gdLst>
                <a:gd name="T0" fmla="*/ 18 w 22"/>
                <a:gd name="T1" fmla="*/ 32 h 34"/>
                <a:gd name="T2" fmla="*/ 19 w 22"/>
                <a:gd name="T3" fmla="*/ 30 h 34"/>
                <a:gd name="T4" fmla="*/ 4 w 22"/>
                <a:gd name="T5" fmla="*/ 22 h 34"/>
                <a:gd name="T6" fmla="*/ 4 w 22"/>
                <a:gd name="T7" fmla="*/ 21 h 34"/>
                <a:gd name="T8" fmla="*/ 4 w 22"/>
                <a:gd name="T9" fmla="*/ 20 h 34"/>
                <a:gd name="T10" fmla="*/ 4 w 22"/>
                <a:gd name="T11" fmla="*/ 4 h 34"/>
                <a:gd name="T12" fmla="*/ 4 w 22"/>
                <a:gd name="T13" fmla="*/ 3 h 34"/>
                <a:gd name="T14" fmla="*/ 3 w 22"/>
                <a:gd name="T15" fmla="*/ 3 h 34"/>
                <a:gd name="T16" fmla="*/ 3 w 22"/>
                <a:gd name="T17" fmla="*/ 4 h 34"/>
                <a:gd name="T18" fmla="*/ 4 w 22"/>
                <a:gd name="T19" fmla="*/ 3 h 34"/>
                <a:gd name="T20" fmla="*/ 3 w 22"/>
                <a:gd name="T21" fmla="*/ 3 h 34"/>
                <a:gd name="T22" fmla="*/ 3 w 22"/>
                <a:gd name="T23" fmla="*/ 4 h 34"/>
                <a:gd name="T24" fmla="*/ 3 w 22"/>
                <a:gd name="T25" fmla="*/ 3 h 34"/>
                <a:gd name="T26" fmla="*/ 3 w 22"/>
                <a:gd name="T27" fmla="*/ 4 h 34"/>
                <a:gd name="T28" fmla="*/ 3 w 22"/>
                <a:gd name="T29" fmla="*/ 4 h 34"/>
                <a:gd name="T30" fmla="*/ 3 w 22"/>
                <a:gd name="T31" fmla="*/ 3 h 34"/>
                <a:gd name="T32" fmla="*/ 3 w 22"/>
                <a:gd name="T33" fmla="*/ 4 h 34"/>
                <a:gd name="T34" fmla="*/ 3 w 22"/>
                <a:gd name="T35" fmla="*/ 3 h 34"/>
                <a:gd name="T36" fmla="*/ 2 w 22"/>
                <a:gd name="T37" fmla="*/ 4 h 34"/>
                <a:gd name="T38" fmla="*/ 3 w 22"/>
                <a:gd name="T39" fmla="*/ 4 h 34"/>
                <a:gd name="T40" fmla="*/ 3 w 22"/>
                <a:gd name="T41" fmla="*/ 3 h 34"/>
                <a:gd name="T42" fmla="*/ 2 w 22"/>
                <a:gd name="T43" fmla="*/ 4 h 34"/>
                <a:gd name="T44" fmla="*/ 17 w 22"/>
                <a:gd name="T45" fmla="*/ 13 h 34"/>
                <a:gd name="T46" fmla="*/ 17 w 22"/>
                <a:gd name="T47" fmla="*/ 13 h 34"/>
                <a:gd name="T48" fmla="*/ 18 w 22"/>
                <a:gd name="T49" fmla="*/ 14 h 34"/>
                <a:gd name="T50" fmla="*/ 18 w 22"/>
                <a:gd name="T51" fmla="*/ 31 h 34"/>
                <a:gd name="T52" fmla="*/ 18 w 22"/>
                <a:gd name="T53" fmla="*/ 31 h 34"/>
                <a:gd name="T54" fmla="*/ 19 w 22"/>
                <a:gd name="T55" fmla="*/ 31 h 34"/>
                <a:gd name="T56" fmla="*/ 18 w 22"/>
                <a:gd name="T57" fmla="*/ 30 h 34"/>
                <a:gd name="T58" fmla="*/ 18 w 22"/>
                <a:gd name="T59" fmla="*/ 31 h 34"/>
                <a:gd name="T60" fmla="*/ 19 w 22"/>
                <a:gd name="T61" fmla="*/ 31 h 34"/>
                <a:gd name="T62" fmla="*/ 18 w 22"/>
                <a:gd name="T63" fmla="*/ 30 h 34"/>
                <a:gd name="T64" fmla="*/ 19 w 22"/>
                <a:gd name="T65" fmla="*/ 31 h 34"/>
                <a:gd name="T66" fmla="*/ 19 w 22"/>
                <a:gd name="T67" fmla="*/ 30 h 34"/>
                <a:gd name="T68" fmla="*/ 18 w 22"/>
                <a:gd name="T69" fmla="*/ 30 h 34"/>
                <a:gd name="T70" fmla="*/ 19 w 22"/>
                <a:gd name="T71" fmla="*/ 31 h 34"/>
                <a:gd name="T72" fmla="*/ 19 w 22"/>
                <a:gd name="T73" fmla="*/ 30 h 34"/>
                <a:gd name="T74" fmla="*/ 19 w 22"/>
                <a:gd name="T75" fmla="*/ 31 h 34"/>
                <a:gd name="T76" fmla="*/ 19 w 22"/>
                <a:gd name="T77" fmla="*/ 30 h 34"/>
                <a:gd name="T78" fmla="*/ 19 w 22"/>
                <a:gd name="T79" fmla="*/ 30 h 34"/>
                <a:gd name="T80" fmla="*/ 19 w 22"/>
                <a:gd name="T81" fmla="*/ 31 h 34"/>
                <a:gd name="T82" fmla="*/ 19 w 22"/>
                <a:gd name="T83" fmla="*/ 30 h 34"/>
                <a:gd name="T84" fmla="*/ 18 w 22"/>
                <a:gd name="T85" fmla="*/ 32 h 34"/>
                <a:gd name="T86" fmla="*/ 17 w 22"/>
                <a:gd name="T87" fmla="*/ 34 h 34"/>
                <a:gd name="T88" fmla="*/ 19 w 22"/>
                <a:gd name="T89" fmla="*/ 34 h 34"/>
                <a:gd name="T90" fmla="*/ 21 w 22"/>
                <a:gd name="T91" fmla="*/ 33 h 34"/>
                <a:gd name="T92" fmla="*/ 22 w 22"/>
                <a:gd name="T93" fmla="*/ 31 h 34"/>
                <a:gd name="T94" fmla="*/ 22 w 22"/>
                <a:gd name="T95" fmla="*/ 14 h 34"/>
                <a:gd name="T96" fmla="*/ 21 w 22"/>
                <a:gd name="T97" fmla="*/ 11 h 34"/>
                <a:gd name="T98" fmla="*/ 19 w 22"/>
                <a:gd name="T99" fmla="*/ 9 h 34"/>
                <a:gd name="T100" fmla="*/ 4 w 22"/>
                <a:gd name="T101" fmla="*/ 1 h 34"/>
                <a:gd name="T102" fmla="*/ 3 w 22"/>
                <a:gd name="T103" fmla="*/ 0 h 34"/>
                <a:gd name="T104" fmla="*/ 0 w 22"/>
                <a:gd name="T105" fmla="*/ 1 h 34"/>
                <a:gd name="T106" fmla="*/ 0 w 22"/>
                <a:gd name="T107" fmla="*/ 4 h 34"/>
                <a:gd name="T108" fmla="*/ 0 w 22"/>
                <a:gd name="T109" fmla="*/ 20 h 34"/>
                <a:gd name="T110" fmla="*/ 0 w 22"/>
                <a:gd name="T111" fmla="*/ 23 h 34"/>
                <a:gd name="T112" fmla="*/ 2 w 22"/>
                <a:gd name="T113" fmla="*/ 25 h 34"/>
                <a:gd name="T114" fmla="*/ 17 w 22"/>
                <a:gd name="T115" fmla="*/ 34 h 34"/>
                <a:gd name="T116" fmla="*/ 18 w 22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4">
                  <a:moveTo>
                    <a:pt x="18" y="32"/>
                  </a:moveTo>
                  <a:cubicBezTo>
                    <a:pt x="19" y="30"/>
                    <a:pt x="19" y="30"/>
                    <a:pt x="19" y="3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0" y="34"/>
                    <a:pt x="21" y="34"/>
                    <a:pt x="21" y="33"/>
                  </a:cubicBezTo>
                  <a:cubicBezTo>
                    <a:pt x="22" y="32"/>
                    <a:pt x="22" y="31"/>
                    <a:pt x="22" y="3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2"/>
                    <a:pt x="21" y="11"/>
                  </a:cubicBezTo>
                  <a:cubicBezTo>
                    <a:pt x="21" y="10"/>
                    <a:pt x="20" y="10"/>
                    <a:pt x="19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3"/>
                  </a:cubicBezTo>
                  <a:cubicBezTo>
                    <a:pt x="1" y="24"/>
                    <a:pt x="1" y="24"/>
                    <a:pt x="2" y="25"/>
                  </a:cubicBezTo>
                  <a:cubicBezTo>
                    <a:pt x="17" y="34"/>
                    <a:pt x="17" y="34"/>
                    <a:pt x="17" y="34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4" name="Freeform 178">
              <a:extLst>
                <a:ext uri="{FF2B5EF4-FFF2-40B4-BE49-F238E27FC236}">
                  <a16:creationId xmlns:a16="http://schemas.microsoft.com/office/drawing/2014/main" id="{C99D226F-8307-49FF-A2F9-1C9B602361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7541886"/>
              <a:ext cx="77788" cy="122238"/>
            </a:xfrm>
            <a:custGeom>
              <a:avLst/>
              <a:gdLst>
                <a:gd name="T0" fmla="*/ 17 w 19"/>
                <a:gd name="T1" fmla="*/ 30 h 30"/>
                <a:gd name="T2" fmla="*/ 2 w 19"/>
                <a:gd name="T3" fmla="*/ 21 h 30"/>
                <a:gd name="T4" fmla="*/ 0 w 19"/>
                <a:gd name="T5" fmla="*/ 18 h 30"/>
                <a:gd name="T6" fmla="*/ 0 w 19"/>
                <a:gd name="T7" fmla="*/ 1 h 30"/>
                <a:gd name="T8" fmla="*/ 2 w 19"/>
                <a:gd name="T9" fmla="*/ 0 h 30"/>
                <a:gd name="T10" fmla="*/ 17 w 19"/>
                <a:gd name="T11" fmla="*/ 9 h 30"/>
                <a:gd name="T12" fmla="*/ 19 w 19"/>
                <a:gd name="T13" fmla="*/ 12 h 30"/>
                <a:gd name="T14" fmla="*/ 19 w 19"/>
                <a:gd name="T15" fmla="*/ 28 h 30"/>
                <a:gd name="T16" fmla="*/ 17 w 19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0">
                  <a:moveTo>
                    <a:pt x="17" y="30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1" y="21"/>
                    <a:pt x="0" y="19"/>
                    <a:pt x="0" y="18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9"/>
                    <a:pt x="19" y="11"/>
                    <a:pt x="19" y="12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30"/>
                    <a:pt x="18" y="30"/>
                    <a:pt x="1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5" name="Freeform 179">
              <a:extLst>
                <a:ext uri="{FF2B5EF4-FFF2-40B4-BE49-F238E27FC236}">
                  <a16:creationId xmlns:a16="http://schemas.microsoft.com/office/drawing/2014/main" id="{FEF310A3-C036-4B1A-AAE2-58EE9F557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0" y="7533949"/>
              <a:ext cx="93663" cy="138113"/>
            </a:xfrm>
            <a:custGeom>
              <a:avLst/>
              <a:gdLst>
                <a:gd name="T0" fmla="*/ 19 w 23"/>
                <a:gd name="T1" fmla="*/ 32 h 34"/>
                <a:gd name="T2" fmla="*/ 20 w 23"/>
                <a:gd name="T3" fmla="*/ 30 h 34"/>
                <a:gd name="T4" fmla="*/ 5 w 23"/>
                <a:gd name="T5" fmla="*/ 21 h 34"/>
                <a:gd name="T6" fmla="*/ 5 w 23"/>
                <a:gd name="T7" fmla="*/ 21 h 34"/>
                <a:gd name="T8" fmla="*/ 4 w 23"/>
                <a:gd name="T9" fmla="*/ 20 h 34"/>
                <a:gd name="T10" fmla="*/ 4 w 23"/>
                <a:gd name="T11" fmla="*/ 3 h 34"/>
                <a:gd name="T12" fmla="*/ 4 w 23"/>
                <a:gd name="T13" fmla="*/ 3 h 34"/>
                <a:gd name="T14" fmla="*/ 4 w 23"/>
                <a:gd name="T15" fmla="*/ 3 h 34"/>
                <a:gd name="T16" fmla="*/ 4 w 23"/>
                <a:gd name="T17" fmla="*/ 4 h 34"/>
                <a:gd name="T18" fmla="*/ 4 w 23"/>
                <a:gd name="T19" fmla="*/ 3 h 34"/>
                <a:gd name="T20" fmla="*/ 4 w 23"/>
                <a:gd name="T21" fmla="*/ 3 h 34"/>
                <a:gd name="T22" fmla="*/ 4 w 23"/>
                <a:gd name="T23" fmla="*/ 4 h 34"/>
                <a:gd name="T24" fmla="*/ 3 w 23"/>
                <a:gd name="T25" fmla="*/ 3 h 34"/>
                <a:gd name="T26" fmla="*/ 3 w 23"/>
                <a:gd name="T27" fmla="*/ 4 h 34"/>
                <a:gd name="T28" fmla="*/ 4 w 23"/>
                <a:gd name="T29" fmla="*/ 4 h 34"/>
                <a:gd name="T30" fmla="*/ 3 w 23"/>
                <a:gd name="T31" fmla="*/ 3 h 34"/>
                <a:gd name="T32" fmla="*/ 3 w 23"/>
                <a:gd name="T33" fmla="*/ 4 h 34"/>
                <a:gd name="T34" fmla="*/ 3 w 23"/>
                <a:gd name="T35" fmla="*/ 3 h 34"/>
                <a:gd name="T36" fmla="*/ 3 w 23"/>
                <a:gd name="T37" fmla="*/ 4 h 34"/>
                <a:gd name="T38" fmla="*/ 3 w 23"/>
                <a:gd name="T39" fmla="*/ 4 h 34"/>
                <a:gd name="T40" fmla="*/ 3 w 23"/>
                <a:gd name="T41" fmla="*/ 3 h 34"/>
                <a:gd name="T42" fmla="*/ 3 w 23"/>
                <a:gd name="T43" fmla="*/ 4 h 34"/>
                <a:gd name="T44" fmla="*/ 18 w 23"/>
                <a:gd name="T45" fmla="*/ 12 h 34"/>
                <a:gd name="T46" fmla="*/ 18 w 23"/>
                <a:gd name="T47" fmla="*/ 13 h 34"/>
                <a:gd name="T48" fmla="*/ 19 w 23"/>
                <a:gd name="T49" fmla="*/ 14 h 34"/>
                <a:gd name="T50" fmla="*/ 19 w 23"/>
                <a:gd name="T51" fmla="*/ 30 h 34"/>
                <a:gd name="T52" fmla="*/ 19 w 23"/>
                <a:gd name="T53" fmla="*/ 31 h 34"/>
                <a:gd name="T54" fmla="*/ 19 w 23"/>
                <a:gd name="T55" fmla="*/ 31 h 34"/>
                <a:gd name="T56" fmla="*/ 19 w 23"/>
                <a:gd name="T57" fmla="*/ 30 h 34"/>
                <a:gd name="T58" fmla="*/ 19 w 23"/>
                <a:gd name="T59" fmla="*/ 31 h 34"/>
                <a:gd name="T60" fmla="*/ 19 w 23"/>
                <a:gd name="T61" fmla="*/ 31 h 34"/>
                <a:gd name="T62" fmla="*/ 19 w 23"/>
                <a:gd name="T63" fmla="*/ 30 h 34"/>
                <a:gd name="T64" fmla="*/ 20 w 23"/>
                <a:gd name="T65" fmla="*/ 31 h 34"/>
                <a:gd name="T66" fmla="*/ 20 w 23"/>
                <a:gd name="T67" fmla="*/ 30 h 34"/>
                <a:gd name="T68" fmla="*/ 19 w 23"/>
                <a:gd name="T69" fmla="*/ 30 h 34"/>
                <a:gd name="T70" fmla="*/ 20 w 23"/>
                <a:gd name="T71" fmla="*/ 31 h 34"/>
                <a:gd name="T72" fmla="*/ 20 w 23"/>
                <a:gd name="T73" fmla="*/ 30 h 34"/>
                <a:gd name="T74" fmla="*/ 20 w 23"/>
                <a:gd name="T75" fmla="*/ 31 h 34"/>
                <a:gd name="T76" fmla="*/ 20 w 23"/>
                <a:gd name="T77" fmla="*/ 30 h 34"/>
                <a:gd name="T78" fmla="*/ 20 w 23"/>
                <a:gd name="T79" fmla="*/ 30 h 34"/>
                <a:gd name="T80" fmla="*/ 20 w 23"/>
                <a:gd name="T81" fmla="*/ 31 h 34"/>
                <a:gd name="T82" fmla="*/ 20 w 23"/>
                <a:gd name="T83" fmla="*/ 30 h 34"/>
                <a:gd name="T84" fmla="*/ 19 w 23"/>
                <a:gd name="T85" fmla="*/ 32 h 34"/>
                <a:gd name="T86" fmla="*/ 18 w 23"/>
                <a:gd name="T87" fmla="*/ 33 h 34"/>
                <a:gd name="T88" fmla="*/ 20 w 23"/>
                <a:gd name="T89" fmla="*/ 34 h 34"/>
                <a:gd name="T90" fmla="*/ 22 w 23"/>
                <a:gd name="T91" fmla="*/ 33 h 34"/>
                <a:gd name="T92" fmla="*/ 23 w 23"/>
                <a:gd name="T93" fmla="*/ 30 h 34"/>
                <a:gd name="T94" fmla="*/ 23 w 23"/>
                <a:gd name="T95" fmla="*/ 14 h 34"/>
                <a:gd name="T96" fmla="*/ 22 w 23"/>
                <a:gd name="T97" fmla="*/ 11 h 34"/>
                <a:gd name="T98" fmla="*/ 20 w 23"/>
                <a:gd name="T99" fmla="*/ 9 h 34"/>
                <a:gd name="T100" fmla="*/ 5 w 23"/>
                <a:gd name="T101" fmla="*/ 0 h 34"/>
                <a:gd name="T102" fmla="*/ 3 w 23"/>
                <a:gd name="T103" fmla="*/ 0 h 34"/>
                <a:gd name="T104" fmla="*/ 1 w 23"/>
                <a:gd name="T105" fmla="*/ 1 h 34"/>
                <a:gd name="T106" fmla="*/ 0 w 23"/>
                <a:gd name="T107" fmla="*/ 3 h 34"/>
                <a:gd name="T108" fmla="*/ 0 w 23"/>
                <a:gd name="T109" fmla="*/ 20 h 34"/>
                <a:gd name="T110" fmla="*/ 1 w 23"/>
                <a:gd name="T111" fmla="*/ 23 h 34"/>
                <a:gd name="T112" fmla="*/ 3 w 23"/>
                <a:gd name="T113" fmla="*/ 25 h 34"/>
                <a:gd name="T114" fmla="*/ 18 w 23"/>
                <a:gd name="T115" fmla="*/ 33 h 34"/>
                <a:gd name="T116" fmla="*/ 19 w 23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" h="34">
                  <a:moveTo>
                    <a:pt x="19" y="32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4"/>
                    <a:pt x="19" y="34"/>
                    <a:pt x="20" y="34"/>
                  </a:cubicBezTo>
                  <a:cubicBezTo>
                    <a:pt x="20" y="34"/>
                    <a:pt x="21" y="33"/>
                    <a:pt x="22" y="33"/>
                  </a:cubicBezTo>
                  <a:cubicBezTo>
                    <a:pt x="22" y="32"/>
                    <a:pt x="23" y="31"/>
                    <a:pt x="23" y="30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3"/>
                    <a:pt x="22" y="12"/>
                    <a:pt x="22" y="11"/>
                  </a:cubicBezTo>
                  <a:cubicBezTo>
                    <a:pt x="21" y="10"/>
                    <a:pt x="21" y="10"/>
                    <a:pt x="20" y="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1" y="22"/>
                    <a:pt x="1" y="23"/>
                  </a:cubicBezTo>
                  <a:cubicBezTo>
                    <a:pt x="1" y="24"/>
                    <a:pt x="2" y="24"/>
                    <a:pt x="3" y="25"/>
                  </a:cubicBezTo>
                  <a:cubicBezTo>
                    <a:pt x="18" y="33"/>
                    <a:pt x="18" y="33"/>
                    <a:pt x="18" y="33"/>
                  </a:cubicBezTo>
                  <a:lnTo>
                    <a:pt x="19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6" name="Freeform 180">
              <a:extLst>
                <a:ext uri="{FF2B5EF4-FFF2-40B4-BE49-F238E27FC236}">
                  <a16:creationId xmlns:a16="http://schemas.microsoft.com/office/drawing/2014/main" id="{FB125A97-7A82-4882-A596-970A9CA290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7778424"/>
              <a:ext cx="73025" cy="127000"/>
            </a:xfrm>
            <a:custGeom>
              <a:avLst/>
              <a:gdLst>
                <a:gd name="T0" fmla="*/ 16 w 18"/>
                <a:gd name="T1" fmla="*/ 30 h 31"/>
                <a:gd name="T2" fmla="*/ 1 w 18"/>
                <a:gd name="T3" fmla="*/ 22 h 31"/>
                <a:gd name="T4" fmla="*/ 0 w 18"/>
                <a:gd name="T5" fmla="*/ 19 h 31"/>
                <a:gd name="T6" fmla="*/ 0 w 18"/>
                <a:gd name="T7" fmla="*/ 2 h 31"/>
                <a:gd name="T8" fmla="*/ 1 w 18"/>
                <a:gd name="T9" fmla="*/ 1 h 31"/>
                <a:gd name="T10" fmla="*/ 16 w 18"/>
                <a:gd name="T11" fmla="*/ 9 h 31"/>
                <a:gd name="T12" fmla="*/ 18 w 18"/>
                <a:gd name="T13" fmla="*/ 13 h 31"/>
                <a:gd name="T14" fmla="*/ 18 w 18"/>
                <a:gd name="T15" fmla="*/ 29 h 31"/>
                <a:gd name="T16" fmla="*/ 16 w 18"/>
                <a:gd name="T1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1">
                  <a:moveTo>
                    <a:pt x="16" y="3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1"/>
                    <a:pt x="0" y="20"/>
                    <a:pt x="0" y="19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1" y="0"/>
                    <a:pt x="1" y="1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10"/>
                    <a:pt x="18" y="11"/>
                    <a:pt x="18" y="13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7" y="31"/>
                    <a:pt x="16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7" name="Freeform 181">
              <a:extLst>
                <a:ext uri="{FF2B5EF4-FFF2-40B4-BE49-F238E27FC236}">
                  <a16:creationId xmlns:a16="http://schemas.microsoft.com/office/drawing/2014/main" id="{0D594408-4C59-4FF8-AB0F-4A9E358DC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9800" y="7770486"/>
              <a:ext cx="90488" cy="142875"/>
            </a:xfrm>
            <a:custGeom>
              <a:avLst/>
              <a:gdLst>
                <a:gd name="T0" fmla="*/ 18 w 22"/>
                <a:gd name="T1" fmla="*/ 32 h 35"/>
                <a:gd name="T2" fmla="*/ 19 w 22"/>
                <a:gd name="T3" fmla="*/ 31 h 35"/>
                <a:gd name="T4" fmla="*/ 4 w 22"/>
                <a:gd name="T5" fmla="*/ 22 h 35"/>
                <a:gd name="T6" fmla="*/ 4 w 22"/>
                <a:gd name="T7" fmla="*/ 22 h 35"/>
                <a:gd name="T8" fmla="*/ 4 w 22"/>
                <a:gd name="T9" fmla="*/ 21 h 35"/>
                <a:gd name="T10" fmla="*/ 4 w 22"/>
                <a:gd name="T11" fmla="*/ 4 h 35"/>
                <a:gd name="T12" fmla="*/ 4 w 22"/>
                <a:gd name="T13" fmla="*/ 4 h 35"/>
                <a:gd name="T14" fmla="*/ 3 w 22"/>
                <a:gd name="T15" fmla="*/ 4 h 35"/>
                <a:gd name="T16" fmla="*/ 4 w 22"/>
                <a:gd name="T17" fmla="*/ 4 h 35"/>
                <a:gd name="T18" fmla="*/ 4 w 22"/>
                <a:gd name="T19" fmla="*/ 4 h 35"/>
                <a:gd name="T20" fmla="*/ 3 w 22"/>
                <a:gd name="T21" fmla="*/ 4 h 35"/>
                <a:gd name="T22" fmla="*/ 4 w 22"/>
                <a:gd name="T23" fmla="*/ 4 h 35"/>
                <a:gd name="T24" fmla="*/ 3 w 22"/>
                <a:gd name="T25" fmla="*/ 3 h 35"/>
                <a:gd name="T26" fmla="*/ 3 w 22"/>
                <a:gd name="T27" fmla="*/ 5 h 35"/>
                <a:gd name="T28" fmla="*/ 4 w 22"/>
                <a:gd name="T29" fmla="*/ 4 h 35"/>
                <a:gd name="T30" fmla="*/ 3 w 22"/>
                <a:gd name="T31" fmla="*/ 3 h 35"/>
                <a:gd name="T32" fmla="*/ 3 w 22"/>
                <a:gd name="T33" fmla="*/ 5 h 35"/>
                <a:gd name="T34" fmla="*/ 3 w 22"/>
                <a:gd name="T35" fmla="*/ 4 h 35"/>
                <a:gd name="T36" fmla="*/ 2 w 22"/>
                <a:gd name="T37" fmla="*/ 4 h 35"/>
                <a:gd name="T38" fmla="*/ 3 w 22"/>
                <a:gd name="T39" fmla="*/ 5 h 35"/>
                <a:gd name="T40" fmla="*/ 3 w 22"/>
                <a:gd name="T41" fmla="*/ 4 h 35"/>
                <a:gd name="T42" fmla="*/ 2 w 22"/>
                <a:gd name="T43" fmla="*/ 4 h 35"/>
                <a:gd name="T44" fmla="*/ 17 w 22"/>
                <a:gd name="T45" fmla="*/ 13 h 35"/>
                <a:gd name="T46" fmla="*/ 18 w 22"/>
                <a:gd name="T47" fmla="*/ 13 h 35"/>
                <a:gd name="T48" fmla="*/ 18 w 22"/>
                <a:gd name="T49" fmla="*/ 15 h 35"/>
                <a:gd name="T50" fmla="*/ 18 w 22"/>
                <a:gd name="T51" fmla="*/ 31 h 35"/>
                <a:gd name="T52" fmla="*/ 18 w 22"/>
                <a:gd name="T53" fmla="*/ 31 h 35"/>
                <a:gd name="T54" fmla="*/ 19 w 22"/>
                <a:gd name="T55" fmla="*/ 31 h 35"/>
                <a:gd name="T56" fmla="*/ 18 w 22"/>
                <a:gd name="T57" fmla="*/ 31 h 35"/>
                <a:gd name="T58" fmla="*/ 18 w 22"/>
                <a:gd name="T59" fmla="*/ 31 h 35"/>
                <a:gd name="T60" fmla="*/ 19 w 22"/>
                <a:gd name="T61" fmla="*/ 31 h 35"/>
                <a:gd name="T62" fmla="*/ 18 w 22"/>
                <a:gd name="T63" fmla="*/ 31 h 35"/>
                <a:gd name="T64" fmla="*/ 19 w 22"/>
                <a:gd name="T65" fmla="*/ 32 h 35"/>
                <a:gd name="T66" fmla="*/ 19 w 22"/>
                <a:gd name="T67" fmla="*/ 31 h 35"/>
                <a:gd name="T68" fmla="*/ 18 w 22"/>
                <a:gd name="T69" fmla="*/ 31 h 35"/>
                <a:gd name="T70" fmla="*/ 19 w 22"/>
                <a:gd name="T71" fmla="*/ 32 h 35"/>
                <a:gd name="T72" fmla="*/ 19 w 22"/>
                <a:gd name="T73" fmla="*/ 31 h 35"/>
                <a:gd name="T74" fmla="*/ 19 w 22"/>
                <a:gd name="T75" fmla="*/ 31 h 35"/>
                <a:gd name="T76" fmla="*/ 19 w 22"/>
                <a:gd name="T77" fmla="*/ 31 h 35"/>
                <a:gd name="T78" fmla="*/ 19 w 22"/>
                <a:gd name="T79" fmla="*/ 31 h 35"/>
                <a:gd name="T80" fmla="*/ 19 w 22"/>
                <a:gd name="T81" fmla="*/ 31 h 35"/>
                <a:gd name="T82" fmla="*/ 19 w 22"/>
                <a:gd name="T83" fmla="*/ 31 h 35"/>
                <a:gd name="T84" fmla="*/ 18 w 22"/>
                <a:gd name="T85" fmla="*/ 32 h 35"/>
                <a:gd name="T86" fmla="*/ 17 w 22"/>
                <a:gd name="T87" fmla="*/ 34 h 35"/>
                <a:gd name="T88" fmla="*/ 19 w 22"/>
                <a:gd name="T89" fmla="*/ 35 h 35"/>
                <a:gd name="T90" fmla="*/ 21 w 22"/>
                <a:gd name="T91" fmla="*/ 33 h 35"/>
                <a:gd name="T92" fmla="*/ 22 w 22"/>
                <a:gd name="T93" fmla="*/ 31 h 35"/>
                <a:gd name="T94" fmla="*/ 22 w 22"/>
                <a:gd name="T95" fmla="*/ 15 h 35"/>
                <a:gd name="T96" fmla="*/ 21 w 22"/>
                <a:gd name="T97" fmla="*/ 12 h 35"/>
                <a:gd name="T98" fmla="*/ 19 w 22"/>
                <a:gd name="T99" fmla="*/ 10 h 35"/>
                <a:gd name="T100" fmla="*/ 4 w 22"/>
                <a:gd name="T101" fmla="*/ 1 h 35"/>
                <a:gd name="T102" fmla="*/ 3 w 22"/>
                <a:gd name="T103" fmla="*/ 1 h 35"/>
                <a:gd name="T104" fmla="*/ 0 w 22"/>
                <a:gd name="T105" fmla="*/ 2 h 35"/>
                <a:gd name="T106" fmla="*/ 0 w 22"/>
                <a:gd name="T107" fmla="*/ 4 h 35"/>
                <a:gd name="T108" fmla="*/ 0 w 22"/>
                <a:gd name="T109" fmla="*/ 21 h 35"/>
                <a:gd name="T110" fmla="*/ 1 w 22"/>
                <a:gd name="T111" fmla="*/ 23 h 35"/>
                <a:gd name="T112" fmla="*/ 2 w 22"/>
                <a:gd name="T113" fmla="*/ 25 h 35"/>
                <a:gd name="T114" fmla="*/ 17 w 22"/>
                <a:gd name="T115" fmla="*/ 34 h 35"/>
                <a:gd name="T116" fmla="*/ 18 w 22"/>
                <a:gd name="T117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5">
                  <a:moveTo>
                    <a:pt x="18" y="32"/>
                  </a:moveTo>
                  <a:cubicBezTo>
                    <a:pt x="19" y="31"/>
                    <a:pt x="19" y="31"/>
                    <a:pt x="19" y="3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8" y="34"/>
                    <a:pt x="18" y="35"/>
                    <a:pt x="19" y="35"/>
                  </a:cubicBezTo>
                  <a:cubicBezTo>
                    <a:pt x="20" y="35"/>
                    <a:pt x="21" y="34"/>
                    <a:pt x="21" y="33"/>
                  </a:cubicBezTo>
                  <a:cubicBezTo>
                    <a:pt x="22" y="33"/>
                    <a:pt x="22" y="32"/>
                    <a:pt x="22" y="31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14"/>
                    <a:pt x="22" y="13"/>
                    <a:pt x="21" y="12"/>
                  </a:cubicBezTo>
                  <a:cubicBezTo>
                    <a:pt x="21" y="11"/>
                    <a:pt x="20" y="10"/>
                    <a:pt x="19" y="1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0" y="22"/>
                    <a:pt x="1" y="23"/>
                  </a:cubicBezTo>
                  <a:cubicBezTo>
                    <a:pt x="1" y="24"/>
                    <a:pt x="2" y="25"/>
                    <a:pt x="2" y="25"/>
                  </a:cubicBezTo>
                  <a:cubicBezTo>
                    <a:pt x="17" y="34"/>
                    <a:pt x="17" y="34"/>
                    <a:pt x="17" y="34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8" name="Freeform 182">
              <a:extLst>
                <a:ext uri="{FF2B5EF4-FFF2-40B4-BE49-F238E27FC236}">
                  <a16:creationId xmlns:a16="http://schemas.microsoft.com/office/drawing/2014/main" id="{064B5FE0-C823-444C-8945-09A353394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375" y="7716511"/>
              <a:ext cx="74613" cy="127000"/>
            </a:xfrm>
            <a:custGeom>
              <a:avLst/>
              <a:gdLst>
                <a:gd name="T0" fmla="*/ 16 w 18"/>
                <a:gd name="T1" fmla="*/ 30 h 31"/>
                <a:gd name="T2" fmla="*/ 1 w 18"/>
                <a:gd name="T3" fmla="*/ 22 h 31"/>
                <a:gd name="T4" fmla="*/ 0 w 18"/>
                <a:gd name="T5" fmla="*/ 18 h 31"/>
                <a:gd name="T6" fmla="*/ 0 w 18"/>
                <a:gd name="T7" fmla="*/ 2 h 31"/>
                <a:gd name="T8" fmla="*/ 1 w 18"/>
                <a:gd name="T9" fmla="*/ 1 h 31"/>
                <a:gd name="T10" fmla="*/ 16 w 18"/>
                <a:gd name="T11" fmla="*/ 9 h 31"/>
                <a:gd name="T12" fmla="*/ 18 w 18"/>
                <a:gd name="T13" fmla="*/ 12 h 31"/>
                <a:gd name="T14" fmla="*/ 18 w 18"/>
                <a:gd name="T15" fmla="*/ 29 h 31"/>
                <a:gd name="T16" fmla="*/ 16 w 18"/>
                <a:gd name="T1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31">
                  <a:moveTo>
                    <a:pt x="16" y="30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0" y="21"/>
                    <a:pt x="0" y="20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7" y="10"/>
                    <a:pt x="18" y="11"/>
                    <a:pt x="18" y="12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8" y="30"/>
                    <a:pt x="17" y="31"/>
                    <a:pt x="16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9" name="Freeform 183">
              <a:extLst>
                <a:ext uri="{FF2B5EF4-FFF2-40B4-BE49-F238E27FC236}">
                  <a16:creationId xmlns:a16="http://schemas.microsoft.com/office/drawing/2014/main" id="{B42345BE-A748-409A-BB06-E1CB218688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438" y="7708574"/>
              <a:ext cx="90488" cy="139700"/>
            </a:xfrm>
            <a:custGeom>
              <a:avLst/>
              <a:gdLst>
                <a:gd name="T0" fmla="*/ 18 w 22"/>
                <a:gd name="T1" fmla="*/ 32 h 34"/>
                <a:gd name="T2" fmla="*/ 19 w 22"/>
                <a:gd name="T3" fmla="*/ 30 h 34"/>
                <a:gd name="T4" fmla="*/ 4 w 22"/>
                <a:gd name="T5" fmla="*/ 22 h 34"/>
                <a:gd name="T6" fmla="*/ 4 w 22"/>
                <a:gd name="T7" fmla="*/ 22 h 34"/>
                <a:gd name="T8" fmla="*/ 4 w 22"/>
                <a:gd name="T9" fmla="*/ 20 h 34"/>
                <a:gd name="T10" fmla="*/ 4 w 22"/>
                <a:gd name="T11" fmla="*/ 4 h 34"/>
                <a:gd name="T12" fmla="*/ 4 w 22"/>
                <a:gd name="T13" fmla="*/ 4 h 34"/>
                <a:gd name="T14" fmla="*/ 3 w 22"/>
                <a:gd name="T15" fmla="*/ 3 h 34"/>
                <a:gd name="T16" fmla="*/ 3 w 22"/>
                <a:gd name="T17" fmla="*/ 4 h 34"/>
                <a:gd name="T18" fmla="*/ 4 w 22"/>
                <a:gd name="T19" fmla="*/ 4 h 34"/>
                <a:gd name="T20" fmla="*/ 3 w 22"/>
                <a:gd name="T21" fmla="*/ 3 h 34"/>
                <a:gd name="T22" fmla="*/ 3 w 22"/>
                <a:gd name="T23" fmla="*/ 4 h 34"/>
                <a:gd name="T24" fmla="*/ 3 w 22"/>
                <a:gd name="T25" fmla="*/ 3 h 34"/>
                <a:gd name="T26" fmla="*/ 3 w 22"/>
                <a:gd name="T27" fmla="*/ 4 h 34"/>
                <a:gd name="T28" fmla="*/ 3 w 22"/>
                <a:gd name="T29" fmla="*/ 4 h 34"/>
                <a:gd name="T30" fmla="*/ 3 w 22"/>
                <a:gd name="T31" fmla="*/ 3 h 34"/>
                <a:gd name="T32" fmla="*/ 3 w 22"/>
                <a:gd name="T33" fmla="*/ 4 h 34"/>
                <a:gd name="T34" fmla="*/ 3 w 22"/>
                <a:gd name="T35" fmla="*/ 4 h 34"/>
                <a:gd name="T36" fmla="*/ 2 w 22"/>
                <a:gd name="T37" fmla="*/ 4 h 34"/>
                <a:gd name="T38" fmla="*/ 3 w 22"/>
                <a:gd name="T39" fmla="*/ 4 h 34"/>
                <a:gd name="T40" fmla="*/ 3 w 22"/>
                <a:gd name="T41" fmla="*/ 4 h 34"/>
                <a:gd name="T42" fmla="*/ 2 w 22"/>
                <a:gd name="T43" fmla="*/ 4 h 34"/>
                <a:gd name="T44" fmla="*/ 17 w 22"/>
                <a:gd name="T45" fmla="*/ 13 h 34"/>
                <a:gd name="T46" fmla="*/ 17 w 22"/>
                <a:gd name="T47" fmla="*/ 13 h 34"/>
                <a:gd name="T48" fmla="*/ 18 w 22"/>
                <a:gd name="T49" fmla="*/ 14 h 34"/>
                <a:gd name="T50" fmla="*/ 18 w 22"/>
                <a:gd name="T51" fmla="*/ 31 h 34"/>
                <a:gd name="T52" fmla="*/ 18 w 22"/>
                <a:gd name="T53" fmla="*/ 31 h 34"/>
                <a:gd name="T54" fmla="*/ 19 w 22"/>
                <a:gd name="T55" fmla="*/ 31 h 34"/>
                <a:gd name="T56" fmla="*/ 18 w 22"/>
                <a:gd name="T57" fmla="*/ 31 h 34"/>
                <a:gd name="T58" fmla="*/ 18 w 22"/>
                <a:gd name="T59" fmla="*/ 31 h 34"/>
                <a:gd name="T60" fmla="*/ 19 w 22"/>
                <a:gd name="T61" fmla="*/ 31 h 34"/>
                <a:gd name="T62" fmla="*/ 18 w 22"/>
                <a:gd name="T63" fmla="*/ 31 h 34"/>
                <a:gd name="T64" fmla="*/ 19 w 22"/>
                <a:gd name="T65" fmla="*/ 32 h 34"/>
                <a:gd name="T66" fmla="*/ 19 w 22"/>
                <a:gd name="T67" fmla="*/ 30 h 34"/>
                <a:gd name="T68" fmla="*/ 18 w 22"/>
                <a:gd name="T69" fmla="*/ 31 h 34"/>
                <a:gd name="T70" fmla="*/ 19 w 22"/>
                <a:gd name="T71" fmla="*/ 32 h 34"/>
                <a:gd name="T72" fmla="*/ 19 w 22"/>
                <a:gd name="T73" fmla="*/ 30 h 34"/>
                <a:gd name="T74" fmla="*/ 19 w 22"/>
                <a:gd name="T75" fmla="*/ 31 h 34"/>
                <a:gd name="T76" fmla="*/ 19 w 22"/>
                <a:gd name="T77" fmla="*/ 30 h 34"/>
                <a:gd name="T78" fmla="*/ 19 w 22"/>
                <a:gd name="T79" fmla="*/ 30 h 34"/>
                <a:gd name="T80" fmla="*/ 19 w 22"/>
                <a:gd name="T81" fmla="*/ 31 h 34"/>
                <a:gd name="T82" fmla="*/ 19 w 22"/>
                <a:gd name="T83" fmla="*/ 30 h 34"/>
                <a:gd name="T84" fmla="*/ 18 w 22"/>
                <a:gd name="T85" fmla="*/ 32 h 34"/>
                <a:gd name="T86" fmla="*/ 17 w 22"/>
                <a:gd name="T87" fmla="*/ 34 h 34"/>
                <a:gd name="T88" fmla="*/ 19 w 22"/>
                <a:gd name="T89" fmla="*/ 34 h 34"/>
                <a:gd name="T90" fmla="*/ 21 w 22"/>
                <a:gd name="T91" fmla="*/ 33 h 34"/>
                <a:gd name="T92" fmla="*/ 22 w 22"/>
                <a:gd name="T93" fmla="*/ 31 h 34"/>
                <a:gd name="T94" fmla="*/ 22 w 22"/>
                <a:gd name="T95" fmla="*/ 14 h 34"/>
                <a:gd name="T96" fmla="*/ 21 w 22"/>
                <a:gd name="T97" fmla="*/ 12 h 34"/>
                <a:gd name="T98" fmla="*/ 19 w 22"/>
                <a:gd name="T99" fmla="*/ 9 h 34"/>
                <a:gd name="T100" fmla="*/ 4 w 22"/>
                <a:gd name="T101" fmla="*/ 1 h 34"/>
                <a:gd name="T102" fmla="*/ 3 w 22"/>
                <a:gd name="T103" fmla="*/ 0 h 34"/>
                <a:gd name="T104" fmla="*/ 0 w 22"/>
                <a:gd name="T105" fmla="*/ 2 h 34"/>
                <a:gd name="T106" fmla="*/ 0 w 22"/>
                <a:gd name="T107" fmla="*/ 4 h 34"/>
                <a:gd name="T108" fmla="*/ 0 w 22"/>
                <a:gd name="T109" fmla="*/ 20 h 34"/>
                <a:gd name="T110" fmla="*/ 0 w 22"/>
                <a:gd name="T111" fmla="*/ 23 h 34"/>
                <a:gd name="T112" fmla="*/ 2 w 22"/>
                <a:gd name="T113" fmla="*/ 25 h 34"/>
                <a:gd name="T114" fmla="*/ 17 w 22"/>
                <a:gd name="T115" fmla="*/ 34 h 34"/>
                <a:gd name="T116" fmla="*/ 18 w 22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" h="34">
                  <a:moveTo>
                    <a:pt x="18" y="32"/>
                  </a:moveTo>
                  <a:cubicBezTo>
                    <a:pt x="19" y="30"/>
                    <a:pt x="19" y="30"/>
                    <a:pt x="19" y="30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0" y="34"/>
                    <a:pt x="21" y="34"/>
                    <a:pt x="21" y="33"/>
                  </a:cubicBezTo>
                  <a:cubicBezTo>
                    <a:pt x="22" y="32"/>
                    <a:pt x="22" y="32"/>
                    <a:pt x="22" y="31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2" y="13"/>
                    <a:pt x="22" y="12"/>
                    <a:pt x="21" y="12"/>
                  </a:cubicBezTo>
                  <a:cubicBezTo>
                    <a:pt x="21" y="11"/>
                    <a:pt x="20" y="10"/>
                    <a:pt x="19" y="9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3"/>
                  </a:cubicBezTo>
                  <a:cubicBezTo>
                    <a:pt x="1" y="24"/>
                    <a:pt x="1" y="25"/>
                    <a:pt x="2" y="25"/>
                  </a:cubicBezTo>
                  <a:cubicBezTo>
                    <a:pt x="17" y="34"/>
                    <a:pt x="17" y="34"/>
                    <a:pt x="17" y="34"/>
                  </a:cubicBezTo>
                  <a:lnTo>
                    <a:pt x="18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0" name="Freeform 184">
              <a:extLst>
                <a:ext uri="{FF2B5EF4-FFF2-40B4-BE49-F238E27FC236}">
                  <a16:creationId xmlns:a16="http://schemas.microsoft.com/office/drawing/2014/main" id="{CB62C69D-C9D0-4D60-BCFA-C01EEBE22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1838" y="7656186"/>
              <a:ext cx="77788" cy="127000"/>
            </a:xfrm>
            <a:custGeom>
              <a:avLst/>
              <a:gdLst>
                <a:gd name="T0" fmla="*/ 17 w 19"/>
                <a:gd name="T1" fmla="*/ 30 h 31"/>
                <a:gd name="T2" fmla="*/ 2 w 19"/>
                <a:gd name="T3" fmla="*/ 21 h 31"/>
                <a:gd name="T4" fmla="*/ 0 w 19"/>
                <a:gd name="T5" fmla="*/ 18 h 31"/>
                <a:gd name="T6" fmla="*/ 0 w 19"/>
                <a:gd name="T7" fmla="*/ 2 h 31"/>
                <a:gd name="T8" fmla="*/ 2 w 19"/>
                <a:gd name="T9" fmla="*/ 0 h 31"/>
                <a:gd name="T10" fmla="*/ 17 w 19"/>
                <a:gd name="T11" fmla="*/ 9 h 31"/>
                <a:gd name="T12" fmla="*/ 19 w 19"/>
                <a:gd name="T13" fmla="*/ 12 h 31"/>
                <a:gd name="T14" fmla="*/ 19 w 19"/>
                <a:gd name="T15" fmla="*/ 29 h 31"/>
                <a:gd name="T16" fmla="*/ 17 w 19"/>
                <a:gd name="T17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1">
                  <a:moveTo>
                    <a:pt x="17" y="30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1" y="21"/>
                    <a:pt x="0" y="19"/>
                    <a:pt x="0" y="18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10"/>
                    <a:pt x="19" y="11"/>
                    <a:pt x="19" y="12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30"/>
                    <a:pt x="18" y="31"/>
                    <a:pt x="17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1" name="Freeform 185">
              <a:extLst>
                <a:ext uri="{FF2B5EF4-FFF2-40B4-BE49-F238E27FC236}">
                  <a16:creationId xmlns:a16="http://schemas.microsoft.com/office/drawing/2014/main" id="{1AEDFD97-5B87-46AA-8152-937F7B952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0" y="7648249"/>
              <a:ext cx="93663" cy="138113"/>
            </a:xfrm>
            <a:custGeom>
              <a:avLst/>
              <a:gdLst>
                <a:gd name="T0" fmla="*/ 19 w 23"/>
                <a:gd name="T1" fmla="*/ 32 h 34"/>
                <a:gd name="T2" fmla="*/ 20 w 23"/>
                <a:gd name="T3" fmla="*/ 30 h 34"/>
                <a:gd name="T4" fmla="*/ 5 w 23"/>
                <a:gd name="T5" fmla="*/ 22 h 34"/>
                <a:gd name="T6" fmla="*/ 5 w 23"/>
                <a:gd name="T7" fmla="*/ 21 h 34"/>
                <a:gd name="T8" fmla="*/ 4 w 23"/>
                <a:gd name="T9" fmla="*/ 20 h 34"/>
                <a:gd name="T10" fmla="*/ 4 w 23"/>
                <a:gd name="T11" fmla="*/ 4 h 34"/>
                <a:gd name="T12" fmla="*/ 4 w 23"/>
                <a:gd name="T13" fmla="*/ 4 h 34"/>
                <a:gd name="T14" fmla="*/ 4 w 23"/>
                <a:gd name="T15" fmla="*/ 3 h 34"/>
                <a:gd name="T16" fmla="*/ 4 w 23"/>
                <a:gd name="T17" fmla="*/ 4 h 34"/>
                <a:gd name="T18" fmla="*/ 4 w 23"/>
                <a:gd name="T19" fmla="*/ 4 h 34"/>
                <a:gd name="T20" fmla="*/ 4 w 23"/>
                <a:gd name="T21" fmla="*/ 3 h 34"/>
                <a:gd name="T22" fmla="*/ 4 w 23"/>
                <a:gd name="T23" fmla="*/ 4 h 34"/>
                <a:gd name="T24" fmla="*/ 3 w 23"/>
                <a:gd name="T25" fmla="*/ 3 h 34"/>
                <a:gd name="T26" fmla="*/ 3 w 23"/>
                <a:gd name="T27" fmla="*/ 4 h 34"/>
                <a:gd name="T28" fmla="*/ 4 w 23"/>
                <a:gd name="T29" fmla="*/ 4 h 34"/>
                <a:gd name="T30" fmla="*/ 3 w 23"/>
                <a:gd name="T31" fmla="*/ 3 h 34"/>
                <a:gd name="T32" fmla="*/ 3 w 23"/>
                <a:gd name="T33" fmla="*/ 4 h 34"/>
                <a:gd name="T34" fmla="*/ 3 w 23"/>
                <a:gd name="T35" fmla="*/ 4 h 34"/>
                <a:gd name="T36" fmla="*/ 3 w 23"/>
                <a:gd name="T37" fmla="*/ 4 h 34"/>
                <a:gd name="T38" fmla="*/ 3 w 23"/>
                <a:gd name="T39" fmla="*/ 4 h 34"/>
                <a:gd name="T40" fmla="*/ 3 w 23"/>
                <a:gd name="T41" fmla="*/ 4 h 34"/>
                <a:gd name="T42" fmla="*/ 3 w 23"/>
                <a:gd name="T43" fmla="*/ 4 h 34"/>
                <a:gd name="T44" fmla="*/ 18 w 23"/>
                <a:gd name="T45" fmla="*/ 13 h 34"/>
                <a:gd name="T46" fmla="*/ 18 w 23"/>
                <a:gd name="T47" fmla="*/ 13 h 34"/>
                <a:gd name="T48" fmla="*/ 19 w 23"/>
                <a:gd name="T49" fmla="*/ 14 h 34"/>
                <a:gd name="T50" fmla="*/ 19 w 23"/>
                <a:gd name="T51" fmla="*/ 31 h 34"/>
                <a:gd name="T52" fmla="*/ 19 w 23"/>
                <a:gd name="T53" fmla="*/ 31 h 34"/>
                <a:gd name="T54" fmla="*/ 19 w 23"/>
                <a:gd name="T55" fmla="*/ 31 h 34"/>
                <a:gd name="T56" fmla="*/ 19 w 23"/>
                <a:gd name="T57" fmla="*/ 31 h 34"/>
                <a:gd name="T58" fmla="*/ 19 w 23"/>
                <a:gd name="T59" fmla="*/ 31 h 34"/>
                <a:gd name="T60" fmla="*/ 19 w 23"/>
                <a:gd name="T61" fmla="*/ 31 h 34"/>
                <a:gd name="T62" fmla="*/ 19 w 23"/>
                <a:gd name="T63" fmla="*/ 31 h 34"/>
                <a:gd name="T64" fmla="*/ 20 w 23"/>
                <a:gd name="T65" fmla="*/ 31 h 34"/>
                <a:gd name="T66" fmla="*/ 20 w 23"/>
                <a:gd name="T67" fmla="*/ 30 h 34"/>
                <a:gd name="T68" fmla="*/ 19 w 23"/>
                <a:gd name="T69" fmla="*/ 31 h 34"/>
                <a:gd name="T70" fmla="*/ 20 w 23"/>
                <a:gd name="T71" fmla="*/ 31 h 34"/>
                <a:gd name="T72" fmla="*/ 20 w 23"/>
                <a:gd name="T73" fmla="*/ 30 h 34"/>
                <a:gd name="T74" fmla="*/ 20 w 23"/>
                <a:gd name="T75" fmla="*/ 31 h 34"/>
                <a:gd name="T76" fmla="*/ 20 w 23"/>
                <a:gd name="T77" fmla="*/ 30 h 34"/>
                <a:gd name="T78" fmla="*/ 20 w 23"/>
                <a:gd name="T79" fmla="*/ 30 h 34"/>
                <a:gd name="T80" fmla="*/ 20 w 23"/>
                <a:gd name="T81" fmla="*/ 31 h 34"/>
                <a:gd name="T82" fmla="*/ 20 w 23"/>
                <a:gd name="T83" fmla="*/ 30 h 34"/>
                <a:gd name="T84" fmla="*/ 19 w 23"/>
                <a:gd name="T85" fmla="*/ 32 h 34"/>
                <a:gd name="T86" fmla="*/ 18 w 23"/>
                <a:gd name="T87" fmla="*/ 34 h 34"/>
                <a:gd name="T88" fmla="*/ 20 w 23"/>
                <a:gd name="T89" fmla="*/ 34 h 34"/>
                <a:gd name="T90" fmla="*/ 22 w 23"/>
                <a:gd name="T91" fmla="*/ 33 h 34"/>
                <a:gd name="T92" fmla="*/ 23 w 23"/>
                <a:gd name="T93" fmla="*/ 31 h 34"/>
                <a:gd name="T94" fmla="*/ 23 w 23"/>
                <a:gd name="T95" fmla="*/ 14 h 34"/>
                <a:gd name="T96" fmla="*/ 22 w 23"/>
                <a:gd name="T97" fmla="*/ 11 h 34"/>
                <a:gd name="T98" fmla="*/ 20 w 23"/>
                <a:gd name="T99" fmla="*/ 9 h 34"/>
                <a:gd name="T100" fmla="*/ 5 w 23"/>
                <a:gd name="T101" fmla="*/ 1 h 34"/>
                <a:gd name="T102" fmla="*/ 3 w 23"/>
                <a:gd name="T103" fmla="*/ 0 h 34"/>
                <a:gd name="T104" fmla="*/ 1 w 23"/>
                <a:gd name="T105" fmla="*/ 1 h 34"/>
                <a:gd name="T106" fmla="*/ 0 w 23"/>
                <a:gd name="T107" fmla="*/ 4 h 34"/>
                <a:gd name="T108" fmla="*/ 0 w 23"/>
                <a:gd name="T109" fmla="*/ 20 h 34"/>
                <a:gd name="T110" fmla="*/ 1 w 23"/>
                <a:gd name="T111" fmla="*/ 23 h 34"/>
                <a:gd name="T112" fmla="*/ 3 w 23"/>
                <a:gd name="T113" fmla="*/ 25 h 34"/>
                <a:gd name="T114" fmla="*/ 18 w 23"/>
                <a:gd name="T115" fmla="*/ 34 h 34"/>
                <a:gd name="T116" fmla="*/ 19 w 23"/>
                <a:gd name="T117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" h="34">
                  <a:moveTo>
                    <a:pt x="19" y="32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9" y="34"/>
                    <a:pt x="20" y="34"/>
                  </a:cubicBezTo>
                  <a:cubicBezTo>
                    <a:pt x="20" y="34"/>
                    <a:pt x="21" y="34"/>
                    <a:pt x="22" y="33"/>
                  </a:cubicBezTo>
                  <a:cubicBezTo>
                    <a:pt x="22" y="32"/>
                    <a:pt x="23" y="32"/>
                    <a:pt x="23" y="31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3"/>
                    <a:pt x="22" y="12"/>
                    <a:pt x="22" y="11"/>
                  </a:cubicBezTo>
                  <a:cubicBezTo>
                    <a:pt x="21" y="11"/>
                    <a:pt x="21" y="10"/>
                    <a:pt x="20" y="9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1" y="22"/>
                    <a:pt x="1" y="23"/>
                  </a:cubicBezTo>
                  <a:cubicBezTo>
                    <a:pt x="1" y="24"/>
                    <a:pt x="2" y="25"/>
                    <a:pt x="3" y="25"/>
                  </a:cubicBezTo>
                  <a:cubicBezTo>
                    <a:pt x="18" y="34"/>
                    <a:pt x="18" y="34"/>
                    <a:pt x="18" y="34"/>
                  </a:cubicBezTo>
                  <a:lnTo>
                    <a:pt x="19" y="32"/>
                  </a:lnTo>
                  <a:close/>
                </a:path>
              </a:pathLst>
            </a:custGeom>
            <a:solidFill>
              <a:srgbClr val="531A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5178" name="Group 5177">
            <a:extLst>
              <a:ext uri="{FF2B5EF4-FFF2-40B4-BE49-F238E27FC236}">
                <a16:creationId xmlns:a16="http://schemas.microsoft.com/office/drawing/2014/main" id="{AE92E4DE-2178-4E03-9BE3-B71FB034C7C5}"/>
              </a:ext>
            </a:extLst>
          </p:cNvPr>
          <p:cNvGrpSpPr/>
          <p:nvPr/>
        </p:nvGrpSpPr>
        <p:grpSpPr>
          <a:xfrm>
            <a:off x="2664245" y="4140642"/>
            <a:ext cx="702342" cy="984846"/>
            <a:chOff x="7374227" y="4456871"/>
            <a:chExt cx="1256496" cy="1761899"/>
          </a:xfrm>
        </p:grpSpPr>
        <p:grpSp>
          <p:nvGrpSpPr>
            <p:cNvPr id="5179" name="Group 5178">
              <a:extLst>
                <a:ext uri="{FF2B5EF4-FFF2-40B4-BE49-F238E27FC236}">
                  <a16:creationId xmlns:a16="http://schemas.microsoft.com/office/drawing/2014/main" id="{891E0151-313C-4004-9D2C-5B404413C81A}"/>
                </a:ext>
              </a:extLst>
            </p:cNvPr>
            <p:cNvGrpSpPr/>
            <p:nvPr/>
          </p:nvGrpSpPr>
          <p:grpSpPr>
            <a:xfrm flipH="1">
              <a:off x="7452924" y="5584977"/>
              <a:ext cx="1177799" cy="633793"/>
              <a:chOff x="7735098" y="5637149"/>
              <a:chExt cx="1177799" cy="633793"/>
            </a:xfrm>
          </p:grpSpPr>
          <p:sp>
            <p:nvSpPr>
              <p:cNvPr id="5193" name="Freeform: Shape 5192">
                <a:extLst>
                  <a:ext uri="{FF2B5EF4-FFF2-40B4-BE49-F238E27FC236}">
                    <a16:creationId xmlns:a16="http://schemas.microsoft.com/office/drawing/2014/main" id="{BD560CCD-668A-43A4-BBC8-4205462243FD}"/>
                  </a:ext>
                </a:extLst>
              </p:cNvPr>
              <p:cNvSpPr/>
              <p:nvPr/>
            </p:nvSpPr>
            <p:spPr>
              <a:xfrm>
                <a:off x="8846126" y="5809837"/>
                <a:ext cx="47625" cy="38100"/>
              </a:xfrm>
              <a:custGeom>
                <a:avLst/>
                <a:gdLst>
                  <a:gd name="connsiteX0" fmla="*/ 33433 w 47625"/>
                  <a:gd name="connsiteY0" fmla="*/ 36481 h 38100"/>
                  <a:gd name="connsiteX1" fmla="*/ 43625 w 47625"/>
                  <a:gd name="connsiteY1" fmla="*/ 30575 h 38100"/>
                  <a:gd name="connsiteX2" fmla="*/ 31813 w 47625"/>
                  <a:gd name="connsiteY2" fmla="*/ 7144 h 38100"/>
                  <a:gd name="connsiteX3" fmla="*/ 7144 w 47625"/>
                  <a:gd name="connsiteY3" fmla="*/ 21336 h 38100"/>
                  <a:gd name="connsiteX4" fmla="*/ 33338 w 47625"/>
                  <a:gd name="connsiteY4" fmla="*/ 3648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38100">
                    <a:moveTo>
                      <a:pt x="33433" y="36481"/>
                    </a:moveTo>
                    <a:lnTo>
                      <a:pt x="43625" y="30575"/>
                    </a:lnTo>
                    <a:cubicBezTo>
                      <a:pt x="40196" y="22574"/>
                      <a:pt x="36195" y="14764"/>
                      <a:pt x="31813" y="7144"/>
                    </a:cubicBezTo>
                    <a:lnTo>
                      <a:pt x="7144" y="21336"/>
                    </a:lnTo>
                    <a:lnTo>
                      <a:pt x="33338" y="36481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194" name="Freeform: Shape 5193">
                <a:extLst>
                  <a:ext uri="{FF2B5EF4-FFF2-40B4-BE49-F238E27FC236}">
                    <a16:creationId xmlns:a16="http://schemas.microsoft.com/office/drawing/2014/main" id="{9FC64D77-C583-4AF0-A7CD-B7DA13BF606C}"/>
                  </a:ext>
                </a:extLst>
              </p:cNvPr>
              <p:cNvSpPr/>
              <p:nvPr/>
            </p:nvSpPr>
            <p:spPr>
              <a:xfrm>
                <a:off x="8846222" y="5899467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195" name="Freeform: Shape 5194">
                <a:extLst>
                  <a:ext uri="{FF2B5EF4-FFF2-40B4-BE49-F238E27FC236}">
                    <a16:creationId xmlns:a16="http://schemas.microsoft.com/office/drawing/2014/main" id="{D9C9D646-0050-4405-B39C-C77113E41EE7}"/>
                  </a:ext>
                </a:extLst>
              </p:cNvPr>
              <p:cNvSpPr/>
              <p:nvPr/>
            </p:nvSpPr>
            <p:spPr>
              <a:xfrm>
                <a:off x="8884322" y="5864320"/>
                <a:ext cx="19050" cy="19050"/>
              </a:xfrm>
              <a:custGeom>
                <a:avLst/>
                <a:gdLst>
                  <a:gd name="connsiteX0" fmla="*/ 15812 w 19050"/>
                  <a:gd name="connsiteY0" fmla="*/ 7144 h 19050"/>
                  <a:gd name="connsiteX1" fmla="*/ 7144 w 19050"/>
                  <a:gd name="connsiteY1" fmla="*/ 12192 h 19050"/>
                  <a:gd name="connsiteX2" fmla="*/ 18383 w 19050"/>
                  <a:gd name="connsiteY2" fmla="*/ 18669 h 19050"/>
                  <a:gd name="connsiteX3" fmla="*/ 15812 w 19050"/>
                  <a:gd name="connsiteY3" fmla="*/ 714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15812" y="7144"/>
                    </a:moveTo>
                    <a:lnTo>
                      <a:pt x="7144" y="12192"/>
                    </a:lnTo>
                    <a:lnTo>
                      <a:pt x="18383" y="18669"/>
                    </a:lnTo>
                    <a:cubicBezTo>
                      <a:pt x="17621" y="14764"/>
                      <a:pt x="16764" y="10954"/>
                      <a:pt x="15812" y="7144"/>
                    </a:cubicBez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196" name="Freeform: Shape 5195">
                <a:extLst>
                  <a:ext uri="{FF2B5EF4-FFF2-40B4-BE49-F238E27FC236}">
                    <a16:creationId xmlns:a16="http://schemas.microsoft.com/office/drawing/2014/main" id="{DC9C5901-59E2-4194-8CCB-0301EE4B01FE}"/>
                  </a:ext>
                </a:extLst>
              </p:cNvPr>
              <p:cNvSpPr/>
              <p:nvPr/>
            </p:nvSpPr>
            <p:spPr>
              <a:xfrm>
                <a:off x="8846222" y="5989955"/>
                <a:ext cx="47625" cy="38100"/>
              </a:xfrm>
              <a:custGeom>
                <a:avLst/>
                <a:gdLst>
                  <a:gd name="connsiteX0" fmla="*/ 7144 w 47625"/>
                  <a:gd name="connsiteY0" fmla="*/ 22193 h 38100"/>
                  <a:gd name="connsiteX1" fmla="*/ 33338 w 47625"/>
                  <a:gd name="connsiteY1" fmla="*/ 37338 h 38100"/>
                  <a:gd name="connsiteX2" fmla="*/ 38481 w 47625"/>
                  <a:gd name="connsiteY2" fmla="*/ 34385 h 38100"/>
                  <a:gd name="connsiteX3" fmla="*/ 46387 w 47625"/>
                  <a:gd name="connsiteY3" fmla="*/ 14669 h 38100"/>
                  <a:gd name="connsiteX4" fmla="*/ 33338 w 47625"/>
                  <a:gd name="connsiteY4" fmla="*/ 7144 h 38100"/>
                  <a:gd name="connsiteX5" fmla="*/ 7144 w 47625"/>
                  <a:gd name="connsiteY5" fmla="*/ 22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38481" y="34385"/>
                    </a:lnTo>
                    <a:cubicBezTo>
                      <a:pt x="41434" y="28004"/>
                      <a:pt x="44006" y="21336"/>
                      <a:pt x="46387" y="14669"/>
                    </a:cubicBezTo>
                    <a:lnTo>
                      <a:pt x="33338" y="7144"/>
                    </a:lnTo>
                    <a:lnTo>
                      <a:pt x="7144" y="2228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197" name="Freeform: Shape 5196">
                <a:extLst>
                  <a:ext uri="{FF2B5EF4-FFF2-40B4-BE49-F238E27FC236}">
                    <a16:creationId xmlns:a16="http://schemas.microsoft.com/office/drawing/2014/main" id="{2CE766C9-2459-45CC-98B1-804A5C909509}"/>
                  </a:ext>
                </a:extLst>
              </p:cNvPr>
              <p:cNvSpPr/>
              <p:nvPr/>
            </p:nvSpPr>
            <p:spPr>
              <a:xfrm>
                <a:off x="8884322" y="5952617"/>
                <a:ext cx="19050" cy="19050"/>
              </a:xfrm>
              <a:custGeom>
                <a:avLst/>
                <a:gdLst>
                  <a:gd name="connsiteX0" fmla="*/ 18860 w 19050"/>
                  <a:gd name="connsiteY0" fmla="*/ 12097 h 19050"/>
                  <a:gd name="connsiteX1" fmla="*/ 19526 w 19050"/>
                  <a:gd name="connsiteY1" fmla="*/ 7144 h 19050"/>
                  <a:gd name="connsiteX2" fmla="*/ 7144 w 19050"/>
                  <a:gd name="connsiteY2" fmla="*/ 14288 h 19050"/>
                  <a:gd name="connsiteX3" fmla="*/ 17145 w 19050"/>
                  <a:gd name="connsiteY3" fmla="*/ 20098 h 19050"/>
                  <a:gd name="connsiteX4" fmla="*/ 18764 w 19050"/>
                  <a:gd name="connsiteY4" fmla="*/ 1209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050" h="19050">
                    <a:moveTo>
                      <a:pt x="18860" y="12097"/>
                    </a:moveTo>
                    <a:cubicBezTo>
                      <a:pt x="19145" y="10478"/>
                      <a:pt x="19336" y="8858"/>
                      <a:pt x="19526" y="7144"/>
                    </a:cubicBezTo>
                    <a:lnTo>
                      <a:pt x="7144" y="14288"/>
                    </a:lnTo>
                    <a:lnTo>
                      <a:pt x="17145" y="20098"/>
                    </a:lnTo>
                    <a:cubicBezTo>
                      <a:pt x="17717" y="17431"/>
                      <a:pt x="18288" y="14764"/>
                      <a:pt x="18764" y="12097"/>
                    </a:cubicBez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198" name="Freeform: Shape 5197">
                <a:extLst>
                  <a:ext uri="{FF2B5EF4-FFF2-40B4-BE49-F238E27FC236}">
                    <a16:creationId xmlns:a16="http://schemas.microsoft.com/office/drawing/2014/main" id="{341E7143-16BA-4286-816E-A5417D18FB50}"/>
                  </a:ext>
                </a:extLst>
              </p:cNvPr>
              <p:cNvSpPr/>
              <p:nvPr/>
            </p:nvSpPr>
            <p:spPr>
              <a:xfrm>
                <a:off x="8770117" y="5724208"/>
                <a:ext cx="47625" cy="38100"/>
              </a:xfrm>
              <a:custGeom>
                <a:avLst/>
                <a:gdLst>
                  <a:gd name="connsiteX0" fmla="*/ 46958 w 47625"/>
                  <a:gd name="connsiteY0" fmla="*/ 23717 h 38100"/>
                  <a:gd name="connsiteX1" fmla="*/ 39052 w 47625"/>
                  <a:gd name="connsiteY1" fmla="*/ 17621 h 38100"/>
                  <a:gd name="connsiteX2" fmla="*/ 23241 w 47625"/>
                  <a:gd name="connsiteY2" fmla="*/ 7144 h 38100"/>
                  <a:gd name="connsiteX3" fmla="*/ 7144 w 47625"/>
                  <a:gd name="connsiteY3" fmla="*/ 16478 h 38100"/>
                  <a:gd name="connsiteX4" fmla="*/ 33338 w 47625"/>
                  <a:gd name="connsiteY4" fmla="*/ 31623 h 38100"/>
                  <a:gd name="connsiteX5" fmla="*/ 47054 w 47625"/>
                  <a:gd name="connsiteY5" fmla="*/ 23717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38100">
                    <a:moveTo>
                      <a:pt x="46958" y="23717"/>
                    </a:moveTo>
                    <a:cubicBezTo>
                      <a:pt x="44291" y="21717"/>
                      <a:pt x="41719" y="19621"/>
                      <a:pt x="39052" y="17621"/>
                    </a:cubicBezTo>
                    <a:cubicBezTo>
                      <a:pt x="33814" y="13811"/>
                      <a:pt x="28480" y="10477"/>
                      <a:pt x="23241" y="7144"/>
                    </a:cubicBezTo>
                    <a:lnTo>
                      <a:pt x="7144" y="16478"/>
                    </a:lnTo>
                    <a:lnTo>
                      <a:pt x="33338" y="31623"/>
                    </a:lnTo>
                    <a:lnTo>
                      <a:pt x="47054" y="23717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199" name="Freeform: Shape 5198">
                <a:extLst>
                  <a:ext uri="{FF2B5EF4-FFF2-40B4-BE49-F238E27FC236}">
                    <a16:creationId xmlns:a16="http://schemas.microsoft.com/office/drawing/2014/main" id="{5914ED0E-EDD3-49B9-9E06-4EA0BE85C9DF}"/>
                  </a:ext>
                </a:extLst>
              </p:cNvPr>
              <p:cNvSpPr/>
              <p:nvPr/>
            </p:nvSpPr>
            <p:spPr>
              <a:xfrm>
                <a:off x="8770022" y="5808980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00" name="Freeform: Shape 5199">
                <a:extLst>
                  <a:ext uri="{FF2B5EF4-FFF2-40B4-BE49-F238E27FC236}">
                    <a16:creationId xmlns:a16="http://schemas.microsoft.com/office/drawing/2014/main" id="{A1E8A648-C68D-4006-875F-74438E8CCF46}"/>
                  </a:ext>
                </a:extLst>
              </p:cNvPr>
              <p:cNvSpPr/>
              <p:nvPr/>
            </p:nvSpPr>
            <p:spPr>
              <a:xfrm>
                <a:off x="8808122" y="5763736"/>
                <a:ext cx="57150" cy="38100"/>
              </a:xfrm>
              <a:custGeom>
                <a:avLst/>
                <a:gdLst>
                  <a:gd name="connsiteX0" fmla="*/ 33338 w 57150"/>
                  <a:gd name="connsiteY0" fmla="*/ 37338 h 38100"/>
                  <a:gd name="connsiteX1" fmla="*/ 51911 w 57150"/>
                  <a:gd name="connsiteY1" fmla="*/ 26670 h 38100"/>
                  <a:gd name="connsiteX2" fmla="*/ 36671 w 57150"/>
                  <a:gd name="connsiteY2" fmla="*/ 9049 h 38100"/>
                  <a:gd name="connsiteX3" fmla="*/ 33338 w 57150"/>
                  <a:gd name="connsiteY3" fmla="*/ 7144 h 38100"/>
                  <a:gd name="connsiteX4" fmla="*/ 7144 w 57150"/>
                  <a:gd name="connsiteY4" fmla="*/ 22288 h 38100"/>
                  <a:gd name="connsiteX5" fmla="*/ 33338 w 57150"/>
                  <a:gd name="connsiteY5" fmla="*/ 3743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38100">
                    <a:moveTo>
                      <a:pt x="33338" y="37338"/>
                    </a:moveTo>
                    <a:lnTo>
                      <a:pt x="51911" y="26670"/>
                    </a:lnTo>
                    <a:cubicBezTo>
                      <a:pt x="47149" y="20574"/>
                      <a:pt x="42101" y="14669"/>
                      <a:pt x="36671" y="9049"/>
                    </a:cubicBezTo>
                    <a:lnTo>
                      <a:pt x="33338" y="7144"/>
                    </a:lnTo>
                    <a:lnTo>
                      <a:pt x="7144" y="22288"/>
                    </a:lnTo>
                    <a:lnTo>
                      <a:pt x="33338" y="3743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01" name="Freeform: Shape 5200">
                <a:extLst>
                  <a:ext uri="{FF2B5EF4-FFF2-40B4-BE49-F238E27FC236}">
                    <a16:creationId xmlns:a16="http://schemas.microsoft.com/office/drawing/2014/main" id="{B0ECFB1E-16CE-4733-8786-A223EFBE4F3D}"/>
                  </a:ext>
                </a:extLst>
              </p:cNvPr>
              <p:cNvSpPr/>
              <p:nvPr/>
            </p:nvSpPr>
            <p:spPr>
              <a:xfrm>
                <a:off x="8770022" y="5899467"/>
                <a:ext cx="66675" cy="38100"/>
              </a:xfrm>
              <a:custGeom>
                <a:avLst/>
                <a:gdLst>
                  <a:gd name="connsiteX0" fmla="*/ 33338 w 66675"/>
                  <a:gd name="connsiteY0" fmla="*/ 7144 h 38100"/>
                  <a:gd name="connsiteX1" fmla="*/ 7144 w 66675"/>
                  <a:gd name="connsiteY1" fmla="*/ 22193 h 38100"/>
                  <a:gd name="connsiteX2" fmla="*/ 33338 w 66675"/>
                  <a:gd name="connsiteY2" fmla="*/ 37338 h 38100"/>
                  <a:gd name="connsiteX3" fmla="*/ 59531 w 66675"/>
                  <a:gd name="connsiteY3" fmla="*/ 22193 h 38100"/>
                  <a:gd name="connsiteX4" fmla="*/ 33338 w 66675"/>
                  <a:gd name="connsiteY4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7144"/>
                    </a:moveTo>
                    <a:lnTo>
                      <a:pt x="7144" y="22193"/>
                    </a:ln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02" name="Freeform: Shape 5201">
                <a:extLst>
                  <a:ext uri="{FF2B5EF4-FFF2-40B4-BE49-F238E27FC236}">
                    <a16:creationId xmlns:a16="http://schemas.microsoft.com/office/drawing/2014/main" id="{9B193B9F-4903-4A8E-A401-0DE0096984EF}"/>
                  </a:ext>
                </a:extLst>
              </p:cNvPr>
              <p:cNvSpPr/>
              <p:nvPr/>
            </p:nvSpPr>
            <p:spPr>
              <a:xfrm>
                <a:off x="8808122" y="5854224"/>
                <a:ext cx="66675" cy="38100"/>
              </a:xfrm>
              <a:custGeom>
                <a:avLst/>
                <a:gdLst>
                  <a:gd name="connsiteX0" fmla="*/ 33338 w 66675"/>
                  <a:gd name="connsiteY0" fmla="*/ 7144 h 38100"/>
                  <a:gd name="connsiteX1" fmla="*/ 7144 w 66675"/>
                  <a:gd name="connsiteY1" fmla="*/ 22193 h 38100"/>
                  <a:gd name="connsiteX2" fmla="*/ 33338 w 66675"/>
                  <a:gd name="connsiteY2" fmla="*/ 37338 h 38100"/>
                  <a:gd name="connsiteX3" fmla="*/ 59531 w 66675"/>
                  <a:gd name="connsiteY3" fmla="*/ 22193 h 38100"/>
                  <a:gd name="connsiteX4" fmla="*/ 33338 w 66675"/>
                  <a:gd name="connsiteY4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7144"/>
                    </a:moveTo>
                    <a:lnTo>
                      <a:pt x="7144" y="22193"/>
                    </a:ln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03" name="Freeform: Shape 5202">
                <a:extLst>
                  <a:ext uri="{FF2B5EF4-FFF2-40B4-BE49-F238E27FC236}">
                    <a16:creationId xmlns:a16="http://schemas.microsoft.com/office/drawing/2014/main" id="{D6E7F550-59CA-436D-BB98-433458DE14AA}"/>
                  </a:ext>
                </a:extLst>
              </p:cNvPr>
              <p:cNvSpPr/>
              <p:nvPr/>
            </p:nvSpPr>
            <p:spPr>
              <a:xfrm>
                <a:off x="8770022" y="5989955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04" name="Freeform: Shape 5203">
                <a:extLst>
                  <a:ext uri="{FF2B5EF4-FFF2-40B4-BE49-F238E27FC236}">
                    <a16:creationId xmlns:a16="http://schemas.microsoft.com/office/drawing/2014/main" id="{EE4A2206-6D9A-4B43-B537-CBB67D42DF67}"/>
                  </a:ext>
                </a:extLst>
              </p:cNvPr>
              <p:cNvSpPr/>
              <p:nvPr/>
            </p:nvSpPr>
            <p:spPr>
              <a:xfrm>
                <a:off x="8808122" y="5944711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05" name="Freeform: Shape 5204">
                <a:extLst>
                  <a:ext uri="{FF2B5EF4-FFF2-40B4-BE49-F238E27FC236}">
                    <a16:creationId xmlns:a16="http://schemas.microsoft.com/office/drawing/2014/main" id="{5ADB00A9-1626-442E-B8BF-EF838CBCB6B0}"/>
                  </a:ext>
                </a:extLst>
              </p:cNvPr>
              <p:cNvSpPr/>
              <p:nvPr/>
            </p:nvSpPr>
            <p:spPr>
              <a:xfrm>
                <a:off x="8770022" y="6080442"/>
                <a:ext cx="66675" cy="38100"/>
              </a:xfrm>
              <a:custGeom>
                <a:avLst/>
                <a:gdLst>
                  <a:gd name="connsiteX0" fmla="*/ 33338 w 66675"/>
                  <a:gd name="connsiteY0" fmla="*/ 7144 h 38100"/>
                  <a:gd name="connsiteX1" fmla="*/ 7144 w 66675"/>
                  <a:gd name="connsiteY1" fmla="*/ 22193 h 38100"/>
                  <a:gd name="connsiteX2" fmla="*/ 33338 w 66675"/>
                  <a:gd name="connsiteY2" fmla="*/ 37338 h 38100"/>
                  <a:gd name="connsiteX3" fmla="*/ 59531 w 66675"/>
                  <a:gd name="connsiteY3" fmla="*/ 22193 h 38100"/>
                  <a:gd name="connsiteX4" fmla="*/ 33338 w 66675"/>
                  <a:gd name="connsiteY4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7144"/>
                    </a:moveTo>
                    <a:lnTo>
                      <a:pt x="7144" y="22193"/>
                    </a:ln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06" name="Freeform: Shape 5205">
                <a:extLst>
                  <a:ext uri="{FF2B5EF4-FFF2-40B4-BE49-F238E27FC236}">
                    <a16:creationId xmlns:a16="http://schemas.microsoft.com/office/drawing/2014/main" id="{D294C0D9-8248-4865-B375-7311DB6FABC4}"/>
                  </a:ext>
                </a:extLst>
              </p:cNvPr>
              <p:cNvSpPr/>
              <p:nvPr/>
            </p:nvSpPr>
            <p:spPr>
              <a:xfrm>
                <a:off x="8808217" y="6035104"/>
                <a:ext cx="57150" cy="38100"/>
              </a:xfrm>
              <a:custGeom>
                <a:avLst/>
                <a:gdLst>
                  <a:gd name="connsiteX0" fmla="*/ 58674 w 57150"/>
                  <a:gd name="connsiteY0" fmla="*/ 21812 h 38100"/>
                  <a:gd name="connsiteX1" fmla="*/ 33338 w 57150"/>
                  <a:gd name="connsiteY1" fmla="*/ 7144 h 38100"/>
                  <a:gd name="connsiteX2" fmla="*/ 7144 w 57150"/>
                  <a:gd name="connsiteY2" fmla="*/ 22288 h 38100"/>
                  <a:gd name="connsiteX3" fmla="*/ 33338 w 57150"/>
                  <a:gd name="connsiteY3" fmla="*/ 37433 h 38100"/>
                  <a:gd name="connsiteX4" fmla="*/ 57721 w 57150"/>
                  <a:gd name="connsiteY4" fmla="*/ 23336 h 38100"/>
                  <a:gd name="connsiteX5" fmla="*/ 58674 w 57150"/>
                  <a:gd name="connsiteY5" fmla="*/ 21812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38100">
                    <a:moveTo>
                      <a:pt x="58674" y="21812"/>
                    </a:moveTo>
                    <a:lnTo>
                      <a:pt x="33338" y="7144"/>
                    </a:lnTo>
                    <a:lnTo>
                      <a:pt x="7144" y="22288"/>
                    </a:lnTo>
                    <a:lnTo>
                      <a:pt x="33338" y="37433"/>
                    </a:lnTo>
                    <a:lnTo>
                      <a:pt x="57721" y="23336"/>
                    </a:lnTo>
                    <a:cubicBezTo>
                      <a:pt x="58007" y="22860"/>
                      <a:pt x="58388" y="22288"/>
                      <a:pt x="58674" y="21812"/>
                    </a:cubicBez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07" name="Freeform: Shape 5206">
                <a:extLst>
                  <a:ext uri="{FF2B5EF4-FFF2-40B4-BE49-F238E27FC236}">
                    <a16:creationId xmlns:a16="http://schemas.microsoft.com/office/drawing/2014/main" id="{E19E44C8-7E56-457A-A43F-9C66E5102602}"/>
                  </a:ext>
                </a:extLst>
              </p:cNvPr>
              <p:cNvSpPr/>
              <p:nvPr/>
            </p:nvSpPr>
            <p:spPr>
              <a:xfrm>
                <a:off x="8693822" y="5718492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08" name="Freeform: Shape 5207">
                <a:extLst>
                  <a:ext uri="{FF2B5EF4-FFF2-40B4-BE49-F238E27FC236}">
                    <a16:creationId xmlns:a16="http://schemas.microsoft.com/office/drawing/2014/main" id="{F0340E5F-FA55-41A0-8D20-F90D121E9BCA}"/>
                  </a:ext>
                </a:extLst>
              </p:cNvPr>
              <p:cNvSpPr/>
              <p:nvPr/>
            </p:nvSpPr>
            <p:spPr>
              <a:xfrm>
                <a:off x="8693822" y="5808980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09" name="Freeform: Shape 5208">
                <a:extLst>
                  <a:ext uri="{FF2B5EF4-FFF2-40B4-BE49-F238E27FC236}">
                    <a16:creationId xmlns:a16="http://schemas.microsoft.com/office/drawing/2014/main" id="{54D89B76-6775-448B-B912-DDDA84EF153E}"/>
                  </a:ext>
                </a:extLst>
              </p:cNvPr>
              <p:cNvSpPr/>
              <p:nvPr/>
            </p:nvSpPr>
            <p:spPr>
              <a:xfrm>
                <a:off x="8731922" y="5763736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10" name="Freeform: Shape 5209">
                <a:extLst>
                  <a:ext uri="{FF2B5EF4-FFF2-40B4-BE49-F238E27FC236}">
                    <a16:creationId xmlns:a16="http://schemas.microsoft.com/office/drawing/2014/main" id="{AD4398EB-A4C8-4227-A6EE-C60FA5813580}"/>
                  </a:ext>
                </a:extLst>
              </p:cNvPr>
              <p:cNvSpPr/>
              <p:nvPr/>
            </p:nvSpPr>
            <p:spPr>
              <a:xfrm>
                <a:off x="8693822" y="5899467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11" name="Freeform: Shape 5210">
                <a:extLst>
                  <a:ext uri="{FF2B5EF4-FFF2-40B4-BE49-F238E27FC236}">
                    <a16:creationId xmlns:a16="http://schemas.microsoft.com/office/drawing/2014/main" id="{EA4C21D9-858D-459D-93A3-78060F1F01B8}"/>
                  </a:ext>
                </a:extLst>
              </p:cNvPr>
              <p:cNvSpPr/>
              <p:nvPr/>
            </p:nvSpPr>
            <p:spPr>
              <a:xfrm>
                <a:off x="8731922" y="5854224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12" name="Freeform: Shape 5211">
                <a:extLst>
                  <a:ext uri="{FF2B5EF4-FFF2-40B4-BE49-F238E27FC236}">
                    <a16:creationId xmlns:a16="http://schemas.microsoft.com/office/drawing/2014/main" id="{D3F2401D-1849-46D0-B33E-A748B6B2208B}"/>
                  </a:ext>
                </a:extLst>
              </p:cNvPr>
              <p:cNvSpPr/>
              <p:nvPr/>
            </p:nvSpPr>
            <p:spPr>
              <a:xfrm>
                <a:off x="8693822" y="5989955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13" name="Freeform: Shape 5212">
                <a:extLst>
                  <a:ext uri="{FF2B5EF4-FFF2-40B4-BE49-F238E27FC236}">
                    <a16:creationId xmlns:a16="http://schemas.microsoft.com/office/drawing/2014/main" id="{4340DD2E-C462-4D16-84EF-F99E6E8567A6}"/>
                  </a:ext>
                </a:extLst>
              </p:cNvPr>
              <p:cNvSpPr/>
              <p:nvPr/>
            </p:nvSpPr>
            <p:spPr>
              <a:xfrm>
                <a:off x="8731922" y="5944711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14" name="Freeform: Shape 5213">
                <a:extLst>
                  <a:ext uri="{FF2B5EF4-FFF2-40B4-BE49-F238E27FC236}">
                    <a16:creationId xmlns:a16="http://schemas.microsoft.com/office/drawing/2014/main" id="{DEEFAB09-3A3C-4AD7-965E-FCAE15C91193}"/>
                  </a:ext>
                </a:extLst>
              </p:cNvPr>
              <p:cNvSpPr/>
              <p:nvPr/>
            </p:nvSpPr>
            <p:spPr>
              <a:xfrm>
                <a:off x="8693822" y="6080442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15" name="Freeform: Shape 5214">
                <a:extLst>
                  <a:ext uri="{FF2B5EF4-FFF2-40B4-BE49-F238E27FC236}">
                    <a16:creationId xmlns:a16="http://schemas.microsoft.com/office/drawing/2014/main" id="{F3FA4731-7547-4E59-8FCA-1196B191A954}"/>
                  </a:ext>
                </a:extLst>
              </p:cNvPr>
              <p:cNvSpPr/>
              <p:nvPr/>
            </p:nvSpPr>
            <p:spPr>
              <a:xfrm>
                <a:off x="8731922" y="6035199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16" name="Freeform: Shape 5215">
                <a:extLst>
                  <a:ext uri="{FF2B5EF4-FFF2-40B4-BE49-F238E27FC236}">
                    <a16:creationId xmlns:a16="http://schemas.microsoft.com/office/drawing/2014/main" id="{A2803361-9ABB-4B58-A8CB-6142F572CE2C}"/>
                  </a:ext>
                </a:extLst>
              </p:cNvPr>
              <p:cNvSpPr/>
              <p:nvPr/>
            </p:nvSpPr>
            <p:spPr>
              <a:xfrm>
                <a:off x="8704776" y="6170930"/>
                <a:ext cx="28575" cy="19050"/>
              </a:xfrm>
              <a:custGeom>
                <a:avLst/>
                <a:gdLst>
                  <a:gd name="connsiteX0" fmla="*/ 7144 w 28575"/>
                  <a:gd name="connsiteY0" fmla="*/ 15907 h 19050"/>
                  <a:gd name="connsiteX1" fmla="*/ 23146 w 28575"/>
                  <a:gd name="connsiteY1" fmla="*/ 7525 h 19050"/>
                  <a:gd name="connsiteX2" fmla="*/ 22384 w 28575"/>
                  <a:gd name="connsiteY2" fmla="*/ 7144 h 19050"/>
                  <a:gd name="connsiteX3" fmla="*/ 7144 w 28575"/>
                  <a:gd name="connsiteY3" fmla="*/ 15907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19050">
                    <a:moveTo>
                      <a:pt x="7144" y="15907"/>
                    </a:moveTo>
                    <a:cubicBezTo>
                      <a:pt x="12478" y="13145"/>
                      <a:pt x="17812" y="10382"/>
                      <a:pt x="23146" y="7525"/>
                    </a:cubicBezTo>
                    <a:lnTo>
                      <a:pt x="22384" y="7144"/>
                    </a:lnTo>
                    <a:lnTo>
                      <a:pt x="7144" y="15907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17" name="Freeform: Shape 5216">
                <a:extLst>
                  <a:ext uri="{FF2B5EF4-FFF2-40B4-BE49-F238E27FC236}">
                    <a16:creationId xmlns:a16="http://schemas.microsoft.com/office/drawing/2014/main" id="{4EA36BB5-E2E6-489A-B160-0527E19BE1A8}"/>
                  </a:ext>
                </a:extLst>
              </p:cNvPr>
              <p:cNvSpPr/>
              <p:nvPr/>
            </p:nvSpPr>
            <p:spPr>
              <a:xfrm>
                <a:off x="8731826" y="6125686"/>
                <a:ext cx="57150" cy="38100"/>
              </a:xfrm>
              <a:custGeom>
                <a:avLst/>
                <a:gdLst>
                  <a:gd name="connsiteX0" fmla="*/ 7239 w 57150"/>
                  <a:gd name="connsiteY0" fmla="*/ 22193 h 38100"/>
                  <a:gd name="connsiteX1" fmla="*/ 27622 w 57150"/>
                  <a:gd name="connsiteY1" fmla="*/ 34004 h 38100"/>
                  <a:gd name="connsiteX2" fmla="*/ 51530 w 57150"/>
                  <a:gd name="connsiteY2" fmla="*/ 17621 h 38100"/>
                  <a:gd name="connsiteX3" fmla="*/ 33338 w 57150"/>
                  <a:gd name="connsiteY3" fmla="*/ 7144 h 38100"/>
                  <a:gd name="connsiteX4" fmla="*/ 7144 w 57150"/>
                  <a:gd name="connsiteY4" fmla="*/ 22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7239" y="22193"/>
                    </a:moveTo>
                    <a:lnTo>
                      <a:pt x="27622" y="34004"/>
                    </a:lnTo>
                    <a:cubicBezTo>
                      <a:pt x="35814" y="28766"/>
                      <a:pt x="43815" y="23241"/>
                      <a:pt x="51530" y="17621"/>
                    </a:cubicBezTo>
                    <a:lnTo>
                      <a:pt x="33338" y="7144"/>
                    </a:lnTo>
                    <a:lnTo>
                      <a:pt x="7144" y="2228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18" name="Freeform: Shape 5217">
                <a:extLst>
                  <a:ext uri="{FF2B5EF4-FFF2-40B4-BE49-F238E27FC236}">
                    <a16:creationId xmlns:a16="http://schemas.microsoft.com/office/drawing/2014/main" id="{A6F69822-6BD9-4E80-BE8C-E2E9A6F514E6}"/>
                  </a:ext>
                </a:extLst>
              </p:cNvPr>
              <p:cNvSpPr/>
              <p:nvPr/>
            </p:nvSpPr>
            <p:spPr>
              <a:xfrm>
                <a:off x="8617622" y="5641816"/>
                <a:ext cx="47625" cy="28575"/>
              </a:xfrm>
              <a:custGeom>
                <a:avLst/>
                <a:gdLst>
                  <a:gd name="connsiteX0" fmla="*/ 41624 w 47625"/>
                  <a:gd name="connsiteY0" fmla="*/ 18764 h 28575"/>
                  <a:gd name="connsiteX1" fmla="*/ 9335 w 47625"/>
                  <a:gd name="connsiteY1" fmla="*/ 7144 h 28575"/>
                  <a:gd name="connsiteX2" fmla="*/ 7144 w 47625"/>
                  <a:gd name="connsiteY2" fmla="*/ 8382 h 28575"/>
                  <a:gd name="connsiteX3" fmla="*/ 33338 w 47625"/>
                  <a:gd name="connsiteY3" fmla="*/ 23527 h 28575"/>
                  <a:gd name="connsiteX4" fmla="*/ 41624 w 47625"/>
                  <a:gd name="connsiteY4" fmla="*/ 1876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28575">
                    <a:moveTo>
                      <a:pt x="41624" y="18764"/>
                    </a:moveTo>
                    <a:cubicBezTo>
                      <a:pt x="31433" y="14002"/>
                      <a:pt x="20574" y="10096"/>
                      <a:pt x="9335" y="7144"/>
                    </a:cubicBezTo>
                    <a:lnTo>
                      <a:pt x="7144" y="8382"/>
                    </a:lnTo>
                    <a:lnTo>
                      <a:pt x="33338" y="23527"/>
                    </a:lnTo>
                    <a:lnTo>
                      <a:pt x="41624" y="18764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19" name="Freeform: Shape 5218">
                <a:extLst>
                  <a:ext uri="{FF2B5EF4-FFF2-40B4-BE49-F238E27FC236}">
                    <a16:creationId xmlns:a16="http://schemas.microsoft.com/office/drawing/2014/main" id="{14E855D0-77A6-4C84-8CD8-07C98F16A1D5}"/>
                  </a:ext>
                </a:extLst>
              </p:cNvPr>
              <p:cNvSpPr/>
              <p:nvPr/>
            </p:nvSpPr>
            <p:spPr>
              <a:xfrm>
                <a:off x="8617622" y="5718492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20" name="Freeform: Shape 5219">
                <a:extLst>
                  <a:ext uri="{FF2B5EF4-FFF2-40B4-BE49-F238E27FC236}">
                    <a16:creationId xmlns:a16="http://schemas.microsoft.com/office/drawing/2014/main" id="{4798E64C-5C71-43C9-8A59-1B6D28910BF3}"/>
                  </a:ext>
                </a:extLst>
              </p:cNvPr>
              <p:cNvSpPr/>
              <p:nvPr/>
            </p:nvSpPr>
            <p:spPr>
              <a:xfrm>
                <a:off x="8655722" y="5673249"/>
                <a:ext cx="66675" cy="38100"/>
              </a:xfrm>
              <a:custGeom>
                <a:avLst/>
                <a:gdLst>
                  <a:gd name="connsiteX0" fmla="*/ 59531 w 66675"/>
                  <a:gd name="connsiteY0" fmla="*/ 22193 h 38100"/>
                  <a:gd name="connsiteX1" fmla="*/ 48768 w 66675"/>
                  <a:gd name="connsiteY1" fmla="*/ 16002 h 38100"/>
                  <a:gd name="connsiteX2" fmla="*/ 47435 w 66675"/>
                  <a:gd name="connsiteY2" fmla="*/ 15431 h 38100"/>
                  <a:gd name="connsiteX3" fmla="*/ 46577 w 66675"/>
                  <a:gd name="connsiteY3" fmla="*/ 14764 h 38100"/>
                  <a:gd name="connsiteX4" fmla="*/ 33338 w 66675"/>
                  <a:gd name="connsiteY4" fmla="*/ 7144 h 38100"/>
                  <a:gd name="connsiteX5" fmla="*/ 7144 w 66675"/>
                  <a:gd name="connsiteY5" fmla="*/ 22288 h 38100"/>
                  <a:gd name="connsiteX6" fmla="*/ 33338 w 66675"/>
                  <a:gd name="connsiteY6" fmla="*/ 37433 h 38100"/>
                  <a:gd name="connsiteX7" fmla="*/ 59531 w 66675"/>
                  <a:gd name="connsiteY7" fmla="*/ 22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675" h="38100">
                    <a:moveTo>
                      <a:pt x="59531" y="22193"/>
                    </a:moveTo>
                    <a:lnTo>
                      <a:pt x="48768" y="16002"/>
                    </a:lnTo>
                    <a:cubicBezTo>
                      <a:pt x="48768" y="16002"/>
                      <a:pt x="47911" y="15621"/>
                      <a:pt x="47435" y="15431"/>
                    </a:cubicBezTo>
                    <a:cubicBezTo>
                      <a:pt x="47149" y="15240"/>
                      <a:pt x="46863" y="14954"/>
                      <a:pt x="46577" y="14764"/>
                    </a:cubicBezTo>
                    <a:lnTo>
                      <a:pt x="33338" y="7144"/>
                    </a:lnTo>
                    <a:lnTo>
                      <a:pt x="7144" y="22288"/>
                    </a:lnTo>
                    <a:lnTo>
                      <a:pt x="33338" y="37433"/>
                    </a:lnTo>
                    <a:lnTo>
                      <a:pt x="59531" y="2228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21" name="Freeform: Shape 5220">
                <a:extLst>
                  <a:ext uri="{FF2B5EF4-FFF2-40B4-BE49-F238E27FC236}">
                    <a16:creationId xmlns:a16="http://schemas.microsoft.com/office/drawing/2014/main" id="{B529010D-0734-4286-B50C-A5BF8C306671}"/>
                  </a:ext>
                </a:extLst>
              </p:cNvPr>
              <p:cNvSpPr/>
              <p:nvPr/>
            </p:nvSpPr>
            <p:spPr>
              <a:xfrm>
                <a:off x="8617622" y="5808980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22" name="Freeform: Shape 5221">
                <a:extLst>
                  <a:ext uri="{FF2B5EF4-FFF2-40B4-BE49-F238E27FC236}">
                    <a16:creationId xmlns:a16="http://schemas.microsoft.com/office/drawing/2014/main" id="{887ADF06-E4E7-4607-840D-6770B3ECF5BB}"/>
                  </a:ext>
                </a:extLst>
              </p:cNvPr>
              <p:cNvSpPr/>
              <p:nvPr/>
            </p:nvSpPr>
            <p:spPr>
              <a:xfrm>
                <a:off x="8655722" y="5763736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23" name="Freeform: Shape 5222">
                <a:extLst>
                  <a:ext uri="{FF2B5EF4-FFF2-40B4-BE49-F238E27FC236}">
                    <a16:creationId xmlns:a16="http://schemas.microsoft.com/office/drawing/2014/main" id="{EBEF8067-715F-4CB9-9597-9E45ED6CDE54}"/>
                  </a:ext>
                </a:extLst>
              </p:cNvPr>
              <p:cNvSpPr/>
              <p:nvPr/>
            </p:nvSpPr>
            <p:spPr>
              <a:xfrm>
                <a:off x="8617622" y="5899467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24" name="Freeform: Shape 5223">
                <a:extLst>
                  <a:ext uri="{FF2B5EF4-FFF2-40B4-BE49-F238E27FC236}">
                    <a16:creationId xmlns:a16="http://schemas.microsoft.com/office/drawing/2014/main" id="{FB79E0A7-3B2A-4E8C-8B6C-864FB67FE8DF}"/>
                  </a:ext>
                </a:extLst>
              </p:cNvPr>
              <p:cNvSpPr/>
              <p:nvPr/>
            </p:nvSpPr>
            <p:spPr>
              <a:xfrm>
                <a:off x="8655722" y="5854224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25" name="Freeform: Shape 5224">
                <a:extLst>
                  <a:ext uri="{FF2B5EF4-FFF2-40B4-BE49-F238E27FC236}">
                    <a16:creationId xmlns:a16="http://schemas.microsoft.com/office/drawing/2014/main" id="{9FCEDA64-D268-48DB-B123-691EC6177B32}"/>
                  </a:ext>
                </a:extLst>
              </p:cNvPr>
              <p:cNvSpPr/>
              <p:nvPr/>
            </p:nvSpPr>
            <p:spPr>
              <a:xfrm>
                <a:off x="8617622" y="5989955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26" name="Freeform: Shape 5225">
                <a:extLst>
                  <a:ext uri="{FF2B5EF4-FFF2-40B4-BE49-F238E27FC236}">
                    <a16:creationId xmlns:a16="http://schemas.microsoft.com/office/drawing/2014/main" id="{BB3F4503-4684-4440-BD98-F6776FE34D4D}"/>
                  </a:ext>
                </a:extLst>
              </p:cNvPr>
              <p:cNvSpPr/>
              <p:nvPr/>
            </p:nvSpPr>
            <p:spPr>
              <a:xfrm>
                <a:off x="8655722" y="5944711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27" name="Freeform: Shape 5226">
                <a:extLst>
                  <a:ext uri="{FF2B5EF4-FFF2-40B4-BE49-F238E27FC236}">
                    <a16:creationId xmlns:a16="http://schemas.microsoft.com/office/drawing/2014/main" id="{6449C2A3-2718-4D83-8832-61F84A97E1C4}"/>
                  </a:ext>
                </a:extLst>
              </p:cNvPr>
              <p:cNvSpPr/>
              <p:nvPr/>
            </p:nvSpPr>
            <p:spPr>
              <a:xfrm>
                <a:off x="8617622" y="6080442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28" name="Freeform: Shape 5227">
                <a:extLst>
                  <a:ext uri="{FF2B5EF4-FFF2-40B4-BE49-F238E27FC236}">
                    <a16:creationId xmlns:a16="http://schemas.microsoft.com/office/drawing/2014/main" id="{4B8CFDCE-B296-454B-8F87-7560750FD668}"/>
                  </a:ext>
                </a:extLst>
              </p:cNvPr>
              <p:cNvSpPr/>
              <p:nvPr/>
            </p:nvSpPr>
            <p:spPr>
              <a:xfrm>
                <a:off x="8655722" y="6035199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29" name="Freeform: Shape 5228">
                <a:extLst>
                  <a:ext uri="{FF2B5EF4-FFF2-40B4-BE49-F238E27FC236}">
                    <a16:creationId xmlns:a16="http://schemas.microsoft.com/office/drawing/2014/main" id="{2B8D1480-6183-4F9A-91CC-A7E4C2ECDA24}"/>
                  </a:ext>
                </a:extLst>
              </p:cNvPr>
              <p:cNvSpPr/>
              <p:nvPr/>
            </p:nvSpPr>
            <p:spPr>
              <a:xfrm>
                <a:off x="8617622" y="6170930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30" name="Freeform: Shape 5229">
                <a:extLst>
                  <a:ext uri="{FF2B5EF4-FFF2-40B4-BE49-F238E27FC236}">
                    <a16:creationId xmlns:a16="http://schemas.microsoft.com/office/drawing/2014/main" id="{89C2F0DA-DB70-4ED5-802C-F4EAD36C5059}"/>
                  </a:ext>
                </a:extLst>
              </p:cNvPr>
              <p:cNvSpPr/>
              <p:nvPr/>
            </p:nvSpPr>
            <p:spPr>
              <a:xfrm>
                <a:off x="8655722" y="6125686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31" name="Freeform: Shape 5230">
                <a:extLst>
                  <a:ext uri="{FF2B5EF4-FFF2-40B4-BE49-F238E27FC236}">
                    <a16:creationId xmlns:a16="http://schemas.microsoft.com/office/drawing/2014/main" id="{4A90D35F-B5E2-4425-B5C0-7AA20E91BB4B}"/>
                  </a:ext>
                </a:extLst>
              </p:cNvPr>
              <p:cNvSpPr/>
              <p:nvPr/>
            </p:nvSpPr>
            <p:spPr>
              <a:xfrm>
                <a:off x="8544946" y="5637149"/>
                <a:ext cx="57150" cy="28575"/>
              </a:xfrm>
              <a:custGeom>
                <a:avLst/>
                <a:gdLst>
                  <a:gd name="connsiteX0" fmla="*/ 56007 w 57150"/>
                  <a:gd name="connsiteY0" fmla="*/ 13049 h 28575"/>
                  <a:gd name="connsiteX1" fmla="*/ 45815 w 57150"/>
                  <a:gd name="connsiteY1" fmla="*/ 7144 h 28575"/>
                  <a:gd name="connsiteX2" fmla="*/ 7144 w 57150"/>
                  <a:gd name="connsiteY2" fmla="*/ 15049 h 28575"/>
                  <a:gd name="connsiteX3" fmla="*/ 29813 w 57150"/>
                  <a:gd name="connsiteY3" fmla="*/ 28194 h 28575"/>
                  <a:gd name="connsiteX4" fmla="*/ 56007 w 57150"/>
                  <a:gd name="connsiteY4" fmla="*/ 1304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28575">
                    <a:moveTo>
                      <a:pt x="56007" y="13049"/>
                    </a:moveTo>
                    <a:lnTo>
                      <a:pt x="45815" y="7144"/>
                    </a:lnTo>
                    <a:cubicBezTo>
                      <a:pt x="31813" y="7429"/>
                      <a:pt x="18859" y="10192"/>
                      <a:pt x="7144" y="15049"/>
                    </a:cubicBezTo>
                    <a:lnTo>
                      <a:pt x="29813" y="28194"/>
                    </a:lnTo>
                    <a:lnTo>
                      <a:pt x="56007" y="13049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32" name="Freeform: Shape 5231">
                <a:extLst>
                  <a:ext uri="{FF2B5EF4-FFF2-40B4-BE49-F238E27FC236}">
                    <a16:creationId xmlns:a16="http://schemas.microsoft.com/office/drawing/2014/main" id="{CEF25682-E457-4D2C-8EE2-0DC754DD0E4B}"/>
                  </a:ext>
                </a:extLst>
              </p:cNvPr>
              <p:cNvSpPr/>
              <p:nvPr/>
            </p:nvSpPr>
            <p:spPr>
              <a:xfrm>
                <a:off x="8541422" y="5718492"/>
                <a:ext cx="57150" cy="38100"/>
              </a:xfrm>
              <a:custGeom>
                <a:avLst/>
                <a:gdLst>
                  <a:gd name="connsiteX0" fmla="*/ 7144 w 57150"/>
                  <a:gd name="connsiteY0" fmla="*/ 22193 h 38100"/>
                  <a:gd name="connsiteX1" fmla="*/ 33338 w 57150"/>
                  <a:gd name="connsiteY1" fmla="*/ 37338 h 38100"/>
                  <a:gd name="connsiteX2" fmla="*/ 59531 w 57150"/>
                  <a:gd name="connsiteY2" fmla="*/ 22193 h 38100"/>
                  <a:gd name="connsiteX3" fmla="*/ 33338 w 57150"/>
                  <a:gd name="connsiteY3" fmla="*/ 7144 h 38100"/>
                  <a:gd name="connsiteX4" fmla="*/ 7144 w 57150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33" name="Freeform: Shape 5232">
                <a:extLst>
                  <a:ext uri="{FF2B5EF4-FFF2-40B4-BE49-F238E27FC236}">
                    <a16:creationId xmlns:a16="http://schemas.microsoft.com/office/drawing/2014/main" id="{845785FC-7D8E-4657-BCC9-0680242C86A7}"/>
                  </a:ext>
                </a:extLst>
              </p:cNvPr>
              <p:cNvSpPr/>
              <p:nvPr/>
            </p:nvSpPr>
            <p:spPr>
              <a:xfrm>
                <a:off x="8579522" y="5673249"/>
                <a:ext cx="57150" cy="38100"/>
              </a:xfrm>
              <a:custGeom>
                <a:avLst/>
                <a:gdLst>
                  <a:gd name="connsiteX0" fmla="*/ 33337 w 57150"/>
                  <a:gd name="connsiteY0" fmla="*/ 37338 h 38100"/>
                  <a:gd name="connsiteX1" fmla="*/ 59531 w 57150"/>
                  <a:gd name="connsiteY1" fmla="*/ 22193 h 38100"/>
                  <a:gd name="connsiteX2" fmla="*/ 33337 w 57150"/>
                  <a:gd name="connsiteY2" fmla="*/ 7144 h 38100"/>
                  <a:gd name="connsiteX3" fmla="*/ 7144 w 57150"/>
                  <a:gd name="connsiteY3" fmla="*/ 22193 h 38100"/>
                  <a:gd name="connsiteX4" fmla="*/ 33337 w 57150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33337" y="37338"/>
                    </a:moveTo>
                    <a:lnTo>
                      <a:pt x="59531" y="22193"/>
                    </a:lnTo>
                    <a:lnTo>
                      <a:pt x="33337" y="7144"/>
                    </a:lnTo>
                    <a:lnTo>
                      <a:pt x="7144" y="22193"/>
                    </a:lnTo>
                    <a:lnTo>
                      <a:pt x="33337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34" name="Freeform: Shape 5233">
                <a:extLst>
                  <a:ext uri="{FF2B5EF4-FFF2-40B4-BE49-F238E27FC236}">
                    <a16:creationId xmlns:a16="http://schemas.microsoft.com/office/drawing/2014/main" id="{F439D806-1F4C-4508-A58C-11370B70ECCB}"/>
                  </a:ext>
                </a:extLst>
              </p:cNvPr>
              <p:cNvSpPr/>
              <p:nvPr/>
            </p:nvSpPr>
            <p:spPr>
              <a:xfrm>
                <a:off x="8541422" y="5808980"/>
                <a:ext cx="57150" cy="38100"/>
              </a:xfrm>
              <a:custGeom>
                <a:avLst/>
                <a:gdLst>
                  <a:gd name="connsiteX0" fmla="*/ 7144 w 57150"/>
                  <a:gd name="connsiteY0" fmla="*/ 22193 h 38100"/>
                  <a:gd name="connsiteX1" fmla="*/ 33338 w 57150"/>
                  <a:gd name="connsiteY1" fmla="*/ 37338 h 38100"/>
                  <a:gd name="connsiteX2" fmla="*/ 59531 w 57150"/>
                  <a:gd name="connsiteY2" fmla="*/ 22193 h 38100"/>
                  <a:gd name="connsiteX3" fmla="*/ 33338 w 57150"/>
                  <a:gd name="connsiteY3" fmla="*/ 7144 h 38100"/>
                  <a:gd name="connsiteX4" fmla="*/ 7144 w 57150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35" name="Freeform: Shape 5234">
                <a:extLst>
                  <a:ext uri="{FF2B5EF4-FFF2-40B4-BE49-F238E27FC236}">
                    <a16:creationId xmlns:a16="http://schemas.microsoft.com/office/drawing/2014/main" id="{98554D74-C20E-4F2D-879D-CA80A388104F}"/>
                  </a:ext>
                </a:extLst>
              </p:cNvPr>
              <p:cNvSpPr/>
              <p:nvPr/>
            </p:nvSpPr>
            <p:spPr>
              <a:xfrm>
                <a:off x="8579522" y="5763736"/>
                <a:ext cx="57150" cy="38100"/>
              </a:xfrm>
              <a:custGeom>
                <a:avLst/>
                <a:gdLst>
                  <a:gd name="connsiteX0" fmla="*/ 7144 w 57150"/>
                  <a:gd name="connsiteY0" fmla="*/ 22193 h 38100"/>
                  <a:gd name="connsiteX1" fmla="*/ 33337 w 57150"/>
                  <a:gd name="connsiteY1" fmla="*/ 37338 h 38100"/>
                  <a:gd name="connsiteX2" fmla="*/ 59531 w 57150"/>
                  <a:gd name="connsiteY2" fmla="*/ 22193 h 38100"/>
                  <a:gd name="connsiteX3" fmla="*/ 33337 w 57150"/>
                  <a:gd name="connsiteY3" fmla="*/ 7144 h 38100"/>
                  <a:gd name="connsiteX4" fmla="*/ 7144 w 57150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7144" y="22193"/>
                    </a:moveTo>
                    <a:lnTo>
                      <a:pt x="33337" y="37338"/>
                    </a:lnTo>
                    <a:lnTo>
                      <a:pt x="59531" y="22193"/>
                    </a:lnTo>
                    <a:lnTo>
                      <a:pt x="33337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36" name="Freeform: Shape 5235">
                <a:extLst>
                  <a:ext uri="{FF2B5EF4-FFF2-40B4-BE49-F238E27FC236}">
                    <a16:creationId xmlns:a16="http://schemas.microsoft.com/office/drawing/2014/main" id="{B567FC9D-6494-4B85-800C-D35DD031BBC1}"/>
                  </a:ext>
                </a:extLst>
              </p:cNvPr>
              <p:cNvSpPr/>
              <p:nvPr/>
            </p:nvSpPr>
            <p:spPr>
              <a:xfrm>
                <a:off x="8541422" y="5899467"/>
                <a:ext cx="57150" cy="38100"/>
              </a:xfrm>
              <a:custGeom>
                <a:avLst/>
                <a:gdLst>
                  <a:gd name="connsiteX0" fmla="*/ 59531 w 57150"/>
                  <a:gd name="connsiteY0" fmla="*/ 22193 h 38100"/>
                  <a:gd name="connsiteX1" fmla="*/ 33338 w 57150"/>
                  <a:gd name="connsiteY1" fmla="*/ 7144 h 38100"/>
                  <a:gd name="connsiteX2" fmla="*/ 7144 w 57150"/>
                  <a:gd name="connsiteY2" fmla="*/ 22193 h 38100"/>
                  <a:gd name="connsiteX3" fmla="*/ 33338 w 57150"/>
                  <a:gd name="connsiteY3" fmla="*/ 37338 h 38100"/>
                  <a:gd name="connsiteX4" fmla="*/ 59531 w 57150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59531" y="22193"/>
                    </a:move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lnTo>
                      <a:pt x="59531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37" name="Freeform: Shape 5236">
                <a:extLst>
                  <a:ext uri="{FF2B5EF4-FFF2-40B4-BE49-F238E27FC236}">
                    <a16:creationId xmlns:a16="http://schemas.microsoft.com/office/drawing/2014/main" id="{426D64A1-7D07-4E22-9453-BDA5C1C10CBA}"/>
                  </a:ext>
                </a:extLst>
              </p:cNvPr>
              <p:cNvSpPr/>
              <p:nvPr/>
            </p:nvSpPr>
            <p:spPr>
              <a:xfrm>
                <a:off x="8579522" y="5854224"/>
                <a:ext cx="57150" cy="38100"/>
              </a:xfrm>
              <a:custGeom>
                <a:avLst/>
                <a:gdLst>
                  <a:gd name="connsiteX0" fmla="*/ 7144 w 57150"/>
                  <a:gd name="connsiteY0" fmla="*/ 22193 h 38100"/>
                  <a:gd name="connsiteX1" fmla="*/ 33337 w 57150"/>
                  <a:gd name="connsiteY1" fmla="*/ 37338 h 38100"/>
                  <a:gd name="connsiteX2" fmla="*/ 59531 w 57150"/>
                  <a:gd name="connsiteY2" fmla="*/ 22193 h 38100"/>
                  <a:gd name="connsiteX3" fmla="*/ 33337 w 57150"/>
                  <a:gd name="connsiteY3" fmla="*/ 7144 h 38100"/>
                  <a:gd name="connsiteX4" fmla="*/ 7144 w 57150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7144" y="22193"/>
                    </a:moveTo>
                    <a:lnTo>
                      <a:pt x="33337" y="37338"/>
                    </a:lnTo>
                    <a:lnTo>
                      <a:pt x="59531" y="22193"/>
                    </a:lnTo>
                    <a:lnTo>
                      <a:pt x="33337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38" name="Freeform: Shape 5237">
                <a:extLst>
                  <a:ext uri="{FF2B5EF4-FFF2-40B4-BE49-F238E27FC236}">
                    <a16:creationId xmlns:a16="http://schemas.microsoft.com/office/drawing/2014/main" id="{7B4475B5-F8A4-44EA-9329-FFB95E15DE21}"/>
                  </a:ext>
                </a:extLst>
              </p:cNvPr>
              <p:cNvSpPr/>
              <p:nvPr/>
            </p:nvSpPr>
            <p:spPr>
              <a:xfrm>
                <a:off x="8541422" y="5989955"/>
                <a:ext cx="57150" cy="38100"/>
              </a:xfrm>
              <a:custGeom>
                <a:avLst/>
                <a:gdLst>
                  <a:gd name="connsiteX0" fmla="*/ 33338 w 57150"/>
                  <a:gd name="connsiteY0" fmla="*/ 37338 h 38100"/>
                  <a:gd name="connsiteX1" fmla="*/ 59531 w 57150"/>
                  <a:gd name="connsiteY1" fmla="*/ 22193 h 38100"/>
                  <a:gd name="connsiteX2" fmla="*/ 33338 w 57150"/>
                  <a:gd name="connsiteY2" fmla="*/ 7144 h 38100"/>
                  <a:gd name="connsiteX3" fmla="*/ 7144 w 57150"/>
                  <a:gd name="connsiteY3" fmla="*/ 22193 h 38100"/>
                  <a:gd name="connsiteX4" fmla="*/ 33338 w 57150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39" name="Freeform: Shape 5238">
                <a:extLst>
                  <a:ext uri="{FF2B5EF4-FFF2-40B4-BE49-F238E27FC236}">
                    <a16:creationId xmlns:a16="http://schemas.microsoft.com/office/drawing/2014/main" id="{0D4213B2-4347-4CDC-B579-2A4DDE35B2A7}"/>
                  </a:ext>
                </a:extLst>
              </p:cNvPr>
              <p:cNvSpPr/>
              <p:nvPr/>
            </p:nvSpPr>
            <p:spPr>
              <a:xfrm>
                <a:off x="8579522" y="5944711"/>
                <a:ext cx="57150" cy="38100"/>
              </a:xfrm>
              <a:custGeom>
                <a:avLst/>
                <a:gdLst>
                  <a:gd name="connsiteX0" fmla="*/ 7144 w 57150"/>
                  <a:gd name="connsiteY0" fmla="*/ 22193 h 38100"/>
                  <a:gd name="connsiteX1" fmla="*/ 33337 w 57150"/>
                  <a:gd name="connsiteY1" fmla="*/ 37338 h 38100"/>
                  <a:gd name="connsiteX2" fmla="*/ 59531 w 57150"/>
                  <a:gd name="connsiteY2" fmla="*/ 22193 h 38100"/>
                  <a:gd name="connsiteX3" fmla="*/ 33337 w 57150"/>
                  <a:gd name="connsiteY3" fmla="*/ 7144 h 38100"/>
                  <a:gd name="connsiteX4" fmla="*/ 7144 w 57150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7144" y="22193"/>
                    </a:moveTo>
                    <a:lnTo>
                      <a:pt x="33337" y="37338"/>
                    </a:lnTo>
                    <a:lnTo>
                      <a:pt x="59531" y="22193"/>
                    </a:lnTo>
                    <a:lnTo>
                      <a:pt x="33337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40" name="Freeform: Shape 5239">
                <a:extLst>
                  <a:ext uri="{FF2B5EF4-FFF2-40B4-BE49-F238E27FC236}">
                    <a16:creationId xmlns:a16="http://schemas.microsoft.com/office/drawing/2014/main" id="{D600A974-6047-458C-90CE-E31727831B36}"/>
                  </a:ext>
                </a:extLst>
              </p:cNvPr>
              <p:cNvSpPr/>
              <p:nvPr/>
            </p:nvSpPr>
            <p:spPr>
              <a:xfrm>
                <a:off x="8541422" y="6080442"/>
                <a:ext cx="57150" cy="38100"/>
              </a:xfrm>
              <a:custGeom>
                <a:avLst/>
                <a:gdLst>
                  <a:gd name="connsiteX0" fmla="*/ 7144 w 57150"/>
                  <a:gd name="connsiteY0" fmla="*/ 22193 h 38100"/>
                  <a:gd name="connsiteX1" fmla="*/ 33338 w 57150"/>
                  <a:gd name="connsiteY1" fmla="*/ 37338 h 38100"/>
                  <a:gd name="connsiteX2" fmla="*/ 59531 w 57150"/>
                  <a:gd name="connsiteY2" fmla="*/ 22193 h 38100"/>
                  <a:gd name="connsiteX3" fmla="*/ 33338 w 57150"/>
                  <a:gd name="connsiteY3" fmla="*/ 7144 h 38100"/>
                  <a:gd name="connsiteX4" fmla="*/ 7144 w 57150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41" name="Freeform: Shape 5240">
                <a:extLst>
                  <a:ext uri="{FF2B5EF4-FFF2-40B4-BE49-F238E27FC236}">
                    <a16:creationId xmlns:a16="http://schemas.microsoft.com/office/drawing/2014/main" id="{8FE9C425-8740-4CBD-A0EC-8C4EDEE6F028}"/>
                  </a:ext>
                </a:extLst>
              </p:cNvPr>
              <p:cNvSpPr/>
              <p:nvPr/>
            </p:nvSpPr>
            <p:spPr>
              <a:xfrm>
                <a:off x="8579522" y="6035199"/>
                <a:ext cx="57150" cy="38100"/>
              </a:xfrm>
              <a:custGeom>
                <a:avLst/>
                <a:gdLst>
                  <a:gd name="connsiteX0" fmla="*/ 33337 w 57150"/>
                  <a:gd name="connsiteY0" fmla="*/ 37338 h 38100"/>
                  <a:gd name="connsiteX1" fmla="*/ 59531 w 57150"/>
                  <a:gd name="connsiteY1" fmla="*/ 22193 h 38100"/>
                  <a:gd name="connsiteX2" fmla="*/ 33337 w 57150"/>
                  <a:gd name="connsiteY2" fmla="*/ 7144 h 38100"/>
                  <a:gd name="connsiteX3" fmla="*/ 7144 w 57150"/>
                  <a:gd name="connsiteY3" fmla="*/ 22193 h 38100"/>
                  <a:gd name="connsiteX4" fmla="*/ 33337 w 57150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33337" y="37338"/>
                    </a:moveTo>
                    <a:lnTo>
                      <a:pt x="59531" y="22193"/>
                    </a:lnTo>
                    <a:lnTo>
                      <a:pt x="33337" y="7144"/>
                    </a:lnTo>
                    <a:lnTo>
                      <a:pt x="7144" y="22193"/>
                    </a:lnTo>
                    <a:lnTo>
                      <a:pt x="33337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42" name="Freeform: Shape 5241">
                <a:extLst>
                  <a:ext uri="{FF2B5EF4-FFF2-40B4-BE49-F238E27FC236}">
                    <a16:creationId xmlns:a16="http://schemas.microsoft.com/office/drawing/2014/main" id="{D51FF05D-C0F8-4C8D-9610-FE8EE47F3BCC}"/>
                  </a:ext>
                </a:extLst>
              </p:cNvPr>
              <p:cNvSpPr/>
              <p:nvPr/>
            </p:nvSpPr>
            <p:spPr>
              <a:xfrm>
                <a:off x="8541422" y="6170930"/>
                <a:ext cx="57150" cy="38100"/>
              </a:xfrm>
              <a:custGeom>
                <a:avLst/>
                <a:gdLst>
                  <a:gd name="connsiteX0" fmla="*/ 7144 w 57150"/>
                  <a:gd name="connsiteY0" fmla="*/ 22193 h 38100"/>
                  <a:gd name="connsiteX1" fmla="*/ 33338 w 57150"/>
                  <a:gd name="connsiteY1" fmla="*/ 37338 h 38100"/>
                  <a:gd name="connsiteX2" fmla="*/ 59531 w 57150"/>
                  <a:gd name="connsiteY2" fmla="*/ 22193 h 38100"/>
                  <a:gd name="connsiteX3" fmla="*/ 33338 w 57150"/>
                  <a:gd name="connsiteY3" fmla="*/ 7144 h 38100"/>
                  <a:gd name="connsiteX4" fmla="*/ 7144 w 57150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43" name="Freeform: Shape 5242">
                <a:extLst>
                  <a:ext uri="{FF2B5EF4-FFF2-40B4-BE49-F238E27FC236}">
                    <a16:creationId xmlns:a16="http://schemas.microsoft.com/office/drawing/2014/main" id="{7AAD4375-69E7-4593-963A-3D242B35ABE0}"/>
                  </a:ext>
                </a:extLst>
              </p:cNvPr>
              <p:cNvSpPr/>
              <p:nvPr/>
            </p:nvSpPr>
            <p:spPr>
              <a:xfrm>
                <a:off x="8579522" y="6125686"/>
                <a:ext cx="57150" cy="38100"/>
              </a:xfrm>
              <a:custGeom>
                <a:avLst/>
                <a:gdLst>
                  <a:gd name="connsiteX0" fmla="*/ 7144 w 57150"/>
                  <a:gd name="connsiteY0" fmla="*/ 22193 h 38100"/>
                  <a:gd name="connsiteX1" fmla="*/ 33337 w 57150"/>
                  <a:gd name="connsiteY1" fmla="*/ 37338 h 38100"/>
                  <a:gd name="connsiteX2" fmla="*/ 59531 w 57150"/>
                  <a:gd name="connsiteY2" fmla="*/ 22193 h 38100"/>
                  <a:gd name="connsiteX3" fmla="*/ 33337 w 57150"/>
                  <a:gd name="connsiteY3" fmla="*/ 7144 h 38100"/>
                  <a:gd name="connsiteX4" fmla="*/ 7144 w 57150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7144" y="22193"/>
                    </a:moveTo>
                    <a:lnTo>
                      <a:pt x="33337" y="37338"/>
                    </a:lnTo>
                    <a:lnTo>
                      <a:pt x="59531" y="22193"/>
                    </a:lnTo>
                    <a:lnTo>
                      <a:pt x="33337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44" name="Freeform: Shape 5243">
                <a:extLst>
                  <a:ext uri="{FF2B5EF4-FFF2-40B4-BE49-F238E27FC236}">
                    <a16:creationId xmlns:a16="http://schemas.microsoft.com/office/drawing/2014/main" id="{94330084-68EB-47AF-AB87-F7E9672EF67D}"/>
                  </a:ext>
                </a:extLst>
              </p:cNvPr>
              <p:cNvSpPr/>
              <p:nvPr/>
            </p:nvSpPr>
            <p:spPr>
              <a:xfrm>
                <a:off x="8589523" y="6216079"/>
                <a:ext cx="28575" cy="19050"/>
              </a:xfrm>
              <a:custGeom>
                <a:avLst/>
                <a:gdLst>
                  <a:gd name="connsiteX0" fmla="*/ 7144 w 28575"/>
                  <a:gd name="connsiteY0" fmla="*/ 16573 h 19050"/>
                  <a:gd name="connsiteX1" fmla="*/ 28004 w 28575"/>
                  <a:gd name="connsiteY1" fmla="*/ 9811 h 19050"/>
                  <a:gd name="connsiteX2" fmla="*/ 23432 w 28575"/>
                  <a:gd name="connsiteY2" fmla="*/ 7144 h 19050"/>
                  <a:gd name="connsiteX3" fmla="*/ 7144 w 28575"/>
                  <a:gd name="connsiteY3" fmla="*/ 16573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19050">
                    <a:moveTo>
                      <a:pt x="7144" y="16573"/>
                    </a:moveTo>
                    <a:cubicBezTo>
                      <a:pt x="14097" y="14478"/>
                      <a:pt x="21050" y="12192"/>
                      <a:pt x="28004" y="9811"/>
                    </a:cubicBezTo>
                    <a:lnTo>
                      <a:pt x="23432" y="7144"/>
                    </a:lnTo>
                    <a:lnTo>
                      <a:pt x="7144" y="1657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45" name="Freeform: Shape 5244">
                <a:extLst>
                  <a:ext uri="{FF2B5EF4-FFF2-40B4-BE49-F238E27FC236}">
                    <a16:creationId xmlns:a16="http://schemas.microsoft.com/office/drawing/2014/main" id="{30C6B395-EFEA-4465-8584-0D5A7CA99775}"/>
                  </a:ext>
                </a:extLst>
              </p:cNvPr>
              <p:cNvSpPr/>
              <p:nvPr/>
            </p:nvSpPr>
            <p:spPr>
              <a:xfrm>
                <a:off x="8477699" y="5718397"/>
                <a:ext cx="47625" cy="38100"/>
              </a:xfrm>
              <a:custGeom>
                <a:avLst/>
                <a:gdLst>
                  <a:gd name="connsiteX0" fmla="*/ 47054 w 47625"/>
                  <a:gd name="connsiteY0" fmla="*/ 22288 h 38100"/>
                  <a:gd name="connsiteX1" fmla="*/ 20860 w 47625"/>
                  <a:gd name="connsiteY1" fmla="*/ 7144 h 38100"/>
                  <a:gd name="connsiteX2" fmla="*/ 9239 w 47625"/>
                  <a:gd name="connsiteY2" fmla="*/ 13811 h 38100"/>
                  <a:gd name="connsiteX3" fmla="*/ 7144 w 47625"/>
                  <a:gd name="connsiteY3" fmla="*/ 29432 h 38100"/>
                  <a:gd name="connsiteX4" fmla="*/ 20860 w 47625"/>
                  <a:gd name="connsiteY4" fmla="*/ 37338 h 38100"/>
                  <a:gd name="connsiteX5" fmla="*/ 47054 w 47625"/>
                  <a:gd name="connsiteY5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38100">
                    <a:moveTo>
                      <a:pt x="47054" y="22288"/>
                    </a:moveTo>
                    <a:lnTo>
                      <a:pt x="20860" y="7144"/>
                    </a:lnTo>
                    <a:lnTo>
                      <a:pt x="9239" y="13811"/>
                    </a:lnTo>
                    <a:cubicBezTo>
                      <a:pt x="8192" y="18955"/>
                      <a:pt x="7429" y="24193"/>
                      <a:pt x="7144" y="29432"/>
                    </a:cubicBezTo>
                    <a:lnTo>
                      <a:pt x="20860" y="37338"/>
                    </a:lnTo>
                    <a:lnTo>
                      <a:pt x="4705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46" name="Freeform: Shape 5245">
                <a:extLst>
                  <a:ext uri="{FF2B5EF4-FFF2-40B4-BE49-F238E27FC236}">
                    <a16:creationId xmlns:a16="http://schemas.microsoft.com/office/drawing/2014/main" id="{FFBA2622-D155-4986-B039-C15C173D39E5}"/>
                  </a:ext>
                </a:extLst>
              </p:cNvPr>
              <p:cNvSpPr/>
              <p:nvPr/>
            </p:nvSpPr>
            <p:spPr>
              <a:xfrm>
                <a:off x="8503322" y="5673249"/>
                <a:ext cx="66675" cy="38100"/>
              </a:xfrm>
              <a:custGeom>
                <a:avLst/>
                <a:gdLst>
                  <a:gd name="connsiteX0" fmla="*/ 59531 w 66675"/>
                  <a:gd name="connsiteY0" fmla="*/ 22193 h 38100"/>
                  <a:gd name="connsiteX1" fmla="*/ 33338 w 66675"/>
                  <a:gd name="connsiteY1" fmla="*/ 7144 h 38100"/>
                  <a:gd name="connsiteX2" fmla="*/ 7144 w 66675"/>
                  <a:gd name="connsiteY2" fmla="*/ 22193 h 38100"/>
                  <a:gd name="connsiteX3" fmla="*/ 33338 w 66675"/>
                  <a:gd name="connsiteY3" fmla="*/ 37338 h 38100"/>
                  <a:gd name="connsiteX4" fmla="*/ 59531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59531" y="22193"/>
                    </a:move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lnTo>
                      <a:pt x="59531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47" name="Freeform: Shape 5246">
                <a:extLst>
                  <a:ext uri="{FF2B5EF4-FFF2-40B4-BE49-F238E27FC236}">
                    <a16:creationId xmlns:a16="http://schemas.microsoft.com/office/drawing/2014/main" id="{9C49E1C8-985F-474B-9605-D1627893B922}"/>
                  </a:ext>
                </a:extLst>
              </p:cNvPr>
              <p:cNvSpPr/>
              <p:nvPr/>
            </p:nvSpPr>
            <p:spPr>
              <a:xfrm>
                <a:off x="8503512" y="5815838"/>
                <a:ext cx="19050" cy="19050"/>
              </a:xfrm>
              <a:custGeom>
                <a:avLst/>
                <a:gdLst>
                  <a:gd name="connsiteX0" fmla="*/ 17526 w 19050"/>
                  <a:gd name="connsiteY0" fmla="*/ 17526 h 19050"/>
                  <a:gd name="connsiteX1" fmla="*/ 21336 w 19050"/>
                  <a:gd name="connsiteY1" fmla="*/ 15335 h 19050"/>
                  <a:gd name="connsiteX2" fmla="*/ 7144 w 19050"/>
                  <a:gd name="connsiteY2" fmla="*/ 7144 h 19050"/>
                  <a:gd name="connsiteX3" fmla="*/ 17526 w 19050"/>
                  <a:gd name="connsiteY3" fmla="*/ 17526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9050">
                    <a:moveTo>
                      <a:pt x="17526" y="17526"/>
                    </a:moveTo>
                    <a:lnTo>
                      <a:pt x="21336" y="15335"/>
                    </a:lnTo>
                    <a:lnTo>
                      <a:pt x="7144" y="7144"/>
                    </a:lnTo>
                    <a:cubicBezTo>
                      <a:pt x="10287" y="10763"/>
                      <a:pt x="13811" y="14192"/>
                      <a:pt x="17526" y="17526"/>
                    </a:cubicBez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48" name="Freeform: Shape 5247">
                <a:extLst>
                  <a:ext uri="{FF2B5EF4-FFF2-40B4-BE49-F238E27FC236}">
                    <a16:creationId xmlns:a16="http://schemas.microsoft.com/office/drawing/2014/main" id="{F98A534A-8332-42AA-B6BC-9EB7CD54D845}"/>
                  </a:ext>
                </a:extLst>
              </p:cNvPr>
              <p:cNvSpPr/>
              <p:nvPr/>
            </p:nvSpPr>
            <p:spPr>
              <a:xfrm>
                <a:off x="8503322" y="5763736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49" name="Freeform: Shape 5248">
                <a:extLst>
                  <a:ext uri="{FF2B5EF4-FFF2-40B4-BE49-F238E27FC236}">
                    <a16:creationId xmlns:a16="http://schemas.microsoft.com/office/drawing/2014/main" id="{7744C61E-3B33-41D7-B439-50A9FE64092E}"/>
                  </a:ext>
                </a:extLst>
              </p:cNvPr>
              <p:cNvSpPr/>
              <p:nvPr/>
            </p:nvSpPr>
            <p:spPr>
              <a:xfrm>
                <a:off x="8466460" y="5903087"/>
                <a:ext cx="57150" cy="38100"/>
              </a:xfrm>
              <a:custGeom>
                <a:avLst/>
                <a:gdLst>
                  <a:gd name="connsiteX0" fmla="*/ 58293 w 57150"/>
                  <a:gd name="connsiteY0" fmla="*/ 18574 h 38100"/>
                  <a:gd name="connsiteX1" fmla="*/ 38386 w 57150"/>
                  <a:gd name="connsiteY1" fmla="*/ 7144 h 38100"/>
                  <a:gd name="connsiteX2" fmla="*/ 7144 w 57150"/>
                  <a:gd name="connsiteY2" fmla="*/ 19336 h 38100"/>
                  <a:gd name="connsiteX3" fmla="*/ 32004 w 57150"/>
                  <a:gd name="connsiteY3" fmla="*/ 33718 h 38100"/>
                  <a:gd name="connsiteX4" fmla="*/ 58198 w 57150"/>
                  <a:gd name="connsiteY4" fmla="*/ 1857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58293" y="18574"/>
                    </a:moveTo>
                    <a:lnTo>
                      <a:pt x="38386" y="7144"/>
                    </a:lnTo>
                    <a:cubicBezTo>
                      <a:pt x="28385" y="11811"/>
                      <a:pt x="17812" y="15812"/>
                      <a:pt x="7144" y="19336"/>
                    </a:cubicBezTo>
                    <a:lnTo>
                      <a:pt x="32004" y="33718"/>
                    </a:lnTo>
                    <a:lnTo>
                      <a:pt x="58198" y="18574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50" name="Freeform: Shape 5249">
                <a:extLst>
                  <a:ext uri="{FF2B5EF4-FFF2-40B4-BE49-F238E27FC236}">
                    <a16:creationId xmlns:a16="http://schemas.microsoft.com/office/drawing/2014/main" id="{DA28868C-D52D-4FD5-986C-C3FDF53CA3FC}"/>
                  </a:ext>
                </a:extLst>
              </p:cNvPr>
              <p:cNvSpPr/>
              <p:nvPr/>
            </p:nvSpPr>
            <p:spPr>
              <a:xfrm>
                <a:off x="8529135" y="5864606"/>
                <a:ext cx="38100" cy="28575"/>
              </a:xfrm>
              <a:custGeom>
                <a:avLst/>
                <a:gdLst>
                  <a:gd name="connsiteX0" fmla="*/ 7144 w 38100"/>
                  <a:gd name="connsiteY0" fmla="*/ 26765 h 28575"/>
                  <a:gd name="connsiteX1" fmla="*/ 7620 w 38100"/>
                  <a:gd name="connsiteY1" fmla="*/ 27051 h 28575"/>
                  <a:gd name="connsiteX2" fmla="*/ 33814 w 38100"/>
                  <a:gd name="connsiteY2" fmla="*/ 11906 h 28575"/>
                  <a:gd name="connsiteX3" fmla="*/ 25622 w 38100"/>
                  <a:gd name="connsiteY3" fmla="*/ 7144 h 28575"/>
                  <a:gd name="connsiteX4" fmla="*/ 7144 w 38100"/>
                  <a:gd name="connsiteY4" fmla="*/ 2676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7144" y="26765"/>
                    </a:moveTo>
                    <a:lnTo>
                      <a:pt x="7620" y="27051"/>
                    </a:lnTo>
                    <a:lnTo>
                      <a:pt x="33814" y="11906"/>
                    </a:lnTo>
                    <a:lnTo>
                      <a:pt x="25622" y="7144"/>
                    </a:lnTo>
                    <a:cubicBezTo>
                      <a:pt x="20574" y="14573"/>
                      <a:pt x="14288" y="21050"/>
                      <a:pt x="7144" y="26765"/>
                    </a:cubicBez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51" name="Freeform: Shape 5250">
                <a:extLst>
                  <a:ext uri="{FF2B5EF4-FFF2-40B4-BE49-F238E27FC236}">
                    <a16:creationId xmlns:a16="http://schemas.microsoft.com/office/drawing/2014/main" id="{2895A67B-A53D-4553-871F-056712A56A24}"/>
                  </a:ext>
                </a:extLst>
              </p:cNvPr>
              <p:cNvSpPr/>
              <p:nvPr/>
            </p:nvSpPr>
            <p:spPr>
              <a:xfrm>
                <a:off x="8465222" y="5989955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52" name="Freeform: Shape 5251">
                <a:extLst>
                  <a:ext uri="{FF2B5EF4-FFF2-40B4-BE49-F238E27FC236}">
                    <a16:creationId xmlns:a16="http://schemas.microsoft.com/office/drawing/2014/main" id="{AABC1FDD-EB9C-47FF-855B-B31C0B698D51}"/>
                  </a:ext>
                </a:extLst>
              </p:cNvPr>
              <p:cNvSpPr/>
              <p:nvPr/>
            </p:nvSpPr>
            <p:spPr>
              <a:xfrm>
                <a:off x="8503322" y="5944711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53" name="Freeform: Shape 5252">
                <a:extLst>
                  <a:ext uri="{FF2B5EF4-FFF2-40B4-BE49-F238E27FC236}">
                    <a16:creationId xmlns:a16="http://schemas.microsoft.com/office/drawing/2014/main" id="{95E1C817-25CD-40BD-BA88-FA9218D9E96F}"/>
                  </a:ext>
                </a:extLst>
              </p:cNvPr>
              <p:cNvSpPr/>
              <p:nvPr/>
            </p:nvSpPr>
            <p:spPr>
              <a:xfrm>
                <a:off x="8465222" y="6080442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54" name="Freeform: Shape 5253">
                <a:extLst>
                  <a:ext uri="{FF2B5EF4-FFF2-40B4-BE49-F238E27FC236}">
                    <a16:creationId xmlns:a16="http://schemas.microsoft.com/office/drawing/2014/main" id="{1192485E-04EC-4EBF-8681-141BB1510954}"/>
                  </a:ext>
                </a:extLst>
              </p:cNvPr>
              <p:cNvSpPr/>
              <p:nvPr/>
            </p:nvSpPr>
            <p:spPr>
              <a:xfrm>
                <a:off x="8503322" y="6035199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55" name="Freeform: Shape 5254">
                <a:extLst>
                  <a:ext uri="{FF2B5EF4-FFF2-40B4-BE49-F238E27FC236}">
                    <a16:creationId xmlns:a16="http://schemas.microsoft.com/office/drawing/2014/main" id="{BC9EF551-78E1-4D2F-AAFE-9FE8BE11D7F4}"/>
                  </a:ext>
                </a:extLst>
              </p:cNvPr>
              <p:cNvSpPr/>
              <p:nvPr/>
            </p:nvSpPr>
            <p:spPr>
              <a:xfrm>
                <a:off x="8465222" y="6170930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56" name="Freeform: Shape 5255">
                <a:extLst>
                  <a:ext uri="{FF2B5EF4-FFF2-40B4-BE49-F238E27FC236}">
                    <a16:creationId xmlns:a16="http://schemas.microsoft.com/office/drawing/2014/main" id="{2443BD59-75E1-44EF-AAB2-9EDBD884AB98}"/>
                  </a:ext>
                </a:extLst>
              </p:cNvPr>
              <p:cNvSpPr/>
              <p:nvPr/>
            </p:nvSpPr>
            <p:spPr>
              <a:xfrm>
                <a:off x="8503322" y="6125686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57" name="Freeform: Shape 5256">
                <a:extLst>
                  <a:ext uri="{FF2B5EF4-FFF2-40B4-BE49-F238E27FC236}">
                    <a16:creationId xmlns:a16="http://schemas.microsoft.com/office/drawing/2014/main" id="{497E5135-0CFE-483D-A0C8-DFB3CC6374CA}"/>
                  </a:ext>
                </a:extLst>
              </p:cNvPr>
              <p:cNvSpPr/>
              <p:nvPr/>
            </p:nvSpPr>
            <p:spPr>
              <a:xfrm>
                <a:off x="8503226" y="6216079"/>
                <a:ext cx="66675" cy="38100"/>
              </a:xfrm>
              <a:custGeom>
                <a:avLst/>
                <a:gdLst>
                  <a:gd name="connsiteX0" fmla="*/ 7239 w 66675"/>
                  <a:gd name="connsiteY0" fmla="*/ 22288 h 38100"/>
                  <a:gd name="connsiteX1" fmla="*/ 27527 w 66675"/>
                  <a:gd name="connsiteY1" fmla="*/ 34004 h 38100"/>
                  <a:gd name="connsiteX2" fmla="*/ 39815 w 66675"/>
                  <a:gd name="connsiteY2" fmla="*/ 31242 h 38100"/>
                  <a:gd name="connsiteX3" fmla="*/ 47244 w 66675"/>
                  <a:gd name="connsiteY3" fmla="*/ 29432 h 38100"/>
                  <a:gd name="connsiteX4" fmla="*/ 59531 w 66675"/>
                  <a:gd name="connsiteY4" fmla="*/ 22288 h 38100"/>
                  <a:gd name="connsiteX5" fmla="*/ 33338 w 66675"/>
                  <a:gd name="connsiteY5" fmla="*/ 7144 h 38100"/>
                  <a:gd name="connsiteX6" fmla="*/ 7144 w 66675"/>
                  <a:gd name="connsiteY6" fmla="*/ 22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675" h="38100">
                    <a:moveTo>
                      <a:pt x="7239" y="22288"/>
                    </a:moveTo>
                    <a:lnTo>
                      <a:pt x="27527" y="34004"/>
                    </a:lnTo>
                    <a:cubicBezTo>
                      <a:pt x="31623" y="33052"/>
                      <a:pt x="35719" y="32195"/>
                      <a:pt x="39815" y="31242"/>
                    </a:cubicBezTo>
                    <a:cubicBezTo>
                      <a:pt x="42291" y="30671"/>
                      <a:pt x="44768" y="30004"/>
                      <a:pt x="47244" y="29432"/>
                    </a:cubicBezTo>
                    <a:lnTo>
                      <a:pt x="59531" y="22288"/>
                    </a:lnTo>
                    <a:lnTo>
                      <a:pt x="33338" y="7144"/>
                    </a:lnTo>
                    <a:lnTo>
                      <a:pt x="7144" y="2228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58" name="Freeform: Shape 5257">
                <a:extLst>
                  <a:ext uri="{FF2B5EF4-FFF2-40B4-BE49-F238E27FC236}">
                    <a16:creationId xmlns:a16="http://schemas.microsoft.com/office/drawing/2014/main" id="{8C3879B1-0EDC-43EC-A7F1-C63CD579B199}"/>
                  </a:ext>
                </a:extLst>
              </p:cNvPr>
              <p:cNvSpPr/>
              <p:nvPr/>
            </p:nvSpPr>
            <p:spPr>
              <a:xfrm>
                <a:off x="8402738" y="5916517"/>
                <a:ext cx="47625" cy="19050"/>
              </a:xfrm>
              <a:custGeom>
                <a:avLst/>
                <a:gdLst>
                  <a:gd name="connsiteX0" fmla="*/ 42196 w 47625"/>
                  <a:gd name="connsiteY0" fmla="*/ 7239 h 19050"/>
                  <a:gd name="connsiteX1" fmla="*/ 7144 w 47625"/>
                  <a:gd name="connsiteY1" fmla="*/ 13049 h 19050"/>
                  <a:gd name="connsiteX2" fmla="*/ 19621 w 47625"/>
                  <a:gd name="connsiteY2" fmla="*/ 20193 h 19050"/>
                  <a:gd name="connsiteX3" fmla="*/ 42196 w 47625"/>
                  <a:gd name="connsiteY3" fmla="*/ 714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19050">
                    <a:moveTo>
                      <a:pt x="42196" y="7239"/>
                    </a:moveTo>
                    <a:cubicBezTo>
                      <a:pt x="30290" y="6763"/>
                      <a:pt x="18478" y="8572"/>
                      <a:pt x="7144" y="13049"/>
                    </a:cubicBezTo>
                    <a:lnTo>
                      <a:pt x="19621" y="20193"/>
                    </a:lnTo>
                    <a:lnTo>
                      <a:pt x="42196" y="7144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59" name="Freeform: Shape 5258">
                <a:extLst>
                  <a:ext uri="{FF2B5EF4-FFF2-40B4-BE49-F238E27FC236}">
                    <a16:creationId xmlns:a16="http://schemas.microsoft.com/office/drawing/2014/main" id="{3ED31A0A-C5F5-4E36-A753-F7AE9AF28C4C}"/>
                  </a:ext>
                </a:extLst>
              </p:cNvPr>
              <p:cNvSpPr/>
              <p:nvPr/>
            </p:nvSpPr>
            <p:spPr>
              <a:xfrm>
                <a:off x="8389022" y="5989955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60" name="Freeform: Shape 5259">
                <a:extLst>
                  <a:ext uri="{FF2B5EF4-FFF2-40B4-BE49-F238E27FC236}">
                    <a16:creationId xmlns:a16="http://schemas.microsoft.com/office/drawing/2014/main" id="{4EB0485B-6FC2-4A3B-A084-EE0AAB535272}"/>
                  </a:ext>
                </a:extLst>
              </p:cNvPr>
              <p:cNvSpPr/>
              <p:nvPr/>
            </p:nvSpPr>
            <p:spPr>
              <a:xfrm>
                <a:off x="8427122" y="5944711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61" name="Freeform: Shape 5260">
                <a:extLst>
                  <a:ext uri="{FF2B5EF4-FFF2-40B4-BE49-F238E27FC236}">
                    <a16:creationId xmlns:a16="http://schemas.microsoft.com/office/drawing/2014/main" id="{ACD4298C-919C-49F3-AE6C-37FECA2B3177}"/>
                  </a:ext>
                </a:extLst>
              </p:cNvPr>
              <p:cNvSpPr/>
              <p:nvPr/>
            </p:nvSpPr>
            <p:spPr>
              <a:xfrm>
                <a:off x="8389022" y="6080442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62" name="Freeform: Shape 5261">
                <a:extLst>
                  <a:ext uri="{FF2B5EF4-FFF2-40B4-BE49-F238E27FC236}">
                    <a16:creationId xmlns:a16="http://schemas.microsoft.com/office/drawing/2014/main" id="{6A844DE4-0CF3-4481-B3C7-67CBC47BA4DA}"/>
                  </a:ext>
                </a:extLst>
              </p:cNvPr>
              <p:cNvSpPr/>
              <p:nvPr/>
            </p:nvSpPr>
            <p:spPr>
              <a:xfrm>
                <a:off x="8427122" y="6035199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63" name="Freeform: Shape 5262">
                <a:extLst>
                  <a:ext uri="{FF2B5EF4-FFF2-40B4-BE49-F238E27FC236}">
                    <a16:creationId xmlns:a16="http://schemas.microsoft.com/office/drawing/2014/main" id="{029BA592-3AEC-4A86-85B1-7856C0E254D5}"/>
                  </a:ext>
                </a:extLst>
              </p:cNvPr>
              <p:cNvSpPr/>
              <p:nvPr/>
            </p:nvSpPr>
            <p:spPr>
              <a:xfrm>
                <a:off x="8389022" y="6170930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64" name="Freeform: Shape 5263">
                <a:extLst>
                  <a:ext uri="{FF2B5EF4-FFF2-40B4-BE49-F238E27FC236}">
                    <a16:creationId xmlns:a16="http://schemas.microsoft.com/office/drawing/2014/main" id="{2218FF62-85F5-4ABE-8CAF-2462CB7467E5}"/>
                  </a:ext>
                </a:extLst>
              </p:cNvPr>
              <p:cNvSpPr/>
              <p:nvPr/>
            </p:nvSpPr>
            <p:spPr>
              <a:xfrm>
                <a:off x="8427122" y="6125686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65" name="Freeform: Shape 5264">
                <a:extLst>
                  <a:ext uri="{FF2B5EF4-FFF2-40B4-BE49-F238E27FC236}">
                    <a16:creationId xmlns:a16="http://schemas.microsoft.com/office/drawing/2014/main" id="{2C267884-F891-4728-9EE4-998B8BD09A53}"/>
                  </a:ext>
                </a:extLst>
              </p:cNvPr>
              <p:cNvSpPr/>
              <p:nvPr/>
            </p:nvSpPr>
            <p:spPr>
              <a:xfrm>
                <a:off x="8427122" y="6216174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66" name="Freeform: Shape 5265">
                <a:extLst>
                  <a:ext uri="{FF2B5EF4-FFF2-40B4-BE49-F238E27FC236}">
                    <a16:creationId xmlns:a16="http://schemas.microsoft.com/office/drawing/2014/main" id="{69921505-2249-4EC5-B575-274091381E60}"/>
                  </a:ext>
                </a:extLst>
              </p:cNvPr>
              <p:cNvSpPr/>
              <p:nvPr/>
            </p:nvSpPr>
            <p:spPr>
              <a:xfrm>
                <a:off x="8331110" y="5989860"/>
                <a:ext cx="47625" cy="38100"/>
              </a:xfrm>
              <a:custGeom>
                <a:avLst/>
                <a:gdLst>
                  <a:gd name="connsiteX0" fmla="*/ 41243 w 47625"/>
                  <a:gd name="connsiteY0" fmla="*/ 22288 h 38100"/>
                  <a:gd name="connsiteX1" fmla="*/ 15050 w 47625"/>
                  <a:gd name="connsiteY1" fmla="*/ 7144 h 38100"/>
                  <a:gd name="connsiteX2" fmla="*/ 13716 w 47625"/>
                  <a:gd name="connsiteY2" fmla="*/ 7906 h 38100"/>
                  <a:gd name="connsiteX3" fmla="*/ 7144 w 47625"/>
                  <a:gd name="connsiteY3" fmla="*/ 32766 h 38100"/>
                  <a:gd name="connsiteX4" fmla="*/ 15050 w 47625"/>
                  <a:gd name="connsiteY4" fmla="*/ 37338 h 38100"/>
                  <a:gd name="connsiteX5" fmla="*/ 41243 w 47625"/>
                  <a:gd name="connsiteY5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7625" h="38100">
                    <a:moveTo>
                      <a:pt x="41243" y="22288"/>
                    </a:moveTo>
                    <a:lnTo>
                      <a:pt x="15050" y="7144"/>
                    </a:lnTo>
                    <a:lnTo>
                      <a:pt x="13716" y="7906"/>
                    </a:lnTo>
                    <a:cubicBezTo>
                      <a:pt x="10477" y="15907"/>
                      <a:pt x="8192" y="24289"/>
                      <a:pt x="7144" y="32766"/>
                    </a:cubicBezTo>
                    <a:lnTo>
                      <a:pt x="15050" y="37338"/>
                    </a:lnTo>
                    <a:lnTo>
                      <a:pt x="41243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67" name="Freeform: Shape 5266">
                <a:extLst>
                  <a:ext uri="{FF2B5EF4-FFF2-40B4-BE49-F238E27FC236}">
                    <a16:creationId xmlns:a16="http://schemas.microsoft.com/office/drawing/2014/main" id="{44CE8B94-FE4F-43FB-972B-EF701BFA6208}"/>
                  </a:ext>
                </a:extLst>
              </p:cNvPr>
              <p:cNvSpPr/>
              <p:nvPr/>
            </p:nvSpPr>
            <p:spPr>
              <a:xfrm>
                <a:off x="8354446" y="5944616"/>
                <a:ext cx="57150" cy="38100"/>
              </a:xfrm>
              <a:custGeom>
                <a:avLst/>
                <a:gdLst>
                  <a:gd name="connsiteX0" fmla="*/ 56007 w 57150"/>
                  <a:gd name="connsiteY0" fmla="*/ 22288 h 38100"/>
                  <a:gd name="connsiteX1" fmla="*/ 29813 w 57150"/>
                  <a:gd name="connsiteY1" fmla="*/ 7144 h 38100"/>
                  <a:gd name="connsiteX2" fmla="*/ 13811 w 57150"/>
                  <a:gd name="connsiteY2" fmla="*/ 16383 h 38100"/>
                  <a:gd name="connsiteX3" fmla="*/ 7144 w 57150"/>
                  <a:gd name="connsiteY3" fmla="*/ 24289 h 38100"/>
                  <a:gd name="connsiteX4" fmla="*/ 29813 w 57150"/>
                  <a:gd name="connsiteY4" fmla="*/ 37338 h 38100"/>
                  <a:gd name="connsiteX5" fmla="*/ 56007 w 57150"/>
                  <a:gd name="connsiteY5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38100">
                    <a:moveTo>
                      <a:pt x="56007" y="22288"/>
                    </a:moveTo>
                    <a:lnTo>
                      <a:pt x="29813" y="7144"/>
                    </a:lnTo>
                    <a:lnTo>
                      <a:pt x="13811" y="16383"/>
                    </a:lnTo>
                    <a:cubicBezTo>
                      <a:pt x="11525" y="18955"/>
                      <a:pt x="9239" y="21622"/>
                      <a:pt x="7144" y="24289"/>
                    </a:cubicBezTo>
                    <a:lnTo>
                      <a:pt x="29813" y="37338"/>
                    </a:lnTo>
                    <a:lnTo>
                      <a:pt x="56007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68" name="Freeform: Shape 5267">
                <a:extLst>
                  <a:ext uri="{FF2B5EF4-FFF2-40B4-BE49-F238E27FC236}">
                    <a16:creationId xmlns:a16="http://schemas.microsoft.com/office/drawing/2014/main" id="{BE4713C8-D3FE-43EA-9CEC-237B2F0C52A9}"/>
                  </a:ext>
                </a:extLst>
              </p:cNvPr>
              <p:cNvSpPr/>
              <p:nvPr/>
            </p:nvSpPr>
            <p:spPr>
              <a:xfrm>
                <a:off x="8312822" y="6080442"/>
                <a:ext cx="66675" cy="38100"/>
              </a:xfrm>
              <a:custGeom>
                <a:avLst/>
                <a:gdLst>
                  <a:gd name="connsiteX0" fmla="*/ 59531 w 66675"/>
                  <a:gd name="connsiteY0" fmla="*/ 22193 h 38100"/>
                  <a:gd name="connsiteX1" fmla="*/ 33338 w 66675"/>
                  <a:gd name="connsiteY1" fmla="*/ 7144 h 38100"/>
                  <a:gd name="connsiteX2" fmla="*/ 7144 w 66675"/>
                  <a:gd name="connsiteY2" fmla="*/ 22193 h 38100"/>
                  <a:gd name="connsiteX3" fmla="*/ 33338 w 66675"/>
                  <a:gd name="connsiteY3" fmla="*/ 37338 h 38100"/>
                  <a:gd name="connsiteX4" fmla="*/ 59531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59531" y="22193"/>
                    </a:move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lnTo>
                      <a:pt x="59531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69" name="Freeform: Shape 5268">
                <a:extLst>
                  <a:ext uri="{FF2B5EF4-FFF2-40B4-BE49-F238E27FC236}">
                    <a16:creationId xmlns:a16="http://schemas.microsoft.com/office/drawing/2014/main" id="{D5D1C6E2-C8FA-4292-831B-6A0034127C3D}"/>
                  </a:ext>
                </a:extLst>
              </p:cNvPr>
              <p:cNvSpPr/>
              <p:nvPr/>
            </p:nvSpPr>
            <p:spPr>
              <a:xfrm>
                <a:off x="8350922" y="6035199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70" name="Freeform: Shape 5269">
                <a:extLst>
                  <a:ext uri="{FF2B5EF4-FFF2-40B4-BE49-F238E27FC236}">
                    <a16:creationId xmlns:a16="http://schemas.microsoft.com/office/drawing/2014/main" id="{7808D067-5C49-4245-BB55-2B713362309E}"/>
                  </a:ext>
                </a:extLst>
              </p:cNvPr>
              <p:cNvSpPr/>
              <p:nvPr/>
            </p:nvSpPr>
            <p:spPr>
              <a:xfrm>
                <a:off x="8312822" y="6170930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71" name="Freeform: Shape 5270">
                <a:extLst>
                  <a:ext uri="{FF2B5EF4-FFF2-40B4-BE49-F238E27FC236}">
                    <a16:creationId xmlns:a16="http://schemas.microsoft.com/office/drawing/2014/main" id="{FB9EA03D-C065-4880-BC69-3794C972B198}"/>
                  </a:ext>
                </a:extLst>
              </p:cNvPr>
              <p:cNvSpPr/>
              <p:nvPr/>
            </p:nvSpPr>
            <p:spPr>
              <a:xfrm>
                <a:off x="8350922" y="6125686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72" name="Freeform: Shape 5271">
                <a:extLst>
                  <a:ext uri="{FF2B5EF4-FFF2-40B4-BE49-F238E27FC236}">
                    <a16:creationId xmlns:a16="http://schemas.microsoft.com/office/drawing/2014/main" id="{AEF29E2D-086F-4BE4-849F-5602ACCC329B}"/>
                  </a:ext>
                </a:extLst>
              </p:cNvPr>
              <p:cNvSpPr/>
              <p:nvPr/>
            </p:nvSpPr>
            <p:spPr>
              <a:xfrm>
                <a:off x="8334920" y="6261417"/>
                <a:ext cx="19050" cy="9525"/>
              </a:xfrm>
              <a:custGeom>
                <a:avLst/>
                <a:gdLst>
                  <a:gd name="connsiteX0" fmla="*/ 11240 w 19050"/>
                  <a:gd name="connsiteY0" fmla="*/ 7144 h 9525"/>
                  <a:gd name="connsiteX1" fmla="*/ 7144 w 19050"/>
                  <a:gd name="connsiteY1" fmla="*/ 9525 h 9525"/>
                  <a:gd name="connsiteX2" fmla="*/ 15145 w 19050"/>
                  <a:gd name="connsiteY2" fmla="*/ 9525 h 9525"/>
                  <a:gd name="connsiteX3" fmla="*/ 11144 w 19050"/>
                  <a:gd name="connsiteY3" fmla="*/ 7239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9525">
                    <a:moveTo>
                      <a:pt x="11240" y="7144"/>
                    </a:moveTo>
                    <a:lnTo>
                      <a:pt x="7144" y="9525"/>
                    </a:lnTo>
                    <a:cubicBezTo>
                      <a:pt x="9811" y="9525"/>
                      <a:pt x="12478" y="9525"/>
                      <a:pt x="15145" y="9525"/>
                    </a:cubicBezTo>
                    <a:lnTo>
                      <a:pt x="11144" y="7239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73" name="Freeform: Shape 5272">
                <a:extLst>
                  <a:ext uri="{FF2B5EF4-FFF2-40B4-BE49-F238E27FC236}">
                    <a16:creationId xmlns:a16="http://schemas.microsoft.com/office/drawing/2014/main" id="{85E773A0-E495-4DBA-B54D-06FEB5AF89A3}"/>
                  </a:ext>
                </a:extLst>
              </p:cNvPr>
              <p:cNvSpPr/>
              <p:nvPr/>
            </p:nvSpPr>
            <p:spPr>
              <a:xfrm>
                <a:off x="8350922" y="6216174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74" name="Freeform: Shape 5273">
                <a:extLst>
                  <a:ext uri="{FF2B5EF4-FFF2-40B4-BE49-F238E27FC236}">
                    <a16:creationId xmlns:a16="http://schemas.microsoft.com/office/drawing/2014/main" id="{2FC2D4C4-A1B7-4CDB-A132-73E658D6C616}"/>
                  </a:ext>
                </a:extLst>
              </p:cNvPr>
              <p:cNvSpPr/>
              <p:nvPr/>
            </p:nvSpPr>
            <p:spPr>
              <a:xfrm>
                <a:off x="8236622" y="6080442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75" name="Freeform: Shape 5274">
                <a:extLst>
                  <a:ext uri="{FF2B5EF4-FFF2-40B4-BE49-F238E27FC236}">
                    <a16:creationId xmlns:a16="http://schemas.microsoft.com/office/drawing/2014/main" id="{DB7A08D5-1BD5-4987-BA70-A514083C6C42}"/>
                  </a:ext>
                </a:extLst>
              </p:cNvPr>
              <p:cNvSpPr/>
              <p:nvPr/>
            </p:nvSpPr>
            <p:spPr>
              <a:xfrm>
                <a:off x="8294629" y="6061774"/>
                <a:ext cx="19050" cy="9525"/>
              </a:xfrm>
              <a:custGeom>
                <a:avLst/>
                <a:gdLst>
                  <a:gd name="connsiteX0" fmla="*/ 18669 w 19050"/>
                  <a:gd name="connsiteY0" fmla="*/ 7715 h 9525"/>
                  <a:gd name="connsiteX1" fmla="*/ 7144 w 19050"/>
                  <a:gd name="connsiteY1" fmla="*/ 7144 h 9525"/>
                  <a:gd name="connsiteX2" fmla="*/ 13430 w 19050"/>
                  <a:gd name="connsiteY2" fmla="*/ 10763 h 9525"/>
                  <a:gd name="connsiteX3" fmla="*/ 18669 w 19050"/>
                  <a:gd name="connsiteY3" fmla="*/ 7715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9525">
                    <a:moveTo>
                      <a:pt x="18669" y="7715"/>
                    </a:moveTo>
                    <a:cubicBezTo>
                      <a:pt x="14859" y="7620"/>
                      <a:pt x="10954" y="7334"/>
                      <a:pt x="7144" y="7144"/>
                    </a:cubicBezTo>
                    <a:lnTo>
                      <a:pt x="13430" y="10763"/>
                    </a:lnTo>
                    <a:lnTo>
                      <a:pt x="18669" y="7715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76" name="Freeform: Shape 5275">
                <a:extLst>
                  <a:ext uri="{FF2B5EF4-FFF2-40B4-BE49-F238E27FC236}">
                    <a16:creationId xmlns:a16="http://schemas.microsoft.com/office/drawing/2014/main" id="{988CE3BD-F578-4F90-8E5B-7B189161703C}"/>
                  </a:ext>
                </a:extLst>
              </p:cNvPr>
              <p:cNvSpPr/>
              <p:nvPr/>
            </p:nvSpPr>
            <p:spPr>
              <a:xfrm>
                <a:off x="8236622" y="6170930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77" name="Freeform: Shape 5276">
                <a:extLst>
                  <a:ext uri="{FF2B5EF4-FFF2-40B4-BE49-F238E27FC236}">
                    <a16:creationId xmlns:a16="http://schemas.microsoft.com/office/drawing/2014/main" id="{D1E0FA9E-E8ED-400C-BE4E-901E3632398D}"/>
                  </a:ext>
                </a:extLst>
              </p:cNvPr>
              <p:cNvSpPr/>
              <p:nvPr/>
            </p:nvSpPr>
            <p:spPr>
              <a:xfrm>
                <a:off x="8274722" y="6125686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78" name="Freeform: Shape 5277">
                <a:extLst>
                  <a:ext uri="{FF2B5EF4-FFF2-40B4-BE49-F238E27FC236}">
                    <a16:creationId xmlns:a16="http://schemas.microsoft.com/office/drawing/2014/main" id="{88747632-2095-41F4-A557-E5D90FCA9E9B}"/>
                  </a:ext>
                </a:extLst>
              </p:cNvPr>
              <p:cNvSpPr/>
              <p:nvPr/>
            </p:nvSpPr>
            <p:spPr>
              <a:xfrm>
                <a:off x="8274722" y="6216174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79" name="Freeform: Shape 5278">
                <a:extLst>
                  <a:ext uri="{FF2B5EF4-FFF2-40B4-BE49-F238E27FC236}">
                    <a16:creationId xmlns:a16="http://schemas.microsoft.com/office/drawing/2014/main" id="{E3F989CE-6805-4918-A9F1-42DA7355C9F3}"/>
                  </a:ext>
                </a:extLst>
              </p:cNvPr>
              <p:cNvSpPr/>
              <p:nvPr/>
            </p:nvSpPr>
            <p:spPr>
              <a:xfrm>
                <a:off x="8160422" y="6080442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80" name="Freeform: Shape 5279">
                <a:extLst>
                  <a:ext uri="{FF2B5EF4-FFF2-40B4-BE49-F238E27FC236}">
                    <a16:creationId xmlns:a16="http://schemas.microsoft.com/office/drawing/2014/main" id="{8F8CBE8A-D110-4AAD-8952-EBE6DFBB0F80}"/>
                  </a:ext>
                </a:extLst>
              </p:cNvPr>
              <p:cNvSpPr/>
              <p:nvPr/>
            </p:nvSpPr>
            <p:spPr>
              <a:xfrm>
                <a:off x="8198617" y="6050248"/>
                <a:ext cx="47625" cy="28575"/>
              </a:xfrm>
              <a:custGeom>
                <a:avLst/>
                <a:gdLst>
                  <a:gd name="connsiteX0" fmla="*/ 48006 w 47625"/>
                  <a:gd name="connsiteY0" fmla="*/ 13811 h 28575"/>
                  <a:gd name="connsiteX1" fmla="*/ 7144 w 47625"/>
                  <a:gd name="connsiteY1" fmla="*/ 7144 h 28575"/>
                  <a:gd name="connsiteX2" fmla="*/ 33242 w 47625"/>
                  <a:gd name="connsiteY2" fmla="*/ 22288 h 28575"/>
                  <a:gd name="connsiteX3" fmla="*/ 47911 w 47625"/>
                  <a:gd name="connsiteY3" fmla="*/ 1381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28575">
                    <a:moveTo>
                      <a:pt x="48006" y="13811"/>
                    </a:moveTo>
                    <a:cubicBezTo>
                      <a:pt x="34290" y="12001"/>
                      <a:pt x="20669" y="9716"/>
                      <a:pt x="7144" y="7144"/>
                    </a:cubicBezTo>
                    <a:lnTo>
                      <a:pt x="33242" y="22288"/>
                    </a:lnTo>
                    <a:lnTo>
                      <a:pt x="47911" y="13811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81" name="Freeform: Shape 5280">
                <a:extLst>
                  <a:ext uri="{FF2B5EF4-FFF2-40B4-BE49-F238E27FC236}">
                    <a16:creationId xmlns:a16="http://schemas.microsoft.com/office/drawing/2014/main" id="{EA4626EF-8245-4AA4-AF54-B12FCFA65D7B}"/>
                  </a:ext>
                </a:extLst>
              </p:cNvPr>
              <p:cNvSpPr/>
              <p:nvPr/>
            </p:nvSpPr>
            <p:spPr>
              <a:xfrm>
                <a:off x="8160422" y="6170930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82" name="Freeform: Shape 5281">
                <a:extLst>
                  <a:ext uri="{FF2B5EF4-FFF2-40B4-BE49-F238E27FC236}">
                    <a16:creationId xmlns:a16="http://schemas.microsoft.com/office/drawing/2014/main" id="{51592A94-0EB4-41C6-A556-65C94A579A57}"/>
                  </a:ext>
                </a:extLst>
              </p:cNvPr>
              <p:cNvSpPr/>
              <p:nvPr/>
            </p:nvSpPr>
            <p:spPr>
              <a:xfrm>
                <a:off x="8198522" y="6125686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83" name="Freeform: Shape 5282">
                <a:extLst>
                  <a:ext uri="{FF2B5EF4-FFF2-40B4-BE49-F238E27FC236}">
                    <a16:creationId xmlns:a16="http://schemas.microsoft.com/office/drawing/2014/main" id="{0667EB63-4EFE-4CED-B946-BF6999104EB2}"/>
                  </a:ext>
                </a:extLst>
              </p:cNvPr>
              <p:cNvSpPr/>
              <p:nvPr/>
            </p:nvSpPr>
            <p:spPr>
              <a:xfrm>
                <a:off x="8198522" y="6216174"/>
                <a:ext cx="66675" cy="38100"/>
              </a:xfrm>
              <a:custGeom>
                <a:avLst/>
                <a:gdLst>
                  <a:gd name="connsiteX0" fmla="*/ 33338 w 66675"/>
                  <a:gd name="connsiteY0" fmla="*/ 7144 h 38100"/>
                  <a:gd name="connsiteX1" fmla="*/ 7144 w 66675"/>
                  <a:gd name="connsiteY1" fmla="*/ 22193 h 38100"/>
                  <a:gd name="connsiteX2" fmla="*/ 33338 w 66675"/>
                  <a:gd name="connsiteY2" fmla="*/ 37338 h 38100"/>
                  <a:gd name="connsiteX3" fmla="*/ 59531 w 66675"/>
                  <a:gd name="connsiteY3" fmla="*/ 22193 h 38100"/>
                  <a:gd name="connsiteX4" fmla="*/ 33338 w 66675"/>
                  <a:gd name="connsiteY4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7144"/>
                    </a:moveTo>
                    <a:lnTo>
                      <a:pt x="7144" y="22193"/>
                    </a:ln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84" name="Freeform: Shape 5283">
                <a:extLst>
                  <a:ext uri="{FF2B5EF4-FFF2-40B4-BE49-F238E27FC236}">
                    <a16:creationId xmlns:a16="http://schemas.microsoft.com/office/drawing/2014/main" id="{5230EA50-2C82-46E8-A091-37820033B61C}"/>
                  </a:ext>
                </a:extLst>
              </p:cNvPr>
              <p:cNvSpPr/>
              <p:nvPr/>
            </p:nvSpPr>
            <p:spPr>
              <a:xfrm>
                <a:off x="8084222" y="6080442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85" name="Freeform: Shape 5284">
                <a:extLst>
                  <a:ext uri="{FF2B5EF4-FFF2-40B4-BE49-F238E27FC236}">
                    <a16:creationId xmlns:a16="http://schemas.microsoft.com/office/drawing/2014/main" id="{A2401353-CFEB-44E8-847A-5F16925FD754}"/>
                  </a:ext>
                </a:extLst>
              </p:cNvPr>
              <p:cNvSpPr/>
              <p:nvPr/>
            </p:nvSpPr>
            <p:spPr>
              <a:xfrm>
                <a:off x="8122322" y="6037485"/>
                <a:ext cx="66675" cy="38100"/>
              </a:xfrm>
              <a:custGeom>
                <a:avLst/>
                <a:gdLst>
                  <a:gd name="connsiteX0" fmla="*/ 59531 w 66675"/>
                  <a:gd name="connsiteY0" fmla="*/ 19907 h 38100"/>
                  <a:gd name="connsiteX1" fmla="*/ 44767 w 66675"/>
                  <a:gd name="connsiteY1" fmla="*/ 11335 h 38100"/>
                  <a:gd name="connsiteX2" fmla="*/ 29146 w 66675"/>
                  <a:gd name="connsiteY2" fmla="*/ 7144 h 38100"/>
                  <a:gd name="connsiteX3" fmla="*/ 7144 w 66675"/>
                  <a:gd name="connsiteY3" fmla="*/ 19812 h 38100"/>
                  <a:gd name="connsiteX4" fmla="*/ 33338 w 66675"/>
                  <a:gd name="connsiteY4" fmla="*/ 34957 h 38100"/>
                  <a:gd name="connsiteX5" fmla="*/ 59531 w 66675"/>
                  <a:gd name="connsiteY5" fmla="*/ 19812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38100">
                    <a:moveTo>
                      <a:pt x="59531" y="19907"/>
                    </a:moveTo>
                    <a:lnTo>
                      <a:pt x="44767" y="11335"/>
                    </a:lnTo>
                    <a:cubicBezTo>
                      <a:pt x="39529" y="10001"/>
                      <a:pt x="34385" y="8572"/>
                      <a:pt x="29146" y="7144"/>
                    </a:cubicBezTo>
                    <a:lnTo>
                      <a:pt x="7144" y="19812"/>
                    </a:lnTo>
                    <a:lnTo>
                      <a:pt x="33338" y="34957"/>
                    </a:lnTo>
                    <a:lnTo>
                      <a:pt x="59531" y="19812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86" name="Freeform: Shape 5285">
                <a:extLst>
                  <a:ext uri="{FF2B5EF4-FFF2-40B4-BE49-F238E27FC236}">
                    <a16:creationId xmlns:a16="http://schemas.microsoft.com/office/drawing/2014/main" id="{CA185E7E-0564-4107-A4A7-34A2819A2592}"/>
                  </a:ext>
                </a:extLst>
              </p:cNvPr>
              <p:cNvSpPr/>
              <p:nvPr/>
            </p:nvSpPr>
            <p:spPr>
              <a:xfrm>
                <a:off x="8084222" y="6170930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87" name="Freeform: Shape 5286">
                <a:extLst>
                  <a:ext uri="{FF2B5EF4-FFF2-40B4-BE49-F238E27FC236}">
                    <a16:creationId xmlns:a16="http://schemas.microsoft.com/office/drawing/2014/main" id="{4DF550CC-47B9-4935-878C-BB45DD8262F2}"/>
                  </a:ext>
                </a:extLst>
              </p:cNvPr>
              <p:cNvSpPr/>
              <p:nvPr/>
            </p:nvSpPr>
            <p:spPr>
              <a:xfrm>
                <a:off x="8122322" y="6125686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88" name="Freeform: Shape 5287">
                <a:extLst>
                  <a:ext uri="{FF2B5EF4-FFF2-40B4-BE49-F238E27FC236}">
                    <a16:creationId xmlns:a16="http://schemas.microsoft.com/office/drawing/2014/main" id="{A5C4CE45-29C5-4E96-8AEB-E63BC97AA0D6}"/>
                  </a:ext>
                </a:extLst>
              </p:cNvPr>
              <p:cNvSpPr/>
              <p:nvPr/>
            </p:nvSpPr>
            <p:spPr>
              <a:xfrm>
                <a:off x="8122322" y="6216079"/>
                <a:ext cx="66675" cy="38100"/>
              </a:xfrm>
              <a:custGeom>
                <a:avLst/>
                <a:gdLst>
                  <a:gd name="connsiteX0" fmla="*/ 7144 w 66675"/>
                  <a:gd name="connsiteY0" fmla="*/ 22288 h 38100"/>
                  <a:gd name="connsiteX1" fmla="*/ 8096 w 66675"/>
                  <a:gd name="connsiteY1" fmla="*/ 22860 h 38100"/>
                  <a:gd name="connsiteX2" fmla="*/ 42100 w 66675"/>
                  <a:gd name="connsiteY2" fmla="*/ 32385 h 38100"/>
                  <a:gd name="connsiteX3" fmla="*/ 59531 w 66675"/>
                  <a:gd name="connsiteY3" fmla="*/ 22288 h 38100"/>
                  <a:gd name="connsiteX4" fmla="*/ 33338 w 66675"/>
                  <a:gd name="connsiteY4" fmla="*/ 7144 h 38100"/>
                  <a:gd name="connsiteX5" fmla="*/ 7144 w 66675"/>
                  <a:gd name="connsiteY5" fmla="*/ 22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38100">
                    <a:moveTo>
                      <a:pt x="7144" y="22288"/>
                    </a:moveTo>
                    <a:lnTo>
                      <a:pt x="8096" y="22860"/>
                    </a:lnTo>
                    <a:cubicBezTo>
                      <a:pt x="19336" y="26289"/>
                      <a:pt x="30671" y="29527"/>
                      <a:pt x="42100" y="32385"/>
                    </a:cubicBezTo>
                    <a:lnTo>
                      <a:pt x="59531" y="22288"/>
                    </a:lnTo>
                    <a:lnTo>
                      <a:pt x="33338" y="7144"/>
                    </a:lnTo>
                    <a:lnTo>
                      <a:pt x="7144" y="2228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89" name="Freeform: Shape 5288">
                <a:extLst>
                  <a:ext uri="{FF2B5EF4-FFF2-40B4-BE49-F238E27FC236}">
                    <a16:creationId xmlns:a16="http://schemas.microsoft.com/office/drawing/2014/main" id="{D017CDDA-7F68-4109-92A2-8D597AE7604F}"/>
                  </a:ext>
                </a:extLst>
              </p:cNvPr>
              <p:cNvSpPr/>
              <p:nvPr/>
            </p:nvSpPr>
            <p:spPr>
              <a:xfrm>
                <a:off x="8008022" y="5993003"/>
                <a:ext cx="57150" cy="38100"/>
              </a:xfrm>
              <a:custGeom>
                <a:avLst/>
                <a:gdLst>
                  <a:gd name="connsiteX0" fmla="*/ 56388 w 57150"/>
                  <a:gd name="connsiteY0" fmla="*/ 21050 h 38100"/>
                  <a:gd name="connsiteX1" fmla="*/ 28004 w 57150"/>
                  <a:gd name="connsiteY1" fmla="*/ 7144 h 38100"/>
                  <a:gd name="connsiteX2" fmla="*/ 7144 w 57150"/>
                  <a:gd name="connsiteY2" fmla="*/ 19145 h 38100"/>
                  <a:gd name="connsiteX3" fmla="*/ 33338 w 57150"/>
                  <a:gd name="connsiteY3" fmla="*/ 34290 h 38100"/>
                  <a:gd name="connsiteX4" fmla="*/ 56293 w 57150"/>
                  <a:gd name="connsiteY4" fmla="*/ 2105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150" h="38100">
                    <a:moveTo>
                      <a:pt x="56388" y="21050"/>
                    </a:moveTo>
                    <a:cubicBezTo>
                      <a:pt x="46768" y="16764"/>
                      <a:pt x="37338" y="12001"/>
                      <a:pt x="28004" y="7144"/>
                    </a:cubicBezTo>
                    <a:lnTo>
                      <a:pt x="7144" y="19145"/>
                    </a:lnTo>
                    <a:lnTo>
                      <a:pt x="33338" y="34290"/>
                    </a:lnTo>
                    <a:lnTo>
                      <a:pt x="56293" y="21050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90" name="Freeform: Shape 5289">
                <a:extLst>
                  <a:ext uri="{FF2B5EF4-FFF2-40B4-BE49-F238E27FC236}">
                    <a16:creationId xmlns:a16="http://schemas.microsoft.com/office/drawing/2014/main" id="{79BC2566-F67C-444B-A74D-96FCBAED6155}"/>
                  </a:ext>
                </a:extLst>
              </p:cNvPr>
              <p:cNvSpPr/>
              <p:nvPr/>
            </p:nvSpPr>
            <p:spPr>
              <a:xfrm>
                <a:off x="8008022" y="6080442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91" name="Freeform: Shape 5290">
                <a:extLst>
                  <a:ext uri="{FF2B5EF4-FFF2-40B4-BE49-F238E27FC236}">
                    <a16:creationId xmlns:a16="http://schemas.microsoft.com/office/drawing/2014/main" id="{0FFC8C41-6D90-4A5F-884F-8B4EE8BC26EA}"/>
                  </a:ext>
                </a:extLst>
              </p:cNvPr>
              <p:cNvSpPr/>
              <p:nvPr/>
            </p:nvSpPr>
            <p:spPr>
              <a:xfrm>
                <a:off x="8046122" y="6035199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92" name="Freeform: Shape 5291">
                <a:extLst>
                  <a:ext uri="{FF2B5EF4-FFF2-40B4-BE49-F238E27FC236}">
                    <a16:creationId xmlns:a16="http://schemas.microsoft.com/office/drawing/2014/main" id="{81ADC8DA-9A15-4FBD-AF24-7D33F392D699}"/>
                  </a:ext>
                </a:extLst>
              </p:cNvPr>
              <p:cNvSpPr/>
              <p:nvPr/>
            </p:nvSpPr>
            <p:spPr>
              <a:xfrm>
                <a:off x="8008022" y="6170835"/>
                <a:ext cx="66675" cy="38100"/>
              </a:xfrm>
              <a:custGeom>
                <a:avLst/>
                <a:gdLst>
                  <a:gd name="connsiteX0" fmla="*/ 7144 w 66675"/>
                  <a:gd name="connsiteY0" fmla="*/ 22288 h 38100"/>
                  <a:gd name="connsiteX1" fmla="*/ 8287 w 66675"/>
                  <a:gd name="connsiteY1" fmla="*/ 22955 h 38100"/>
                  <a:gd name="connsiteX2" fmla="*/ 36195 w 66675"/>
                  <a:gd name="connsiteY2" fmla="*/ 35814 h 38100"/>
                  <a:gd name="connsiteX3" fmla="*/ 59531 w 66675"/>
                  <a:gd name="connsiteY3" fmla="*/ 22288 h 38100"/>
                  <a:gd name="connsiteX4" fmla="*/ 33338 w 66675"/>
                  <a:gd name="connsiteY4" fmla="*/ 7144 h 38100"/>
                  <a:gd name="connsiteX5" fmla="*/ 7144 w 66675"/>
                  <a:gd name="connsiteY5" fmla="*/ 2228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38100">
                    <a:moveTo>
                      <a:pt x="7144" y="22288"/>
                    </a:moveTo>
                    <a:lnTo>
                      <a:pt x="8287" y="22955"/>
                    </a:lnTo>
                    <a:cubicBezTo>
                      <a:pt x="17526" y="27432"/>
                      <a:pt x="26765" y="31623"/>
                      <a:pt x="36195" y="35814"/>
                    </a:cubicBezTo>
                    <a:lnTo>
                      <a:pt x="59531" y="22288"/>
                    </a:lnTo>
                    <a:lnTo>
                      <a:pt x="33338" y="7144"/>
                    </a:lnTo>
                    <a:lnTo>
                      <a:pt x="7144" y="2228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93" name="Freeform: Shape 5292">
                <a:extLst>
                  <a:ext uri="{FF2B5EF4-FFF2-40B4-BE49-F238E27FC236}">
                    <a16:creationId xmlns:a16="http://schemas.microsoft.com/office/drawing/2014/main" id="{96669292-E87C-4233-914A-4AEBFB8804EA}"/>
                  </a:ext>
                </a:extLst>
              </p:cNvPr>
              <p:cNvSpPr/>
              <p:nvPr/>
            </p:nvSpPr>
            <p:spPr>
              <a:xfrm>
                <a:off x="8046122" y="6125686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94" name="Freeform: Shape 5293">
                <a:extLst>
                  <a:ext uri="{FF2B5EF4-FFF2-40B4-BE49-F238E27FC236}">
                    <a16:creationId xmlns:a16="http://schemas.microsoft.com/office/drawing/2014/main" id="{397B4E7E-73AA-48EE-BD0A-3384D189CEF6}"/>
                  </a:ext>
                </a:extLst>
              </p:cNvPr>
              <p:cNvSpPr/>
              <p:nvPr/>
            </p:nvSpPr>
            <p:spPr>
              <a:xfrm>
                <a:off x="7931822" y="5989955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95" name="Freeform: Shape 5294">
                <a:extLst>
                  <a:ext uri="{FF2B5EF4-FFF2-40B4-BE49-F238E27FC236}">
                    <a16:creationId xmlns:a16="http://schemas.microsoft.com/office/drawing/2014/main" id="{F9F8E894-B8AB-4113-84FA-9C21A044893E}"/>
                  </a:ext>
                </a:extLst>
              </p:cNvPr>
              <p:cNvSpPr/>
              <p:nvPr/>
            </p:nvSpPr>
            <p:spPr>
              <a:xfrm>
                <a:off x="7969922" y="5959189"/>
                <a:ext cx="38100" cy="28575"/>
              </a:xfrm>
              <a:custGeom>
                <a:avLst/>
                <a:gdLst>
                  <a:gd name="connsiteX0" fmla="*/ 33528 w 38100"/>
                  <a:gd name="connsiteY0" fmla="*/ 22765 h 28575"/>
                  <a:gd name="connsiteX1" fmla="*/ 8192 w 38100"/>
                  <a:gd name="connsiteY1" fmla="*/ 7144 h 28575"/>
                  <a:gd name="connsiteX2" fmla="*/ 7144 w 38100"/>
                  <a:gd name="connsiteY2" fmla="*/ 7715 h 28575"/>
                  <a:gd name="connsiteX3" fmla="*/ 33338 w 38100"/>
                  <a:gd name="connsiteY3" fmla="*/ 22860 h 28575"/>
                  <a:gd name="connsiteX4" fmla="*/ 33528 w 38100"/>
                  <a:gd name="connsiteY4" fmla="*/ 2286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28575">
                    <a:moveTo>
                      <a:pt x="33528" y="22765"/>
                    </a:moveTo>
                    <a:cubicBezTo>
                      <a:pt x="24956" y="17717"/>
                      <a:pt x="16573" y="12478"/>
                      <a:pt x="8192" y="7144"/>
                    </a:cubicBezTo>
                    <a:lnTo>
                      <a:pt x="7144" y="7715"/>
                    </a:lnTo>
                    <a:lnTo>
                      <a:pt x="33338" y="22860"/>
                    </a:lnTo>
                    <a:lnTo>
                      <a:pt x="33528" y="22860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96" name="Freeform: Shape 5295">
                <a:extLst>
                  <a:ext uri="{FF2B5EF4-FFF2-40B4-BE49-F238E27FC236}">
                    <a16:creationId xmlns:a16="http://schemas.microsoft.com/office/drawing/2014/main" id="{2D4C71E1-7CC9-42F4-AAAB-BD15A2B6E1B9}"/>
                  </a:ext>
                </a:extLst>
              </p:cNvPr>
              <p:cNvSpPr/>
              <p:nvPr/>
            </p:nvSpPr>
            <p:spPr>
              <a:xfrm>
                <a:off x="7931822" y="6080442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97" name="Freeform: Shape 5296">
                <a:extLst>
                  <a:ext uri="{FF2B5EF4-FFF2-40B4-BE49-F238E27FC236}">
                    <a16:creationId xmlns:a16="http://schemas.microsoft.com/office/drawing/2014/main" id="{6A974C79-D072-4588-A9D7-ACB77E59E6D7}"/>
                  </a:ext>
                </a:extLst>
              </p:cNvPr>
              <p:cNvSpPr/>
              <p:nvPr/>
            </p:nvSpPr>
            <p:spPr>
              <a:xfrm>
                <a:off x="7969922" y="6035199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98" name="Freeform: Shape 5297">
                <a:extLst>
                  <a:ext uri="{FF2B5EF4-FFF2-40B4-BE49-F238E27FC236}">
                    <a16:creationId xmlns:a16="http://schemas.microsoft.com/office/drawing/2014/main" id="{045A28C3-9403-4E7B-AB6F-24EE0A5CA48D}"/>
                  </a:ext>
                </a:extLst>
              </p:cNvPr>
              <p:cNvSpPr/>
              <p:nvPr/>
            </p:nvSpPr>
            <p:spPr>
              <a:xfrm>
                <a:off x="7969922" y="6125686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299" name="Freeform: Shape 5298">
                <a:extLst>
                  <a:ext uri="{FF2B5EF4-FFF2-40B4-BE49-F238E27FC236}">
                    <a16:creationId xmlns:a16="http://schemas.microsoft.com/office/drawing/2014/main" id="{1E07314E-9375-45D8-A77B-A161757E8889}"/>
                  </a:ext>
                </a:extLst>
              </p:cNvPr>
              <p:cNvSpPr/>
              <p:nvPr/>
            </p:nvSpPr>
            <p:spPr>
              <a:xfrm>
                <a:off x="7855622" y="5899467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00" name="Freeform: Shape 5299">
                <a:extLst>
                  <a:ext uri="{FF2B5EF4-FFF2-40B4-BE49-F238E27FC236}">
                    <a16:creationId xmlns:a16="http://schemas.microsoft.com/office/drawing/2014/main" id="{455DD44A-8377-4901-954A-AD46FC9FF18E}"/>
                  </a:ext>
                </a:extLst>
              </p:cNvPr>
              <p:cNvSpPr/>
              <p:nvPr/>
            </p:nvSpPr>
            <p:spPr>
              <a:xfrm>
                <a:off x="7855622" y="5989955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01" name="Freeform: Shape 5300">
                <a:extLst>
                  <a:ext uri="{FF2B5EF4-FFF2-40B4-BE49-F238E27FC236}">
                    <a16:creationId xmlns:a16="http://schemas.microsoft.com/office/drawing/2014/main" id="{2D6C2B23-54B9-44B4-80D1-562A04FB3635}"/>
                  </a:ext>
                </a:extLst>
              </p:cNvPr>
              <p:cNvSpPr/>
              <p:nvPr/>
            </p:nvSpPr>
            <p:spPr>
              <a:xfrm>
                <a:off x="7893722" y="5944711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02" name="Freeform: Shape 5301">
                <a:extLst>
                  <a:ext uri="{FF2B5EF4-FFF2-40B4-BE49-F238E27FC236}">
                    <a16:creationId xmlns:a16="http://schemas.microsoft.com/office/drawing/2014/main" id="{A943385A-5456-4930-933F-34D8EC3A0931}"/>
                  </a:ext>
                </a:extLst>
              </p:cNvPr>
              <p:cNvSpPr/>
              <p:nvPr/>
            </p:nvSpPr>
            <p:spPr>
              <a:xfrm>
                <a:off x="7859241" y="6080442"/>
                <a:ext cx="57150" cy="38100"/>
              </a:xfrm>
              <a:custGeom>
                <a:avLst/>
                <a:gdLst>
                  <a:gd name="connsiteX0" fmla="*/ 7144 w 57150"/>
                  <a:gd name="connsiteY0" fmla="*/ 20098 h 38100"/>
                  <a:gd name="connsiteX1" fmla="*/ 17050 w 57150"/>
                  <a:gd name="connsiteY1" fmla="*/ 27718 h 38100"/>
                  <a:gd name="connsiteX2" fmla="*/ 30004 w 57150"/>
                  <a:gd name="connsiteY2" fmla="*/ 37243 h 38100"/>
                  <a:gd name="connsiteX3" fmla="*/ 56007 w 57150"/>
                  <a:gd name="connsiteY3" fmla="*/ 22288 h 38100"/>
                  <a:gd name="connsiteX4" fmla="*/ 29813 w 57150"/>
                  <a:gd name="connsiteY4" fmla="*/ 7144 h 38100"/>
                  <a:gd name="connsiteX5" fmla="*/ 7239 w 57150"/>
                  <a:gd name="connsiteY5" fmla="*/ 20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38100">
                    <a:moveTo>
                      <a:pt x="7144" y="20098"/>
                    </a:moveTo>
                    <a:cubicBezTo>
                      <a:pt x="10478" y="22670"/>
                      <a:pt x="13716" y="25146"/>
                      <a:pt x="17050" y="27718"/>
                    </a:cubicBezTo>
                    <a:cubicBezTo>
                      <a:pt x="21336" y="30956"/>
                      <a:pt x="25622" y="34100"/>
                      <a:pt x="30004" y="37243"/>
                    </a:cubicBezTo>
                    <a:lnTo>
                      <a:pt x="56007" y="22288"/>
                    </a:lnTo>
                    <a:lnTo>
                      <a:pt x="29813" y="7144"/>
                    </a:lnTo>
                    <a:lnTo>
                      <a:pt x="7239" y="20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03" name="Freeform: Shape 5302">
                <a:extLst>
                  <a:ext uri="{FF2B5EF4-FFF2-40B4-BE49-F238E27FC236}">
                    <a16:creationId xmlns:a16="http://schemas.microsoft.com/office/drawing/2014/main" id="{D145BE9C-18B7-49D4-8B84-529EB7557B08}"/>
                  </a:ext>
                </a:extLst>
              </p:cNvPr>
              <p:cNvSpPr/>
              <p:nvPr/>
            </p:nvSpPr>
            <p:spPr>
              <a:xfrm>
                <a:off x="7893722" y="6035199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04" name="Freeform: Shape 5303">
                <a:extLst>
                  <a:ext uri="{FF2B5EF4-FFF2-40B4-BE49-F238E27FC236}">
                    <a16:creationId xmlns:a16="http://schemas.microsoft.com/office/drawing/2014/main" id="{C5940739-65B9-4FC3-A6F3-29C5C1069735}"/>
                  </a:ext>
                </a:extLst>
              </p:cNvPr>
              <p:cNvSpPr/>
              <p:nvPr/>
            </p:nvSpPr>
            <p:spPr>
              <a:xfrm>
                <a:off x="7911057" y="6125686"/>
                <a:ext cx="47625" cy="28575"/>
              </a:xfrm>
              <a:custGeom>
                <a:avLst/>
                <a:gdLst>
                  <a:gd name="connsiteX0" fmla="*/ 7144 w 47625"/>
                  <a:gd name="connsiteY0" fmla="*/ 12287 h 28575"/>
                  <a:gd name="connsiteX1" fmla="*/ 32004 w 47625"/>
                  <a:gd name="connsiteY1" fmla="*/ 28194 h 28575"/>
                  <a:gd name="connsiteX2" fmla="*/ 42291 w 47625"/>
                  <a:gd name="connsiteY2" fmla="*/ 22288 h 28575"/>
                  <a:gd name="connsiteX3" fmla="*/ 16097 w 47625"/>
                  <a:gd name="connsiteY3" fmla="*/ 7144 h 28575"/>
                  <a:gd name="connsiteX4" fmla="*/ 7144 w 47625"/>
                  <a:gd name="connsiteY4" fmla="*/ 1228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28575">
                    <a:moveTo>
                      <a:pt x="7144" y="12287"/>
                    </a:moveTo>
                    <a:cubicBezTo>
                      <a:pt x="15335" y="17717"/>
                      <a:pt x="23622" y="23050"/>
                      <a:pt x="32004" y="28194"/>
                    </a:cubicBezTo>
                    <a:lnTo>
                      <a:pt x="42291" y="22288"/>
                    </a:lnTo>
                    <a:lnTo>
                      <a:pt x="16097" y="7144"/>
                    </a:lnTo>
                    <a:lnTo>
                      <a:pt x="7144" y="12287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05" name="Freeform: Shape 5304">
                <a:extLst>
                  <a:ext uri="{FF2B5EF4-FFF2-40B4-BE49-F238E27FC236}">
                    <a16:creationId xmlns:a16="http://schemas.microsoft.com/office/drawing/2014/main" id="{2693941E-044B-4838-831B-34AACC94C446}"/>
                  </a:ext>
                </a:extLst>
              </p:cNvPr>
              <p:cNvSpPr/>
              <p:nvPr/>
            </p:nvSpPr>
            <p:spPr>
              <a:xfrm>
                <a:off x="7779422" y="5899467"/>
                <a:ext cx="66675" cy="38100"/>
              </a:xfrm>
              <a:custGeom>
                <a:avLst/>
                <a:gdLst>
                  <a:gd name="connsiteX0" fmla="*/ 33338 w 66675"/>
                  <a:gd name="connsiteY0" fmla="*/ 37338 h 38100"/>
                  <a:gd name="connsiteX1" fmla="*/ 59531 w 66675"/>
                  <a:gd name="connsiteY1" fmla="*/ 22193 h 38100"/>
                  <a:gd name="connsiteX2" fmla="*/ 33338 w 66675"/>
                  <a:gd name="connsiteY2" fmla="*/ 7144 h 38100"/>
                  <a:gd name="connsiteX3" fmla="*/ 7144 w 66675"/>
                  <a:gd name="connsiteY3" fmla="*/ 22193 h 38100"/>
                  <a:gd name="connsiteX4" fmla="*/ 33338 w 66675"/>
                  <a:gd name="connsiteY4" fmla="*/ 3733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33338" y="37338"/>
                    </a:move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lnTo>
                      <a:pt x="33338" y="37338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06" name="Freeform: Shape 5305">
                <a:extLst>
                  <a:ext uri="{FF2B5EF4-FFF2-40B4-BE49-F238E27FC236}">
                    <a16:creationId xmlns:a16="http://schemas.microsoft.com/office/drawing/2014/main" id="{FACA991B-26D3-42FE-BE9D-72CF75147FC0}"/>
                  </a:ext>
                </a:extLst>
              </p:cNvPr>
              <p:cNvSpPr/>
              <p:nvPr/>
            </p:nvSpPr>
            <p:spPr>
              <a:xfrm>
                <a:off x="7817617" y="5863272"/>
                <a:ext cx="47625" cy="28575"/>
              </a:xfrm>
              <a:custGeom>
                <a:avLst/>
                <a:gdLst>
                  <a:gd name="connsiteX0" fmla="*/ 47530 w 47625"/>
                  <a:gd name="connsiteY0" fmla="*/ 20098 h 28575"/>
                  <a:gd name="connsiteX1" fmla="*/ 17621 w 47625"/>
                  <a:gd name="connsiteY1" fmla="*/ 7144 h 28575"/>
                  <a:gd name="connsiteX2" fmla="*/ 7144 w 47625"/>
                  <a:gd name="connsiteY2" fmla="*/ 13240 h 28575"/>
                  <a:gd name="connsiteX3" fmla="*/ 33338 w 47625"/>
                  <a:gd name="connsiteY3" fmla="*/ 28385 h 28575"/>
                  <a:gd name="connsiteX4" fmla="*/ 47625 w 47625"/>
                  <a:gd name="connsiteY4" fmla="*/ 2019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28575">
                    <a:moveTo>
                      <a:pt x="47530" y="20098"/>
                    </a:moveTo>
                    <a:cubicBezTo>
                      <a:pt x="38005" y="14764"/>
                      <a:pt x="28099" y="10287"/>
                      <a:pt x="17621" y="7144"/>
                    </a:cubicBezTo>
                    <a:lnTo>
                      <a:pt x="7144" y="13240"/>
                    </a:lnTo>
                    <a:lnTo>
                      <a:pt x="33338" y="28385"/>
                    </a:lnTo>
                    <a:lnTo>
                      <a:pt x="47625" y="20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07" name="Freeform: Shape 5306">
                <a:extLst>
                  <a:ext uri="{FF2B5EF4-FFF2-40B4-BE49-F238E27FC236}">
                    <a16:creationId xmlns:a16="http://schemas.microsoft.com/office/drawing/2014/main" id="{59B1F08E-20A4-4C5F-AC72-1CA3E281C729}"/>
                  </a:ext>
                </a:extLst>
              </p:cNvPr>
              <p:cNvSpPr/>
              <p:nvPr/>
            </p:nvSpPr>
            <p:spPr>
              <a:xfrm>
                <a:off x="7779422" y="5989955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08" name="Freeform: Shape 5307">
                <a:extLst>
                  <a:ext uri="{FF2B5EF4-FFF2-40B4-BE49-F238E27FC236}">
                    <a16:creationId xmlns:a16="http://schemas.microsoft.com/office/drawing/2014/main" id="{54F9A6B6-5741-4031-8020-7C04F503DCD8}"/>
                  </a:ext>
                </a:extLst>
              </p:cNvPr>
              <p:cNvSpPr/>
              <p:nvPr/>
            </p:nvSpPr>
            <p:spPr>
              <a:xfrm>
                <a:off x="7817522" y="5944711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09" name="Freeform: Shape 5308">
                <a:extLst>
                  <a:ext uri="{FF2B5EF4-FFF2-40B4-BE49-F238E27FC236}">
                    <a16:creationId xmlns:a16="http://schemas.microsoft.com/office/drawing/2014/main" id="{1E6FD7B3-97E0-4755-9904-7166315E7853}"/>
                  </a:ext>
                </a:extLst>
              </p:cNvPr>
              <p:cNvSpPr/>
              <p:nvPr/>
            </p:nvSpPr>
            <p:spPr>
              <a:xfrm>
                <a:off x="7817522" y="6035199"/>
                <a:ext cx="66675" cy="38100"/>
              </a:xfrm>
              <a:custGeom>
                <a:avLst/>
                <a:gdLst>
                  <a:gd name="connsiteX0" fmla="*/ 7144 w 66675"/>
                  <a:gd name="connsiteY0" fmla="*/ 22193 h 38100"/>
                  <a:gd name="connsiteX1" fmla="*/ 33338 w 66675"/>
                  <a:gd name="connsiteY1" fmla="*/ 37338 h 38100"/>
                  <a:gd name="connsiteX2" fmla="*/ 59531 w 66675"/>
                  <a:gd name="connsiteY2" fmla="*/ 22193 h 38100"/>
                  <a:gd name="connsiteX3" fmla="*/ 33338 w 66675"/>
                  <a:gd name="connsiteY3" fmla="*/ 7144 h 38100"/>
                  <a:gd name="connsiteX4" fmla="*/ 7144 w 66675"/>
                  <a:gd name="connsiteY4" fmla="*/ 22193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38100">
                    <a:moveTo>
                      <a:pt x="7144" y="22193"/>
                    </a:moveTo>
                    <a:lnTo>
                      <a:pt x="33338" y="37338"/>
                    </a:lnTo>
                    <a:lnTo>
                      <a:pt x="59531" y="22193"/>
                    </a:lnTo>
                    <a:lnTo>
                      <a:pt x="33338" y="7144"/>
                    </a:lnTo>
                    <a:lnTo>
                      <a:pt x="7144" y="22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10" name="Freeform: Shape 5309">
                <a:extLst>
                  <a:ext uri="{FF2B5EF4-FFF2-40B4-BE49-F238E27FC236}">
                    <a16:creationId xmlns:a16="http://schemas.microsoft.com/office/drawing/2014/main" id="{F5F1A24F-600A-42E4-8111-8A0BD267A6A9}"/>
                  </a:ext>
                </a:extLst>
              </p:cNvPr>
              <p:cNvSpPr/>
              <p:nvPr/>
            </p:nvSpPr>
            <p:spPr>
              <a:xfrm>
                <a:off x="7735098" y="5903468"/>
                <a:ext cx="28575" cy="28575"/>
              </a:xfrm>
              <a:custGeom>
                <a:avLst/>
                <a:gdLst>
                  <a:gd name="connsiteX0" fmla="*/ 27655 w 28575"/>
                  <a:gd name="connsiteY0" fmla="*/ 18193 h 28575"/>
                  <a:gd name="connsiteX1" fmla="*/ 8605 w 28575"/>
                  <a:gd name="connsiteY1" fmla="*/ 7144 h 28575"/>
                  <a:gd name="connsiteX2" fmla="*/ 7272 w 28575"/>
                  <a:gd name="connsiteY2" fmla="*/ 23717 h 28575"/>
                  <a:gd name="connsiteX3" fmla="*/ 7939 w 28575"/>
                  <a:gd name="connsiteY3" fmla="*/ 29623 h 28575"/>
                  <a:gd name="connsiteX4" fmla="*/ 27655 w 28575"/>
                  <a:gd name="connsiteY4" fmla="*/ 1819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575" h="28575">
                    <a:moveTo>
                      <a:pt x="27655" y="18193"/>
                    </a:moveTo>
                    <a:lnTo>
                      <a:pt x="8605" y="7144"/>
                    </a:lnTo>
                    <a:cubicBezTo>
                      <a:pt x="7367" y="12287"/>
                      <a:pt x="6891" y="17812"/>
                      <a:pt x="7272" y="23717"/>
                    </a:cubicBezTo>
                    <a:cubicBezTo>
                      <a:pt x="7367" y="25718"/>
                      <a:pt x="7748" y="27623"/>
                      <a:pt x="7939" y="29623"/>
                    </a:cubicBezTo>
                    <a:lnTo>
                      <a:pt x="27655" y="18193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11" name="Freeform: Shape 5310">
                <a:extLst>
                  <a:ext uri="{FF2B5EF4-FFF2-40B4-BE49-F238E27FC236}">
                    <a16:creationId xmlns:a16="http://schemas.microsoft.com/office/drawing/2014/main" id="{8CDBA263-AC4E-49F5-9FB4-1D853DDD8B29}"/>
                  </a:ext>
                </a:extLst>
              </p:cNvPr>
              <p:cNvSpPr/>
              <p:nvPr/>
            </p:nvSpPr>
            <p:spPr>
              <a:xfrm>
                <a:off x="7753133" y="5861558"/>
                <a:ext cx="47625" cy="28575"/>
              </a:xfrm>
              <a:custGeom>
                <a:avLst/>
                <a:gdLst>
                  <a:gd name="connsiteX0" fmla="*/ 47720 w 47625"/>
                  <a:gd name="connsiteY0" fmla="*/ 14859 h 28575"/>
                  <a:gd name="connsiteX1" fmla="*/ 34385 w 47625"/>
                  <a:gd name="connsiteY1" fmla="*/ 7144 h 28575"/>
                  <a:gd name="connsiteX2" fmla="*/ 7144 w 47625"/>
                  <a:gd name="connsiteY2" fmla="*/ 21717 h 28575"/>
                  <a:gd name="connsiteX3" fmla="*/ 21431 w 47625"/>
                  <a:gd name="connsiteY3" fmla="*/ 30004 h 28575"/>
                  <a:gd name="connsiteX4" fmla="*/ 47625 w 47625"/>
                  <a:gd name="connsiteY4" fmla="*/ 1485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7625" h="28575">
                    <a:moveTo>
                      <a:pt x="47720" y="14859"/>
                    </a:moveTo>
                    <a:lnTo>
                      <a:pt x="34385" y="7144"/>
                    </a:lnTo>
                    <a:cubicBezTo>
                      <a:pt x="24289" y="10001"/>
                      <a:pt x="14764" y="14859"/>
                      <a:pt x="7144" y="21717"/>
                    </a:cubicBezTo>
                    <a:lnTo>
                      <a:pt x="21431" y="30004"/>
                    </a:lnTo>
                    <a:lnTo>
                      <a:pt x="47625" y="14859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5312" name="Freeform: Shape 5311">
                <a:extLst>
                  <a:ext uri="{FF2B5EF4-FFF2-40B4-BE49-F238E27FC236}">
                    <a16:creationId xmlns:a16="http://schemas.microsoft.com/office/drawing/2014/main" id="{0C2BB9C4-9F15-43CD-9EAB-503CB0DF9F1B}"/>
                  </a:ext>
                </a:extLst>
              </p:cNvPr>
              <p:cNvSpPr/>
              <p:nvPr/>
            </p:nvSpPr>
            <p:spPr>
              <a:xfrm>
                <a:off x="7743131" y="5944616"/>
                <a:ext cx="57150" cy="38100"/>
              </a:xfrm>
              <a:custGeom>
                <a:avLst/>
                <a:gdLst>
                  <a:gd name="connsiteX0" fmla="*/ 7144 w 57150"/>
                  <a:gd name="connsiteY0" fmla="*/ 21336 h 38100"/>
                  <a:gd name="connsiteX1" fmla="*/ 7906 w 57150"/>
                  <a:gd name="connsiteY1" fmla="*/ 23813 h 38100"/>
                  <a:gd name="connsiteX2" fmla="*/ 31528 w 57150"/>
                  <a:gd name="connsiteY2" fmla="*/ 37433 h 38100"/>
                  <a:gd name="connsiteX3" fmla="*/ 57722 w 57150"/>
                  <a:gd name="connsiteY3" fmla="*/ 22288 h 38100"/>
                  <a:gd name="connsiteX4" fmla="*/ 31528 w 57150"/>
                  <a:gd name="connsiteY4" fmla="*/ 7144 h 38100"/>
                  <a:gd name="connsiteX5" fmla="*/ 7144 w 57150"/>
                  <a:gd name="connsiteY5" fmla="*/ 2124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7150" h="38100">
                    <a:moveTo>
                      <a:pt x="7144" y="21336"/>
                    </a:moveTo>
                    <a:cubicBezTo>
                      <a:pt x="7429" y="22193"/>
                      <a:pt x="7620" y="23050"/>
                      <a:pt x="7906" y="23813"/>
                    </a:cubicBezTo>
                    <a:lnTo>
                      <a:pt x="31528" y="37433"/>
                    </a:lnTo>
                    <a:lnTo>
                      <a:pt x="57722" y="22288"/>
                    </a:lnTo>
                    <a:lnTo>
                      <a:pt x="31528" y="7144"/>
                    </a:lnTo>
                    <a:lnTo>
                      <a:pt x="7144" y="21241"/>
                    </a:lnTo>
                    <a:close/>
                  </a:path>
                </a:pathLst>
              </a:custGeom>
              <a:solidFill>
                <a:srgbClr val="969A9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5180" name="Freeform: Shape 5179">
              <a:extLst>
                <a:ext uri="{FF2B5EF4-FFF2-40B4-BE49-F238E27FC236}">
                  <a16:creationId xmlns:a16="http://schemas.microsoft.com/office/drawing/2014/main" id="{ED4F1D40-A4F2-4151-AE4A-52BAB011F43F}"/>
                </a:ext>
              </a:extLst>
            </p:cNvPr>
            <p:cNvSpPr/>
            <p:nvPr/>
          </p:nvSpPr>
          <p:spPr>
            <a:xfrm>
              <a:off x="7387515" y="4470525"/>
              <a:ext cx="1219200" cy="1571625"/>
            </a:xfrm>
            <a:custGeom>
              <a:avLst/>
              <a:gdLst>
                <a:gd name="connsiteX0" fmla="*/ 875681 w 1219200"/>
                <a:gd name="connsiteY0" fmla="*/ 1386366 h 1571625"/>
                <a:gd name="connsiteX1" fmla="*/ 1023986 w 1219200"/>
                <a:gd name="connsiteY1" fmla="*/ 1300832 h 1571625"/>
                <a:gd name="connsiteX2" fmla="*/ 1034463 w 1219200"/>
                <a:gd name="connsiteY2" fmla="*/ 1210344 h 1571625"/>
                <a:gd name="connsiteX3" fmla="*/ 665274 w 1219200"/>
                <a:gd name="connsiteY3" fmla="*/ 284800 h 1571625"/>
                <a:gd name="connsiteX4" fmla="*/ 654892 w 1219200"/>
                <a:gd name="connsiteY4" fmla="*/ 263368 h 1571625"/>
                <a:gd name="connsiteX5" fmla="*/ 654892 w 1219200"/>
                <a:gd name="connsiteY5" fmla="*/ 263178 h 1571625"/>
                <a:gd name="connsiteX6" fmla="*/ 654606 w 1219200"/>
                <a:gd name="connsiteY6" fmla="*/ 262606 h 1571625"/>
                <a:gd name="connsiteX7" fmla="*/ 558689 w 1219200"/>
                <a:gd name="connsiteY7" fmla="*/ 207647 h 1571625"/>
                <a:gd name="connsiteX8" fmla="*/ 408861 w 1219200"/>
                <a:gd name="connsiteY8" fmla="*/ 294134 h 1571625"/>
                <a:gd name="connsiteX9" fmla="*/ 398384 w 1219200"/>
                <a:gd name="connsiteY9" fmla="*/ 303564 h 1571625"/>
                <a:gd name="connsiteX10" fmla="*/ 61008 w 1219200"/>
                <a:gd name="connsiteY10" fmla="*/ 759526 h 1571625"/>
                <a:gd name="connsiteX11" fmla="*/ 310468 w 1219200"/>
                <a:gd name="connsiteY11" fmla="*/ 8575 h 1571625"/>
                <a:gd name="connsiteX12" fmla="*/ 1139048 w 1219200"/>
                <a:gd name="connsiteY12" fmla="*/ 743333 h 1571625"/>
                <a:gd name="connsiteX13" fmla="*/ 917115 w 1219200"/>
                <a:gd name="connsiteY13" fmla="*/ 1571913 h 1571625"/>
                <a:gd name="connsiteX14" fmla="*/ 163688 w 1219200"/>
                <a:gd name="connsiteY14" fmla="*/ 999937 h 1571625"/>
                <a:gd name="connsiteX15" fmla="*/ 826247 w 1219200"/>
                <a:gd name="connsiteY15" fmla="*/ 1382461 h 1571625"/>
                <a:gd name="connsiteX16" fmla="*/ 875777 w 1219200"/>
                <a:gd name="connsiteY16" fmla="*/ 1386461 h 1571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19200" h="1571625">
                  <a:moveTo>
                    <a:pt x="875681" y="1386366"/>
                  </a:moveTo>
                  <a:lnTo>
                    <a:pt x="1023986" y="1300832"/>
                  </a:lnTo>
                  <a:cubicBezTo>
                    <a:pt x="1044845" y="1288735"/>
                    <a:pt x="1051703" y="1253683"/>
                    <a:pt x="1034463" y="1210344"/>
                  </a:cubicBezTo>
                  <a:lnTo>
                    <a:pt x="665274" y="284800"/>
                  </a:lnTo>
                  <a:cubicBezTo>
                    <a:pt x="662226" y="277370"/>
                    <a:pt x="658702" y="270036"/>
                    <a:pt x="654892" y="263368"/>
                  </a:cubicBezTo>
                  <a:cubicBezTo>
                    <a:pt x="654892" y="263368"/>
                    <a:pt x="654892" y="263368"/>
                    <a:pt x="654892" y="263178"/>
                  </a:cubicBezTo>
                  <a:lnTo>
                    <a:pt x="654606" y="262606"/>
                  </a:lnTo>
                  <a:cubicBezTo>
                    <a:pt x="628317" y="217363"/>
                    <a:pt x="584883" y="192407"/>
                    <a:pt x="558689" y="207647"/>
                  </a:cubicBezTo>
                  <a:lnTo>
                    <a:pt x="408861" y="294134"/>
                  </a:lnTo>
                  <a:cubicBezTo>
                    <a:pt x="404956" y="296420"/>
                    <a:pt x="401432" y="299468"/>
                    <a:pt x="398384" y="303564"/>
                  </a:cubicBezTo>
                  <a:lnTo>
                    <a:pt x="61008" y="759526"/>
                  </a:lnTo>
                  <a:cubicBezTo>
                    <a:pt x="-66246" y="361857"/>
                    <a:pt x="37958" y="32863"/>
                    <a:pt x="310468" y="8575"/>
                  </a:cubicBezTo>
                  <a:cubicBezTo>
                    <a:pt x="600599" y="-17333"/>
                    <a:pt x="971598" y="311660"/>
                    <a:pt x="1139048" y="743333"/>
                  </a:cubicBezTo>
                  <a:cubicBezTo>
                    <a:pt x="1306592" y="1175006"/>
                    <a:pt x="1207247" y="1545910"/>
                    <a:pt x="917115" y="1571913"/>
                  </a:cubicBezTo>
                  <a:cubicBezTo>
                    <a:pt x="664703" y="1594487"/>
                    <a:pt x="351235" y="1348457"/>
                    <a:pt x="163688" y="999937"/>
                  </a:cubicBezTo>
                  <a:lnTo>
                    <a:pt x="826247" y="1382461"/>
                  </a:lnTo>
                  <a:cubicBezTo>
                    <a:pt x="846440" y="1394081"/>
                    <a:pt x="863680" y="1394367"/>
                    <a:pt x="875777" y="138646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81" name="Freeform: Shape 5180">
              <a:extLst>
                <a:ext uri="{FF2B5EF4-FFF2-40B4-BE49-F238E27FC236}">
                  <a16:creationId xmlns:a16="http://schemas.microsoft.com/office/drawing/2014/main" id="{3F635EB5-4F3B-445F-AD48-093BECF07B5C}"/>
                </a:ext>
              </a:extLst>
            </p:cNvPr>
            <p:cNvSpPr/>
            <p:nvPr/>
          </p:nvSpPr>
          <p:spPr>
            <a:xfrm>
              <a:off x="7791138" y="4666548"/>
              <a:ext cx="647700" cy="1190625"/>
            </a:xfrm>
            <a:custGeom>
              <a:avLst/>
              <a:gdLst>
                <a:gd name="connsiteX0" fmla="*/ 630841 w 647700"/>
                <a:gd name="connsiteY0" fmla="*/ 1014320 h 1190625"/>
                <a:gd name="connsiteX1" fmla="*/ 620363 w 647700"/>
                <a:gd name="connsiteY1" fmla="*/ 1104808 h 1190625"/>
                <a:gd name="connsiteX2" fmla="*/ 472059 w 647700"/>
                <a:gd name="connsiteY2" fmla="*/ 1190342 h 1190625"/>
                <a:gd name="connsiteX3" fmla="*/ 481203 w 647700"/>
                <a:gd name="connsiteY3" fmla="*/ 1100807 h 1190625"/>
                <a:gd name="connsiteX4" fmla="*/ 111919 w 647700"/>
                <a:gd name="connsiteY4" fmla="*/ 175263 h 1190625"/>
                <a:gd name="connsiteX5" fmla="*/ 101537 w 647700"/>
                <a:gd name="connsiteY5" fmla="*/ 153832 h 1190625"/>
                <a:gd name="connsiteX6" fmla="*/ 101346 w 647700"/>
                <a:gd name="connsiteY6" fmla="*/ 153641 h 1190625"/>
                <a:gd name="connsiteX7" fmla="*/ 101060 w 647700"/>
                <a:gd name="connsiteY7" fmla="*/ 153070 h 1190625"/>
                <a:gd name="connsiteX8" fmla="*/ 7144 w 647700"/>
                <a:gd name="connsiteY8" fmla="*/ 96968 h 1190625"/>
                <a:gd name="connsiteX9" fmla="*/ 154972 w 647700"/>
                <a:gd name="connsiteY9" fmla="*/ 11624 h 1190625"/>
                <a:gd name="connsiteX10" fmla="*/ 250889 w 647700"/>
                <a:gd name="connsiteY10" fmla="*/ 66583 h 1190625"/>
                <a:gd name="connsiteX11" fmla="*/ 251174 w 647700"/>
                <a:gd name="connsiteY11" fmla="*/ 67154 h 1190625"/>
                <a:gd name="connsiteX12" fmla="*/ 251174 w 647700"/>
                <a:gd name="connsiteY12" fmla="*/ 67345 h 1190625"/>
                <a:gd name="connsiteX13" fmla="*/ 261557 w 647700"/>
                <a:gd name="connsiteY13" fmla="*/ 88776 h 1190625"/>
                <a:gd name="connsiteX14" fmla="*/ 630746 w 647700"/>
                <a:gd name="connsiteY14" fmla="*/ 1014320 h 1190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47700" h="1190625">
                  <a:moveTo>
                    <a:pt x="630841" y="1014320"/>
                  </a:moveTo>
                  <a:cubicBezTo>
                    <a:pt x="648176" y="1057659"/>
                    <a:pt x="641223" y="1092711"/>
                    <a:pt x="620363" y="1104808"/>
                  </a:cubicBezTo>
                  <a:lnTo>
                    <a:pt x="472059" y="1190342"/>
                  </a:lnTo>
                  <a:cubicBezTo>
                    <a:pt x="491776" y="1177484"/>
                    <a:pt x="497967" y="1143098"/>
                    <a:pt x="481203" y="1100807"/>
                  </a:cubicBezTo>
                  <a:lnTo>
                    <a:pt x="111919" y="175263"/>
                  </a:lnTo>
                  <a:cubicBezTo>
                    <a:pt x="108871" y="167834"/>
                    <a:pt x="105347" y="160499"/>
                    <a:pt x="101537" y="153832"/>
                  </a:cubicBezTo>
                  <a:cubicBezTo>
                    <a:pt x="101537" y="153832"/>
                    <a:pt x="101537" y="153832"/>
                    <a:pt x="101346" y="153641"/>
                  </a:cubicBezTo>
                  <a:lnTo>
                    <a:pt x="101060" y="153070"/>
                  </a:lnTo>
                  <a:cubicBezTo>
                    <a:pt x="75438" y="108969"/>
                    <a:pt x="33528" y="84204"/>
                    <a:pt x="7144" y="96968"/>
                  </a:cubicBezTo>
                  <a:lnTo>
                    <a:pt x="154972" y="11624"/>
                  </a:lnTo>
                  <a:cubicBezTo>
                    <a:pt x="181166" y="-3616"/>
                    <a:pt x="224599" y="21339"/>
                    <a:pt x="250889" y="66583"/>
                  </a:cubicBezTo>
                  <a:lnTo>
                    <a:pt x="251174" y="67154"/>
                  </a:lnTo>
                  <a:cubicBezTo>
                    <a:pt x="251174" y="67154"/>
                    <a:pt x="251174" y="67345"/>
                    <a:pt x="251174" y="67345"/>
                  </a:cubicBezTo>
                  <a:cubicBezTo>
                    <a:pt x="254984" y="74012"/>
                    <a:pt x="258509" y="81251"/>
                    <a:pt x="261557" y="88776"/>
                  </a:cubicBezTo>
                  <a:lnTo>
                    <a:pt x="630746" y="1014320"/>
                  </a:lnTo>
                  <a:close/>
                </a:path>
              </a:pathLst>
            </a:custGeom>
            <a:solidFill>
              <a:srgbClr val="373A3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82" name="Freeform: Shape 5181">
              <a:extLst>
                <a:ext uri="{FF2B5EF4-FFF2-40B4-BE49-F238E27FC236}">
                  <a16:creationId xmlns:a16="http://schemas.microsoft.com/office/drawing/2014/main" id="{2F284C34-C819-4797-A526-67E9BA32788E}"/>
                </a:ext>
              </a:extLst>
            </p:cNvPr>
            <p:cNvSpPr/>
            <p:nvPr/>
          </p:nvSpPr>
          <p:spPr>
            <a:xfrm>
              <a:off x="7399607" y="4753170"/>
              <a:ext cx="885825" cy="1114425"/>
            </a:xfrm>
            <a:custGeom>
              <a:avLst/>
              <a:gdLst>
                <a:gd name="connsiteX0" fmla="*/ 872638 w 885825"/>
                <a:gd name="connsiteY0" fmla="*/ 1014186 h 1114425"/>
                <a:gd name="connsiteX1" fmla="*/ 863494 w 885825"/>
                <a:gd name="connsiteY1" fmla="*/ 1103721 h 1114425"/>
                <a:gd name="connsiteX2" fmla="*/ 813964 w 885825"/>
                <a:gd name="connsiteY2" fmla="*/ 1099721 h 1114425"/>
                <a:gd name="connsiteX3" fmla="*/ 75491 w 885825"/>
                <a:gd name="connsiteY3" fmla="*/ 673382 h 1114425"/>
                <a:gd name="connsiteX4" fmla="*/ 27580 w 885825"/>
                <a:gd name="connsiteY4" fmla="*/ 622994 h 1114425"/>
                <a:gd name="connsiteX5" fmla="*/ 27389 w 885825"/>
                <a:gd name="connsiteY5" fmla="*/ 622804 h 1114425"/>
                <a:gd name="connsiteX6" fmla="*/ 25770 w 885825"/>
                <a:gd name="connsiteY6" fmla="*/ 619851 h 1114425"/>
                <a:gd name="connsiteX7" fmla="*/ 16817 w 885825"/>
                <a:gd name="connsiteY7" fmla="*/ 520220 h 1114425"/>
                <a:gd name="connsiteX8" fmla="*/ 386196 w 885825"/>
                <a:gd name="connsiteY8" fmla="*/ 21014 h 1114425"/>
                <a:gd name="connsiteX9" fmla="*/ 396674 w 885825"/>
                <a:gd name="connsiteY9" fmla="*/ 11585 h 1114425"/>
                <a:gd name="connsiteX10" fmla="*/ 398674 w 885825"/>
                <a:gd name="connsiteY10" fmla="*/ 10537 h 1114425"/>
                <a:gd name="connsiteX11" fmla="*/ 492590 w 885825"/>
                <a:gd name="connsiteY11" fmla="*/ 66639 h 1114425"/>
                <a:gd name="connsiteX12" fmla="*/ 492876 w 885825"/>
                <a:gd name="connsiteY12" fmla="*/ 67211 h 1114425"/>
                <a:gd name="connsiteX13" fmla="*/ 493067 w 885825"/>
                <a:gd name="connsiteY13" fmla="*/ 67401 h 1114425"/>
                <a:gd name="connsiteX14" fmla="*/ 503449 w 885825"/>
                <a:gd name="connsiteY14" fmla="*/ 88832 h 1114425"/>
                <a:gd name="connsiteX15" fmla="*/ 872638 w 885825"/>
                <a:gd name="connsiteY15" fmla="*/ 1014377 h 1114425"/>
                <a:gd name="connsiteX16" fmla="*/ 485542 w 885825"/>
                <a:gd name="connsiteY16" fmla="*/ 365438 h 1114425"/>
                <a:gd name="connsiteX17" fmla="*/ 485542 w 885825"/>
                <a:gd name="connsiteY17" fmla="*/ 342293 h 1114425"/>
                <a:gd name="connsiteX18" fmla="*/ 435631 w 885825"/>
                <a:gd name="connsiteY18" fmla="*/ 256091 h 1114425"/>
                <a:gd name="connsiteX19" fmla="*/ 385910 w 885825"/>
                <a:gd name="connsiteY19" fmla="*/ 284666 h 1114425"/>
                <a:gd name="connsiteX20" fmla="*/ 385910 w 885825"/>
                <a:gd name="connsiteY20" fmla="*/ 307907 h 1114425"/>
                <a:gd name="connsiteX21" fmla="*/ 399531 w 885825"/>
                <a:gd name="connsiteY21" fmla="*/ 511266 h 1114425"/>
                <a:gd name="connsiteX22" fmla="*/ 411056 w 885825"/>
                <a:gd name="connsiteY22" fmla="*/ 545080 h 1114425"/>
                <a:gd name="connsiteX23" fmla="*/ 435440 w 885825"/>
                <a:gd name="connsiteY23" fmla="*/ 570226 h 1114425"/>
                <a:gd name="connsiteX24" fmla="*/ 471350 w 885825"/>
                <a:gd name="connsiteY24" fmla="*/ 552890 h 1114425"/>
                <a:gd name="connsiteX25" fmla="*/ 485447 w 885825"/>
                <a:gd name="connsiteY25" fmla="*/ 365438 h 1114425"/>
                <a:gd name="connsiteX26" fmla="*/ 484875 w 885825"/>
                <a:gd name="connsiteY26" fmla="*/ 707291 h 1114425"/>
                <a:gd name="connsiteX27" fmla="*/ 470588 w 885825"/>
                <a:gd name="connsiteY27" fmla="*/ 658523 h 1114425"/>
                <a:gd name="connsiteX28" fmla="*/ 435440 w 885825"/>
                <a:gd name="connsiteY28" fmla="*/ 621756 h 1114425"/>
                <a:gd name="connsiteX29" fmla="*/ 400293 w 885825"/>
                <a:gd name="connsiteY29" fmla="*/ 617946 h 1114425"/>
                <a:gd name="connsiteX30" fmla="*/ 385815 w 885825"/>
                <a:gd name="connsiteY30" fmla="*/ 650236 h 1114425"/>
                <a:gd name="connsiteX31" fmla="*/ 400293 w 885825"/>
                <a:gd name="connsiteY31" fmla="*/ 699099 h 1114425"/>
                <a:gd name="connsiteX32" fmla="*/ 435440 w 885825"/>
                <a:gd name="connsiteY32" fmla="*/ 735961 h 1114425"/>
                <a:gd name="connsiteX33" fmla="*/ 470588 w 885825"/>
                <a:gd name="connsiteY33" fmla="*/ 739580 h 1114425"/>
                <a:gd name="connsiteX34" fmla="*/ 484875 w 885825"/>
                <a:gd name="connsiteY34" fmla="*/ 707291 h 1114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885825" h="1114425">
                  <a:moveTo>
                    <a:pt x="872638" y="1014186"/>
                  </a:moveTo>
                  <a:cubicBezTo>
                    <a:pt x="889497" y="1056477"/>
                    <a:pt x="883306" y="1090862"/>
                    <a:pt x="863494" y="1103721"/>
                  </a:cubicBezTo>
                  <a:cubicBezTo>
                    <a:pt x="851397" y="1111627"/>
                    <a:pt x="834157" y="1111341"/>
                    <a:pt x="813964" y="1099721"/>
                  </a:cubicBezTo>
                  <a:lnTo>
                    <a:pt x="75491" y="673382"/>
                  </a:lnTo>
                  <a:cubicBezTo>
                    <a:pt x="56155" y="662237"/>
                    <a:pt x="39581" y="643759"/>
                    <a:pt x="27580" y="622994"/>
                  </a:cubicBezTo>
                  <a:cubicBezTo>
                    <a:pt x="27580" y="622994"/>
                    <a:pt x="27580" y="622994"/>
                    <a:pt x="27389" y="622804"/>
                  </a:cubicBezTo>
                  <a:lnTo>
                    <a:pt x="25770" y="619851"/>
                  </a:lnTo>
                  <a:cubicBezTo>
                    <a:pt x="6244" y="584228"/>
                    <a:pt x="148" y="542889"/>
                    <a:pt x="16817" y="520220"/>
                  </a:cubicBezTo>
                  <a:lnTo>
                    <a:pt x="386196" y="21014"/>
                  </a:lnTo>
                  <a:cubicBezTo>
                    <a:pt x="389244" y="16919"/>
                    <a:pt x="392768" y="13870"/>
                    <a:pt x="396674" y="11585"/>
                  </a:cubicBezTo>
                  <a:lnTo>
                    <a:pt x="398674" y="10537"/>
                  </a:lnTo>
                  <a:cubicBezTo>
                    <a:pt x="425058" y="-2322"/>
                    <a:pt x="466968" y="22443"/>
                    <a:pt x="492590" y="66639"/>
                  </a:cubicBezTo>
                  <a:lnTo>
                    <a:pt x="492876" y="67211"/>
                  </a:lnTo>
                  <a:cubicBezTo>
                    <a:pt x="492876" y="67211"/>
                    <a:pt x="492876" y="67211"/>
                    <a:pt x="493067" y="67401"/>
                  </a:cubicBezTo>
                  <a:cubicBezTo>
                    <a:pt x="496877" y="74069"/>
                    <a:pt x="500401" y="81308"/>
                    <a:pt x="503449" y="88832"/>
                  </a:cubicBezTo>
                  <a:lnTo>
                    <a:pt x="872638" y="1014377"/>
                  </a:lnTo>
                  <a:close/>
                  <a:moveTo>
                    <a:pt x="485542" y="365438"/>
                  </a:moveTo>
                  <a:lnTo>
                    <a:pt x="485542" y="342293"/>
                  </a:lnTo>
                  <a:cubicBezTo>
                    <a:pt x="485542" y="310574"/>
                    <a:pt x="463253" y="271998"/>
                    <a:pt x="435631" y="256091"/>
                  </a:cubicBezTo>
                  <a:cubicBezTo>
                    <a:pt x="408199" y="240280"/>
                    <a:pt x="386006" y="253043"/>
                    <a:pt x="385910" y="284666"/>
                  </a:cubicBezTo>
                  <a:lnTo>
                    <a:pt x="385910" y="307907"/>
                  </a:lnTo>
                  <a:lnTo>
                    <a:pt x="399531" y="511266"/>
                  </a:lnTo>
                  <a:cubicBezTo>
                    <a:pt x="400388" y="522506"/>
                    <a:pt x="404675" y="534602"/>
                    <a:pt x="411056" y="545080"/>
                  </a:cubicBezTo>
                  <a:cubicBezTo>
                    <a:pt x="417438" y="555653"/>
                    <a:pt x="426106" y="564701"/>
                    <a:pt x="435440" y="570226"/>
                  </a:cubicBezTo>
                  <a:cubicBezTo>
                    <a:pt x="454205" y="581180"/>
                    <a:pt x="469826" y="573464"/>
                    <a:pt x="471350" y="552890"/>
                  </a:cubicBezTo>
                  <a:lnTo>
                    <a:pt x="485447" y="365438"/>
                  </a:lnTo>
                  <a:close/>
                  <a:moveTo>
                    <a:pt x="484875" y="707291"/>
                  </a:moveTo>
                  <a:cubicBezTo>
                    <a:pt x="484875" y="691289"/>
                    <a:pt x="480017" y="674906"/>
                    <a:pt x="470588" y="658523"/>
                  </a:cubicBezTo>
                  <a:cubicBezTo>
                    <a:pt x="461063" y="641949"/>
                    <a:pt x="449347" y="629757"/>
                    <a:pt x="435440" y="621756"/>
                  </a:cubicBezTo>
                  <a:cubicBezTo>
                    <a:pt x="421534" y="613565"/>
                    <a:pt x="409818" y="612231"/>
                    <a:pt x="400293" y="617946"/>
                  </a:cubicBezTo>
                  <a:cubicBezTo>
                    <a:pt x="390673" y="623375"/>
                    <a:pt x="385815" y="634139"/>
                    <a:pt x="385815" y="650236"/>
                  </a:cubicBezTo>
                  <a:cubicBezTo>
                    <a:pt x="385815" y="666333"/>
                    <a:pt x="390673" y="682430"/>
                    <a:pt x="400293" y="699099"/>
                  </a:cubicBezTo>
                  <a:cubicBezTo>
                    <a:pt x="409723" y="715482"/>
                    <a:pt x="421534" y="727960"/>
                    <a:pt x="435440" y="735961"/>
                  </a:cubicBezTo>
                  <a:cubicBezTo>
                    <a:pt x="449252" y="743867"/>
                    <a:pt x="460967" y="745200"/>
                    <a:pt x="470588" y="739580"/>
                  </a:cubicBezTo>
                  <a:cubicBezTo>
                    <a:pt x="480017" y="733961"/>
                    <a:pt x="484875" y="723293"/>
                    <a:pt x="484875" y="707291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83" name="Freeform: Shape 5182">
              <a:extLst>
                <a:ext uri="{FF2B5EF4-FFF2-40B4-BE49-F238E27FC236}">
                  <a16:creationId xmlns:a16="http://schemas.microsoft.com/office/drawing/2014/main" id="{2A91A0D7-D935-4194-BE70-E1D19B3B7019}"/>
                </a:ext>
              </a:extLst>
            </p:cNvPr>
            <p:cNvSpPr/>
            <p:nvPr/>
          </p:nvSpPr>
          <p:spPr>
            <a:xfrm>
              <a:off x="7778469" y="4995429"/>
              <a:ext cx="104775" cy="333375"/>
            </a:xfrm>
            <a:custGeom>
              <a:avLst/>
              <a:gdLst>
                <a:gd name="connsiteX0" fmla="*/ 106680 w 104775"/>
                <a:gd name="connsiteY0" fmla="*/ 100129 h 333375"/>
                <a:gd name="connsiteX1" fmla="*/ 106680 w 104775"/>
                <a:gd name="connsiteY1" fmla="*/ 123274 h 333375"/>
                <a:gd name="connsiteX2" fmla="*/ 92583 w 104775"/>
                <a:gd name="connsiteY2" fmla="*/ 310726 h 333375"/>
                <a:gd name="connsiteX3" fmla="*/ 56674 w 104775"/>
                <a:gd name="connsiteY3" fmla="*/ 328062 h 333375"/>
                <a:gd name="connsiteX4" fmla="*/ 32290 w 104775"/>
                <a:gd name="connsiteY4" fmla="*/ 302916 h 333375"/>
                <a:gd name="connsiteX5" fmla="*/ 20765 w 104775"/>
                <a:gd name="connsiteY5" fmla="*/ 269102 h 333375"/>
                <a:gd name="connsiteX6" fmla="*/ 7144 w 104775"/>
                <a:gd name="connsiteY6" fmla="*/ 65743 h 333375"/>
                <a:gd name="connsiteX7" fmla="*/ 7144 w 104775"/>
                <a:gd name="connsiteY7" fmla="*/ 42502 h 333375"/>
                <a:gd name="connsiteX8" fmla="*/ 56864 w 104775"/>
                <a:gd name="connsiteY8" fmla="*/ 13927 h 333375"/>
                <a:gd name="connsiteX9" fmla="*/ 106775 w 104775"/>
                <a:gd name="connsiteY9" fmla="*/ 100129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4775" h="333375">
                  <a:moveTo>
                    <a:pt x="106680" y="100129"/>
                  </a:moveTo>
                  <a:lnTo>
                    <a:pt x="106680" y="123274"/>
                  </a:lnTo>
                  <a:lnTo>
                    <a:pt x="92583" y="310726"/>
                  </a:lnTo>
                  <a:cubicBezTo>
                    <a:pt x="91059" y="331396"/>
                    <a:pt x="75343" y="339016"/>
                    <a:pt x="56674" y="328062"/>
                  </a:cubicBezTo>
                  <a:cubicBezTo>
                    <a:pt x="47339" y="322633"/>
                    <a:pt x="38672" y="313489"/>
                    <a:pt x="32290" y="302916"/>
                  </a:cubicBezTo>
                  <a:cubicBezTo>
                    <a:pt x="25813" y="292343"/>
                    <a:pt x="21527" y="280342"/>
                    <a:pt x="20765" y="269102"/>
                  </a:cubicBezTo>
                  <a:lnTo>
                    <a:pt x="7144" y="65743"/>
                  </a:lnTo>
                  <a:lnTo>
                    <a:pt x="7144" y="42502"/>
                  </a:lnTo>
                  <a:cubicBezTo>
                    <a:pt x="7144" y="10879"/>
                    <a:pt x="29528" y="-1884"/>
                    <a:pt x="56864" y="13927"/>
                  </a:cubicBezTo>
                  <a:cubicBezTo>
                    <a:pt x="84487" y="29834"/>
                    <a:pt x="106775" y="68410"/>
                    <a:pt x="106775" y="10012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84" name="Freeform: Shape 5183">
              <a:extLst>
                <a:ext uri="{FF2B5EF4-FFF2-40B4-BE49-F238E27FC236}">
                  <a16:creationId xmlns:a16="http://schemas.microsoft.com/office/drawing/2014/main" id="{EEC04AC1-61F1-45C2-8A58-93D43E62699D}"/>
                </a:ext>
              </a:extLst>
            </p:cNvPr>
            <p:cNvSpPr/>
            <p:nvPr/>
          </p:nvSpPr>
          <p:spPr>
            <a:xfrm>
              <a:off x="7778279" y="5360484"/>
              <a:ext cx="104775" cy="133350"/>
            </a:xfrm>
            <a:custGeom>
              <a:avLst/>
              <a:gdLst>
                <a:gd name="connsiteX0" fmla="*/ 91916 w 104775"/>
                <a:gd name="connsiteY0" fmla="*/ 51208 h 133350"/>
                <a:gd name="connsiteX1" fmla="*/ 106204 w 104775"/>
                <a:gd name="connsiteY1" fmla="*/ 99976 h 133350"/>
                <a:gd name="connsiteX2" fmla="*/ 91916 w 104775"/>
                <a:gd name="connsiteY2" fmla="*/ 132266 h 133350"/>
                <a:gd name="connsiteX3" fmla="*/ 56769 w 104775"/>
                <a:gd name="connsiteY3" fmla="*/ 128647 h 133350"/>
                <a:gd name="connsiteX4" fmla="*/ 21622 w 104775"/>
                <a:gd name="connsiteY4" fmla="*/ 91785 h 133350"/>
                <a:gd name="connsiteX5" fmla="*/ 7144 w 104775"/>
                <a:gd name="connsiteY5" fmla="*/ 42922 h 133350"/>
                <a:gd name="connsiteX6" fmla="*/ 21622 w 104775"/>
                <a:gd name="connsiteY6" fmla="*/ 10632 h 133350"/>
                <a:gd name="connsiteX7" fmla="*/ 56769 w 104775"/>
                <a:gd name="connsiteY7" fmla="*/ 14442 h 133350"/>
                <a:gd name="connsiteX8" fmla="*/ 91916 w 104775"/>
                <a:gd name="connsiteY8" fmla="*/ 51208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4775" h="133350">
                  <a:moveTo>
                    <a:pt x="91916" y="51208"/>
                  </a:moveTo>
                  <a:cubicBezTo>
                    <a:pt x="101346" y="67591"/>
                    <a:pt x="106204" y="83974"/>
                    <a:pt x="106204" y="99976"/>
                  </a:cubicBezTo>
                  <a:cubicBezTo>
                    <a:pt x="106204" y="115978"/>
                    <a:pt x="101346" y="126646"/>
                    <a:pt x="91916" y="132266"/>
                  </a:cubicBezTo>
                  <a:cubicBezTo>
                    <a:pt x="82391" y="137791"/>
                    <a:pt x="70580" y="136552"/>
                    <a:pt x="56769" y="128647"/>
                  </a:cubicBezTo>
                  <a:cubicBezTo>
                    <a:pt x="42863" y="120646"/>
                    <a:pt x="31147" y="108168"/>
                    <a:pt x="21622" y="91785"/>
                  </a:cubicBezTo>
                  <a:cubicBezTo>
                    <a:pt x="12002" y="75116"/>
                    <a:pt x="7144" y="58828"/>
                    <a:pt x="7144" y="42922"/>
                  </a:cubicBezTo>
                  <a:cubicBezTo>
                    <a:pt x="7144" y="27015"/>
                    <a:pt x="12002" y="16061"/>
                    <a:pt x="21622" y="10632"/>
                  </a:cubicBezTo>
                  <a:cubicBezTo>
                    <a:pt x="31052" y="4917"/>
                    <a:pt x="42863" y="6250"/>
                    <a:pt x="56769" y="14442"/>
                  </a:cubicBezTo>
                  <a:cubicBezTo>
                    <a:pt x="70676" y="22443"/>
                    <a:pt x="82296" y="34635"/>
                    <a:pt x="91916" y="5120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85" name="Freeform: Shape 5184">
              <a:extLst>
                <a:ext uri="{FF2B5EF4-FFF2-40B4-BE49-F238E27FC236}">
                  <a16:creationId xmlns:a16="http://schemas.microsoft.com/office/drawing/2014/main" id="{246E1D76-2C10-40DC-82C1-2A18A9BEC79B}"/>
                </a:ext>
              </a:extLst>
            </p:cNvPr>
            <p:cNvSpPr/>
            <p:nvPr/>
          </p:nvSpPr>
          <p:spPr>
            <a:xfrm>
              <a:off x="7385964" y="4743930"/>
              <a:ext cx="428625" cy="647700"/>
            </a:xfrm>
            <a:custGeom>
              <a:avLst/>
              <a:gdLst>
                <a:gd name="connsiteX0" fmla="*/ 39508 w 428625"/>
                <a:gd name="connsiteY0" fmla="*/ 642712 h 647700"/>
                <a:gd name="connsiteX1" fmla="*/ 27507 w 428625"/>
                <a:gd name="connsiteY1" fmla="*/ 635663 h 647700"/>
                <a:gd name="connsiteX2" fmla="*/ 19601 w 428625"/>
                <a:gd name="connsiteY2" fmla="*/ 521363 h 647700"/>
                <a:gd name="connsiteX3" fmla="*/ 388885 w 428625"/>
                <a:gd name="connsiteY3" fmla="*/ 22158 h 647700"/>
                <a:gd name="connsiteX4" fmla="*/ 403459 w 428625"/>
                <a:gd name="connsiteY4" fmla="*/ 9013 h 647700"/>
                <a:gd name="connsiteX5" fmla="*/ 422128 w 428625"/>
                <a:gd name="connsiteY5" fmla="*/ 13966 h 647700"/>
                <a:gd name="connsiteX6" fmla="*/ 417175 w 428625"/>
                <a:gd name="connsiteY6" fmla="*/ 32636 h 647700"/>
                <a:gd name="connsiteX7" fmla="*/ 410888 w 428625"/>
                <a:gd name="connsiteY7" fmla="*/ 38350 h 647700"/>
                <a:gd name="connsiteX8" fmla="*/ 41509 w 428625"/>
                <a:gd name="connsiteY8" fmla="*/ 537556 h 647700"/>
                <a:gd name="connsiteX9" fmla="*/ 51415 w 428625"/>
                <a:gd name="connsiteY9" fmla="*/ 622519 h 647700"/>
                <a:gd name="connsiteX10" fmla="*/ 45985 w 428625"/>
                <a:gd name="connsiteY10" fmla="*/ 641093 h 647700"/>
                <a:gd name="connsiteX11" fmla="*/ 39413 w 428625"/>
                <a:gd name="connsiteY11" fmla="*/ 642807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8625" h="647700">
                  <a:moveTo>
                    <a:pt x="39508" y="642712"/>
                  </a:moveTo>
                  <a:cubicBezTo>
                    <a:pt x="34651" y="642712"/>
                    <a:pt x="29983" y="640140"/>
                    <a:pt x="27507" y="635663"/>
                  </a:cubicBezTo>
                  <a:cubicBezTo>
                    <a:pt x="3599" y="592134"/>
                    <a:pt x="456" y="547176"/>
                    <a:pt x="19601" y="521363"/>
                  </a:cubicBezTo>
                  <a:lnTo>
                    <a:pt x="388885" y="22158"/>
                  </a:lnTo>
                  <a:cubicBezTo>
                    <a:pt x="392886" y="16729"/>
                    <a:pt x="397744" y="12347"/>
                    <a:pt x="403459" y="9013"/>
                  </a:cubicBezTo>
                  <a:cubicBezTo>
                    <a:pt x="409936" y="5203"/>
                    <a:pt x="418318" y="7394"/>
                    <a:pt x="422128" y="13966"/>
                  </a:cubicBezTo>
                  <a:cubicBezTo>
                    <a:pt x="425938" y="20443"/>
                    <a:pt x="423747" y="28825"/>
                    <a:pt x="417175" y="32636"/>
                  </a:cubicBezTo>
                  <a:cubicBezTo>
                    <a:pt x="414698" y="34064"/>
                    <a:pt x="412603" y="35969"/>
                    <a:pt x="410888" y="38350"/>
                  </a:cubicBezTo>
                  <a:lnTo>
                    <a:pt x="41509" y="537556"/>
                  </a:lnTo>
                  <a:cubicBezTo>
                    <a:pt x="29317" y="554129"/>
                    <a:pt x="33412" y="589848"/>
                    <a:pt x="51415" y="622519"/>
                  </a:cubicBezTo>
                  <a:cubicBezTo>
                    <a:pt x="55034" y="629091"/>
                    <a:pt x="52653" y="637473"/>
                    <a:pt x="45985" y="641093"/>
                  </a:cubicBezTo>
                  <a:cubicBezTo>
                    <a:pt x="43890" y="642235"/>
                    <a:pt x="41604" y="642807"/>
                    <a:pt x="39413" y="642807"/>
                  </a:cubicBezTo>
                  <a:close/>
                </a:path>
              </a:pathLst>
            </a:custGeom>
            <a:solidFill>
              <a:srgbClr val="373A3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86" name="Freeform: Shape 5185">
              <a:extLst>
                <a:ext uri="{FF2B5EF4-FFF2-40B4-BE49-F238E27FC236}">
                  <a16:creationId xmlns:a16="http://schemas.microsoft.com/office/drawing/2014/main" id="{05F0C34C-CA02-4C28-9DDB-83DD63A7BE0A}"/>
                </a:ext>
              </a:extLst>
            </p:cNvPr>
            <p:cNvSpPr/>
            <p:nvPr/>
          </p:nvSpPr>
          <p:spPr>
            <a:xfrm>
              <a:off x="7777456" y="4739531"/>
              <a:ext cx="133350" cy="95250"/>
            </a:xfrm>
            <a:custGeom>
              <a:avLst/>
              <a:gdLst>
                <a:gd name="connsiteX0" fmla="*/ 114742 w 133350"/>
                <a:gd name="connsiteY0" fmla="*/ 93804 h 95250"/>
                <a:gd name="connsiteX1" fmla="*/ 102931 w 133350"/>
                <a:gd name="connsiteY1" fmla="*/ 87041 h 95250"/>
                <a:gd name="connsiteX2" fmla="*/ 26826 w 133350"/>
                <a:gd name="connsiteY2" fmla="*/ 36368 h 95250"/>
                <a:gd name="connsiteX3" fmla="*/ 8538 w 133350"/>
                <a:gd name="connsiteY3" fmla="*/ 30082 h 95250"/>
                <a:gd name="connsiteX4" fmla="*/ 14825 w 133350"/>
                <a:gd name="connsiteY4" fmla="*/ 11793 h 95250"/>
                <a:gd name="connsiteX5" fmla="*/ 126553 w 133350"/>
                <a:gd name="connsiteY5" fmla="*/ 73230 h 95250"/>
                <a:gd name="connsiteX6" fmla="*/ 121600 w 133350"/>
                <a:gd name="connsiteY6" fmla="*/ 91899 h 95250"/>
                <a:gd name="connsiteX7" fmla="*/ 114742 w 133350"/>
                <a:gd name="connsiteY7" fmla="*/ 9370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3350" h="95250">
                  <a:moveTo>
                    <a:pt x="114742" y="93804"/>
                  </a:moveTo>
                  <a:cubicBezTo>
                    <a:pt x="110075" y="93804"/>
                    <a:pt x="105503" y="91327"/>
                    <a:pt x="102931" y="87041"/>
                  </a:cubicBezTo>
                  <a:cubicBezTo>
                    <a:pt x="79500" y="46750"/>
                    <a:pt x="44067" y="27986"/>
                    <a:pt x="26826" y="36368"/>
                  </a:cubicBezTo>
                  <a:cubicBezTo>
                    <a:pt x="20064" y="39607"/>
                    <a:pt x="11872" y="36844"/>
                    <a:pt x="8538" y="30082"/>
                  </a:cubicBezTo>
                  <a:cubicBezTo>
                    <a:pt x="5205" y="23319"/>
                    <a:pt x="8062" y="15127"/>
                    <a:pt x="14825" y="11793"/>
                  </a:cubicBezTo>
                  <a:cubicBezTo>
                    <a:pt x="48067" y="-4304"/>
                    <a:pt x="97121" y="22652"/>
                    <a:pt x="126553" y="73230"/>
                  </a:cubicBezTo>
                  <a:cubicBezTo>
                    <a:pt x="130363" y="79707"/>
                    <a:pt x="128172" y="88089"/>
                    <a:pt x="121600" y="91899"/>
                  </a:cubicBezTo>
                  <a:cubicBezTo>
                    <a:pt x="119409" y="93137"/>
                    <a:pt x="117123" y="93708"/>
                    <a:pt x="114742" y="93708"/>
                  </a:cubicBezTo>
                  <a:close/>
                </a:path>
              </a:pathLst>
            </a:custGeom>
            <a:solidFill>
              <a:srgbClr val="373A3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87" name="Freeform: Shape 5186">
              <a:extLst>
                <a:ext uri="{FF2B5EF4-FFF2-40B4-BE49-F238E27FC236}">
                  <a16:creationId xmlns:a16="http://schemas.microsoft.com/office/drawing/2014/main" id="{39CC8454-E7DC-4894-BB29-80404CD57E6E}"/>
                </a:ext>
              </a:extLst>
            </p:cNvPr>
            <p:cNvSpPr/>
            <p:nvPr/>
          </p:nvSpPr>
          <p:spPr>
            <a:xfrm>
              <a:off x="7408328" y="4803711"/>
              <a:ext cx="885825" cy="1076325"/>
            </a:xfrm>
            <a:custGeom>
              <a:avLst/>
              <a:gdLst>
                <a:gd name="connsiteX0" fmla="*/ 835724 w 885825"/>
                <a:gd name="connsiteY0" fmla="*/ 1072325 h 1076325"/>
                <a:gd name="connsiteX1" fmla="*/ 798481 w 885825"/>
                <a:gd name="connsiteY1" fmla="*/ 1060990 h 1076325"/>
                <a:gd name="connsiteX2" fmla="*/ 60008 w 885825"/>
                <a:gd name="connsiteY2" fmla="*/ 634651 h 1076325"/>
                <a:gd name="connsiteX3" fmla="*/ 7144 w 885825"/>
                <a:gd name="connsiteY3" fmla="*/ 579215 h 1076325"/>
                <a:gd name="connsiteX4" fmla="*/ 18764 w 885825"/>
                <a:gd name="connsiteY4" fmla="*/ 572262 h 1076325"/>
                <a:gd name="connsiteX5" fmla="*/ 28575 w 885825"/>
                <a:gd name="connsiteY5" fmla="*/ 562832 h 1076325"/>
                <a:gd name="connsiteX6" fmla="*/ 30766 w 885825"/>
                <a:gd name="connsiteY6" fmla="*/ 565690 h 1076325"/>
                <a:gd name="connsiteX7" fmla="*/ 73628 w 885825"/>
                <a:gd name="connsiteY7" fmla="*/ 611124 h 1076325"/>
                <a:gd name="connsiteX8" fmla="*/ 812197 w 885825"/>
                <a:gd name="connsiteY8" fmla="*/ 1037558 h 1076325"/>
                <a:gd name="connsiteX9" fmla="*/ 847439 w 885825"/>
                <a:gd name="connsiteY9" fmla="*/ 1041940 h 1076325"/>
                <a:gd name="connsiteX10" fmla="*/ 851345 w 885825"/>
                <a:gd name="connsiteY10" fmla="*/ 968883 h 1076325"/>
                <a:gd name="connsiteX11" fmla="*/ 482060 w 885825"/>
                <a:gd name="connsiteY11" fmla="*/ 43148 h 1076325"/>
                <a:gd name="connsiteX12" fmla="*/ 472535 w 885825"/>
                <a:gd name="connsiteY12" fmla="*/ 23527 h 1076325"/>
                <a:gd name="connsiteX13" fmla="*/ 484156 w 885825"/>
                <a:gd name="connsiteY13" fmla="*/ 16574 h 1076325"/>
                <a:gd name="connsiteX14" fmla="*/ 494062 w 885825"/>
                <a:gd name="connsiteY14" fmla="*/ 7144 h 1076325"/>
                <a:gd name="connsiteX15" fmla="*/ 496157 w 885825"/>
                <a:gd name="connsiteY15" fmla="*/ 9906 h 1076325"/>
                <a:gd name="connsiteX16" fmla="*/ 507397 w 885825"/>
                <a:gd name="connsiteY16" fmla="*/ 33052 h 1076325"/>
                <a:gd name="connsiteX17" fmla="*/ 876681 w 885825"/>
                <a:gd name="connsiteY17" fmla="*/ 958691 h 1076325"/>
                <a:gd name="connsiteX18" fmla="*/ 862298 w 885825"/>
                <a:gd name="connsiteY18" fmla="*/ 1064705 h 1076325"/>
                <a:gd name="connsiteX19" fmla="*/ 835724 w 885825"/>
                <a:gd name="connsiteY19" fmla="*/ 1072325 h 1076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85825" h="1076325">
                  <a:moveTo>
                    <a:pt x="835724" y="1072325"/>
                  </a:moveTo>
                  <a:cubicBezTo>
                    <a:pt x="825532" y="1072325"/>
                    <a:pt x="813149" y="1069467"/>
                    <a:pt x="798481" y="1060990"/>
                  </a:cubicBezTo>
                  <a:lnTo>
                    <a:pt x="60008" y="634651"/>
                  </a:lnTo>
                  <a:cubicBezTo>
                    <a:pt x="39815" y="623030"/>
                    <a:pt x="20955" y="603314"/>
                    <a:pt x="7144" y="579215"/>
                  </a:cubicBezTo>
                  <a:lnTo>
                    <a:pt x="18764" y="572262"/>
                  </a:lnTo>
                  <a:lnTo>
                    <a:pt x="28575" y="562832"/>
                  </a:lnTo>
                  <a:cubicBezTo>
                    <a:pt x="29432" y="563689"/>
                    <a:pt x="30194" y="564642"/>
                    <a:pt x="30766" y="565690"/>
                  </a:cubicBezTo>
                  <a:cubicBezTo>
                    <a:pt x="42291" y="585692"/>
                    <a:pt x="57436" y="601789"/>
                    <a:pt x="73628" y="611124"/>
                  </a:cubicBezTo>
                  <a:lnTo>
                    <a:pt x="812197" y="1037558"/>
                  </a:lnTo>
                  <a:cubicBezTo>
                    <a:pt x="826580" y="1045845"/>
                    <a:pt x="839057" y="1047464"/>
                    <a:pt x="847439" y="1041940"/>
                  </a:cubicBezTo>
                  <a:cubicBezTo>
                    <a:pt x="860489" y="1033463"/>
                    <a:pt x="866013" y="1005650"/>
                    <a:pt x="851345" y="968883"/>
                  </a:cubicBezTo>
                  <a:lnTo>
                    <a:pt x="482060" y="43148"/>
                  </a:lnTo>
                  <a:cubicBezTo>
                    <a:pt x="479393" y="36481"/>
                    <a:pt x="476060" y="29623"/>
                    <a:pt x="472535" y="23527"/>
                  </a:cubicBezTo>
                  <a:lnTo>
                    <a:pt x="484156" y="16574"/>
                  </a:lnTo>
                  <a:lnTo>
                    <a:pt x="494062" y="7144"/>
                  </a:lnTo>
                  <a:cubicBezTo>
                    <a:pt x="494824" y="7906"/>
                    <a:pt x="495681" y="8953"/>
                    <a:pt x="496157" y="9906"/>
                  </a:cubicBezTo>
                  <a:cubicBezTo>
                    <a:pt x="500348" y="17240"/>
                    <a:pt x="504158" y="24955"/>
                    <a:pt x="507397" y="33052"/>
                  </a:cubicBezTo>
                  <a:lnTo>
                    <a:pt x="876681" y="958691"/>
                  </a:lnTo>
                  <a:cubicBezTo>
                    <a:pt x="894969" y="1004697"/>
                    <a:pt x="889254" y="1047274"/>
                    <a:pt x="862298" y="1064705"/>
                  </a:cubicBezTo>
                  <a:cubicBezTo>
                    <a:pt x="856869" y="1068324"/>
                    <a:pt x="847916" y="1072325"/>
                    <a:pt x="835724" y="1072325"/>
                  </a:cubicBezTo>
                  <a:close/>
                </a:path>
              </a:pathLst>
            </a:custGeom>
            <a:solidFill>
              <a:srgbClr val="373A3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88" name="Freeform: Shape 5187">
              <a:extLst>
                <a:ext uri="{FF2B5EF4-FFF2-40B4-BE49-F238E27FC236}">
                  <a16:creationId xmlns:a16="http://schemas.microsoft.com/office/drawing/2014/main" id="{9E6FA23C-6C4E-4BEA-AF2C-CD5D8330C7B5}"/>
                </a:ext>
              </a:extLst>
            </p:cNvPr>
            <p:cNvSpPr/>
            <p:nvPr/>
          </p:nvSpPr>
          <p:spPr>
            <a:xfrm>
              <a:off x="7764658" y="4981806"/>
              <a:ext cx="133350" cy="361950"/>
            </a:xfrm>
            <a:custGeom>
              <a:avLst/>
              <a:gdLst>
                <a:gd name="connsiteX0" fmla="*/ 86582 w 133350"/>
                <a:gd name="connsiteY0" fmla="*/ 360354 h 361950"/>
                <a:gd name="connsiteX1" fmla="*/ 63532 w 133350"/>
                <a:gd name="connsiteY1" fmla="*/ 353496 h 361950"/>
                <a:gd name="connsiteX2" fmla="*/ 34290 w 133350"/>
                <a:gd name="connsiteY2" fmla="*/ 323588 h 361950"/>
                <a:gd name="connsiteX3" fmla="*/ 20764 w 133350"/>
                <a:gd name="connsiteY3" fmla="*/ 283678 h 361950"/>
                <a:gd name="connsiteX4" fmla="*/ 7144 w 133350"/>
                <a:gd name="connsiteY4" fmla="*/ 80224 h 361950"/>
                <a:gd name="connsiteX5" fmla="*/ 7144 w 133350"/>
                <a:gd name="connsiteY5" fmla="*/ 56126 h 361950"/>
                <a:gd name="connsiteX6" fmla="*/ 28575 w 133350"/>
                <a:gd name="connsiteY6" fmla="*/ 12215 h 361950"/>
                <a:gd name="connsiteX7" fmla="*/ 77343 w 133350"/>
                <a:gd name="connsiteY7" fmla="*/ 15740 h 361950"/>
                <a:gd name="connsiteX8" fmla="*/ 134017 w 133350"/>
                <a:gd name="connsiteY8" fmla="*/ 113752 h 361950"/>
                <a:gd name="connsiteX9" fmla="*/ 134017 w 133350"/>
                <a:gd name="connsiteY9" fmla="*/ 137850 h 361950"/>
                <a:gd name="connsiteX10" fmla="*/ 119920 w 133350"/>
                <a:gd name="connsiteY10" fmla="*/ 325302 h 361950"/>
                <a:gd name="connsiteX11" fmla="*/ 101632 w 133350"/>
                <a:gd name="connsiteY11" fmla="*/ 356639 h 361950"/>
                <a:gd name="connsiteX12" fmla="*/ 86487 w 133350"/>
                <a:gd name="connsiteY12" fmla="*/ 360354 h 361950"/>
                <a:gd name="connsiteX13" fmla="*/ 48482 w 133350"/>
                <a:gd name="connsiteY13" fmla="*/ 34409 h 361950"/>
                <a:gd name="connsiteX14" fmla="*/ 42291 w 133350"/>
                <a:gd name="connsiteY14" fmla="*/ 35933 h 361950"/>
                <a:gd name="connsiteX15" fmla="*/ 34576 w 133350"/>
                <a:gd name="connsiteY15" fmla="*/ 56221 h 361950"/>
                <a:gd name="connsiteX16" fmla="*/ 34576 w 133350"/>
                <a:gd name="connsiteY16" fmla="*/ 79367 h 361950"/>
                <a:gd name="connsiteX17" fmla="*/ 48196 w 133350"/>
                <a:gd name="connsiteY17" fmla="*/ 281963 h 361950"/>
                <a:gd name="connsiteX18" fmla="*/ 57721 w 133350"/>
                <a:gd name="connsiteY18" fmla="*/ 309586 h 361950"/>
                <a:gd name="connsiteX19" fmla="*/ 77343 w 133350"/>
                <a:gd name="connsiteY19" fmla="*/ 330065 h 361950"/>
                <a:gd name="connsiteX20" fmla="*/ 89059 w 133350"/>
                <a:gd name="connsiteY20" fmla="*/ 332636 h 361950"/>
                <a:gd name="connsiteX21" fmla="*/ 92773 w 133350"/>
                <a:gd name="connsiteY21" fmla="*/ 323397 h 361950"/>
                <a:gd name="connsiteX22" fmla="*/ 106870 w 133350"/>
                <a:gd name="connsiteY22" fmla="*/ 136421 h 361950"/>
                <a:gd name="connsiteX23" fmla="*/ 106870 w 133350"/>
                <a:gd name="connsiteY23" fmla="*/ 113847 h 361950"/>
                <a:gd name="connsiteX24" fmla="*/ 63817 w 133350"/>
                <a:gd name="connsiteY24" fmla="*/ 39457 h 361950"/>
                <a:gd name="connsiteX25" fmla="*/ 48482 w 133350"/>
                <a:gd name="connsiteY25" fmla="*/ 34504 h 361950"/>
                <a:gd name="connsiteX26" fmla="*/ 120491 w 133350"/>
                <a:gd name="connsiteY26" fmla="*/ 136802 h 361950"/>
                <a:gd name="connsiteX27" fmla="*/ 120491 w 133350"/>
                <a:gd name="connsiteY27" fmla="*/ 136802 h 36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3350" h="361950">
                  <a:moveTo>
                    <a:pt x="86582" y="360354"/>
                  </a:moveTo>
                  <a:cubicBezTo>
                    <a:pt x="79248" y="360354"/>
                    <a:pt x="71438" y="358068"/>
                    <a:pt x="63532" y="353496"/>
                  </a:cubicBezTo>
                  <a:cubicBezTo>
                    <a:pt x="52388" y="347019"/>
                    <a:pt x="42005" y="336446"/>
                    <a:pt x="34290" y="323588"/>
                  </a:cubicBezTo>
                  <a:cubicBezTo>
                    <a:pt x="26575" y="310919"/>
                    <a:pt x="21717" y="296727"/>
                    <a:pt x="20764" y="283678"/>
                  </a:cubicBezTo>
                  <a:lnTo>
                    <a:pt x="7144" y="80224"/>
                  </a:lnTo>
                  <a:lnTo>
                    <a:pt x="7144" y="56126"/>
                  </a:lnTo>
                  <a:cubicBezTo>
                    <a:pt x="7144" y="35933"/>
                    <a:pt x="14954" y="20026"/>
                    <a:pt x="28575" y="12215"/>
                  </a:cubicBezTo>
                  <a:cubicBezTo>
                    <a:pt x="42196" y="4405"/>
                    <a:pt x="59912" y="5643"/>
                    <a:pt x="77343" y="15740"/>
                  </a:cubicBezTo>
                  <a:cubicBezTo>
                    <a:pt x="109156" y="34123"/>
                    <a:pt x="134017" y="77176"/>
                    <a:pt x="134017" y="113752"/>
                  </a:cubicBezTo>
                  <a:cubicBezTo>
                    <a:pt x="134017" y="113752"/>
                    <a:pt x="134017" y="137564"/>
                    <a:pt x="134017" y="137850"/>
                  </a:cubicBezTo>
                  <a:lnTo>
                    <a:pt x="119920" y="325302"/>
                  </a:lnTo>
                  <a:cubicBezTo>
                    <a:pt x="118872" y="339875"/>
                    <a:pt x="112300" y="351020"/>
                    <a:pt x="101632" y="356639"/>
                  </a:cubicBezTo>
                  <a:cubicBezTo>
                    <a:pt x="96964" y="359116"/>
                    <a:pt x="91821" y="360354"/>
                    <a:pt x="86487" y="360354"/>
                  </a:cubicBezTo>
                  <a:close/>
                  <a:moveTo>
                    <a:pt x="48482" y="34409"/>
                  </a:moveTo>
                  <a:cubicBezTo>
                    <a:pt x="46101" y="34409"/>
                    <a:pt x="44005" y="34885"/>
                    <a:pt x="42291" y="35933"/>
                  </a:cubicBezTo>
                  <a:cubicBezTo>
                    <a:pt x="37338" y="38790"/>
                    <a:pt x="34576" y="46124"/>
                    <a:pt x="34576" y="56221"/>
                  </a:cubicBezTo>
                  <a:lnTo>
                    <a:pt x="34576" y="79367"/>
                  </a:lnTo>
                  <a:lnTo>
                    <a:pt x="48196" y="281963"/>
                  </a:lnTo>
                  <a:cubicBezTo>
                    <a:pt x="48863" y="290726"/>
                    <a:pt x="52197" y="300537"/>
                    <a:pt x="57721" y="309586"/>
                  </a:cubicBezTo>
                  <a:cubicBezTo>
                    <a:pt x="63055" y="318444"/>
                    <a:pt x="70199" y="325874"/>
                    <a:pt x="77343" y="330065"/>
                  </a:cubicBezTo>
                  <a:cubicBezTo>
                    <a:pt x="83153" y="333494"/>
                    <a:pt x="87249" y="333589"/>
                    <a:pt x="89059" y="332636"/>
                  </a:cubicBezTo>
                  <a:cubicBezTo>
                    <a:pt x="91059" y="331589"/>
                    <a:pt x="92488" y="328064"/>
                    <a:pt x="92773" y="323397"/>
                  </a:cubicBezTo>
                  <a:lnTo>
                    <a:pt x="106870" y="136421"/>
                  </a:lnTo>
                  <a:lnTo>
                    <a:pt x="106870" y="113847"/>
                  </a:lnTo>
                  <a:cubicBezTo>
                    <a:pt x="106870" y="86987"/>
                    <a:pt x="87154" y="52982"/>
                    <a:pt x="63817" y="39457"/>
                  </a:cubicBezTo>
                  <a:cubicBezTo>
                    <a:pt x="58198" y="36218"/>
                    <a:pt x="52864" y="34504"/>
                    <a:pt x="48482" y="34504"/>
                  </a:cubicBezTo>
                  <a:close/>
                  <a:moveTo>
                    <a:pt x="120491" y="136802"/>
                  </a:moveTo>
                  <a:lnTo>
                    <a:pt x="120491" y="136802"/>
                  </a:lnTo>
                  <a:close/>
                </a:path>
              </a:pathLst>
            </a:custGeom>
            <a:solidFill>
              <a:srgbClr val="373A3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89" name="Freeform: Shape 5188">
              <a:extLst>
                <a:ext uri="{FF2B5EF4-FFF2-40B4-BE49-F238E27FC236}">
                  <a16:creationId xmlns:a16="http://schemas.microsoft.com/office/drawing/2014/main" id="{A34D0303-67F5-449B-AEA5-7FB6208DD66B}"/>
                </a:ext>
              </a:extLst>
            </p:cNvPr>
            <p:cNvSpPr/>
            <p:nvPr/>
          </p:nvSpPr>
          <p:spPr>
            <a:xfrm>
              <a:off x="7764658" y="5346803"/>
              <a:ext cx="133350" cy="161925"/>
            </a:xfrm>
            <a:custGeom>
              <a:avLst/>
              <a:gdLst>
                <a:gd name="connsiteX0" fmla="*/ 92773 w 133350"/>
                <a:gd name="connsiteY0" fmla="*/ 162997 h 161925"/>
                <a:gd name="connsiteX1" fmla="*/ 63627 w 133350"/>
                <a:gd name="connsiteY1" fmla="*/ 154234 h 161925"/>
                <a:gd name="connsiteX2" fmla="*/ 23431 w 133350"/>
                <a:gd name="connsiteY2" fmla="*/ 112324 h 161925"/>
                <a:gd name="connsiteX3" fmla="*/ 7144 w 133350"/>
                <a:gd name="connsiteY3" fmla="*/ 56603 h 161925"/>
                <a:gd name="connsiteX4" fmla="*/ 28575 w 133350"/>
                <a:gd name="connsiteY4" fmla="*/ 12407 h 161925"/>
                <a:gd name="connsiteX5" fmla="*/ 77343 w 133350"/>
                <a:gd name="connsiteY5" fmla="*/ 16312 h 161925"/>
                <a:gd name="connsiteX6" fmla="*/ 117348 w 133350"/>
                <a:gd name="connsiteY6" fmla="*/ 58031 h 161925"/>
                <a:gd name="connsiteX7" fmla="*/ 133445 w 133350"/>
                <a:gd name="connsiteY7" fmla="*/ 113657 h 161925"/>
                <a:gd name="connsiteX8" fmla="*/ 112490 w 133350"/>
                <a:gd name="connsiteY8" fmla="*/ 157663 h 161925"/>
                <a:gd name="connsiteX9" fmla="*/ 92678 w 133350"/>
                <a:gd name="connsiteY9" fmla="*/ 162901 h 161925"/>
                <a:gd name="connsiteX10" fmla="*/ 48101 w 133350"/>
                <a:gd name="connsiteY10" fmla="*/ 34505 h 161925"/>
                <a:gd name="connsiteX11" fmla="*/ 42386 w 133350"/>
                <a:gd name="connsiteY11" fmla="*/ 35933 h 161925"/>
                <a:gd name="connsiteX12" fmla="*/ 34480 w 133350"/>
                <a:gd name="connsiteY12" fmla="*/ 56603 h 161925"/>
                <a:gd name="connsiteX13" fmla="*/ 47149 w 133350"/>
                <a:gd name="connsiteY13" fmla="*/ 98608 h 161925"/>
                <a:gd name="connsiteX14" fmla="*/ 77248 w 133350"/>
                <a:gd name="connsiteY14" fmla="*/ 130421 h 161925"/>
                <a:gd name="connsiteX15" fmla="*/ 98679 w 133350"/>
                <a:gd name="connsiteY15" fmla="*/ 134136 h 161925"/>
                <a:gd name="connsiteX16" fmla="*/ 106204 w 133350"/>
                <a:gd name="connsiteY16" fmla="*/ 113657 h 161925"/>
                <a:gd name="connsiteX17" fmla="*/ 93726 w 133350"/>
                <a:gd name="connsiteY17" fmla="*/ 71747 h 161925"/>
                <a:gd name="connsiteX18" fmla="*/ 63627 w 133350"/>
                <a:gd name="connsiteY18" fmla="*/ 40029 h 161925"/>
                <a:gd name="connsiteX19" fmla="*/ 48101 w 133350"/>
                <a:gd name="connsiteY19" fmla="*/ 3460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33350" h="161925">
                  <a:moveTo>
                    <a:pt x="92773" y="162997"/>
                  </a:moveTo>
                  <a:cubicBezTo>
                    <a:pt x="84677" y="162997"/>
                    <a:pt x="74962" y="160711"/>
                    <a:pt x="63627" y="154234"/>
                  </a:cubicBezTo>
                  <a:cubicBezTo>
                    <a:pt x="47720" y="145090"/>
                    <a:pt x="34195" y="130993"/>
                    <a:pt x="23431" y="112324"/>
                  </a:cubicBezTo>
                  <a:cubicBezTo>
                    <a:pt x="12573" y="93655"/>
                    <a:pt x="7144" y="74891"/>
                    <a:pt x="7144" y="56603"/>
                  </a:cubicBezTo>
                  <a:cubicBezTo>
                    <a:pt x="7144" y="30123"/>
                    <a:pt x="18764" y="17931"/>
                    <a:pt x="28575" y="12407"/>
                  </a:cubicBezTo>
                  <a:cubicBezTo>
                    <a:pt x="37814" y="6787"/>
                    <a:pt x="54102" y="2691"/>
                    <a:pt x="77343" y="16312"/>
                  </a:cubicBezTo>
                  <a:cubicBezTo>
                    <a:pt x="93154" y="25456"/>
                    <a:pt x="106680" y="39457"/>
                    <a:pt x="117348" y="58031"/>
                  </a:cubicBezTo>
                  <a:cubicBezTo>
                    <a:pt x="128016" y="76510"/>
                    <a:pt x="133445" y="95274"/>
                    <a:pt x="133445" y="113657"/>
                  </a:cubicBezTo>
                  <a:cubicBezTo>
                    <a:pt x="133445" y="134612"/>
                    <a:pt x="126397" y="149376"/>
                    <a:pt x="112490" y="157663"/>
                  </a:cubicBezTo>
                  <a:cubicBezTo>
                    <a:pt x="107537" y="160520"/>
                    <a:pt x="100965" y="162901"/>
                    <a:pt x="92678" y="162901"/>
                  </a:cubicBezTo>
                  <a:close/>
                  <a:moveTo>
                    <a:pt x="48101" y="34505"/>
                  </a:moveTo>
                  <a:cubicBezTo>
                    <a:pt x="45910" y="34505"/>
                    <a:pt x="44005" y="34981"/>
                    <a:pt x="42386" y="35933"/>
                  </a:cubicBezTo>
                  <a:cubicBezTo>
                    <a:pt x="40195" y="37172"/>
                    <a:pt x="34480" y="40410"/>
                    <a:pt x="34480" y="56603"/>
                  </a:cubicBezTo>
                  <a:cubicBezTo>
                    <a:pt x="34480" y="70033"/>
                    <a:pt x="38767" y="84130"/>
                    <a:pt x="47149" y="98608"/>
                  </a:cubicBezTo>
                  <a:cubicBezTo>
                    <a:pt x="55531" y="113086"/>
                    <a:pt x="65627" y="123754"/>
                    <a:pt x="77248" y="130421"/>
                  </a:cubicBezTo>
                  <a:cubicBezTo>
                    <a:pt x="86487" y="135755"/>
                    <a:pt x="93726" y="136993"/>
                    <a:pt x="98679" y="134136"/>
                  </a:cubicBezTo>
                  <a:cubicBezTo>
                    <a:pt x="100393" y="133088"/>
                    <a:pt x="106204" y="129659"/>
                    <a:pt x="106204" y="113657"/>
                  </a:cubicBezTo>
                  <a:cubicBezTo>
                    <a:pt x="106204" y="100132"/>
                    <a:pt x="102013" y="86035"/>
                    <a:pt x="93726" y="71747"/>
                  </a:cubicBezTo>
                  <a:cubicBezTo>
                    <a:pt x="85344" y="57174"/>
                    <a:pt x="75533" y="46792"/>
                    <a:pt x="63627" y="40029"/>
                  </a:cubicBezTo>
                  <a:cubicBezTo>
                    <a:pt x="57436" y="36409"/>
                    <a:pt x="52292" y="34600"/>
                    <a:pt x="48101" y="34600"/>
                  </a:cubicBezTo>
                  <a:close/>
                </a:path>
              </a:pathLst>
            </a:custGeom>
            <a:solidFill>
              <a:srgbClr val="373A3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90" name="Freeform: Shape 5189">
              <a:extLst>
                <a:ext uri="{FF2B5EF4-FFF2-40B4-BE49-F238E27FC236}">
                  <a16:creationId xmlns:a16="http://schemas.microsoft.com/office/drawing/2014/main" id="{19A39340-40E4-46C5-882F-ED18ADFF200F}"/>
                </a:ext>
              </a:extLst>
            </p:cNvPr>
            <p:cNvSpPr/>
            <p:nvPr/>
          </p:nvSpPr>
          <p:spPr>
            <a:xfrm>
              <a:off x="7775467" y="4652935"/>
              <a:ext cx="285750" cy="123825"/>
            </a:xfrm>
            <a:custGeom>
              <a:avLst/>
              <a:gdLst>
                <a:gd name="connsiteX0" fmla="*/ 20814 w 285750"/>
                <a:gd name="connsiteY0" fmla="*/ 125440 h 123825"/>
                <a:gd name="connsiteX1" fmla="*/ 8812 w 285750"/>
                <a:gd name="connsiteY1" fmla="*/ 118296 h 123825"/>
                <a:gd name="connsiteX2" fmla="*/ 14241 w 285750"/>
                <a:gd name="connsiteY2" fmla="*/ 99818 h 123825"/>
                <a:gd name="connsiteX3" fmla="*/ 163784 w 285750"/>
                <a:gd name="connsiteY3" fmla="*/ 13521 h 123825"/>
                <a:gd name="connsiteX4" fmla="*/ 278370 w 285750"/>
                <a:gd name="connsiteY4" fmla="*/ 73434 h 123825"/>
                <a:gd name="connsiteX5" fmla="*/ 273417 w 285750"/>
                <a:gd name="connsiteY5" fmla="*/ 92103 h 123825"/>
                <a:gd name="connsiteX6" fmla="*/ 254748 w 285750"/>
                <a:gd name="connsiteY6" fmla="*/ 87150 h 123825"/>
                <a:gd name="connsiteX7" fmla="*/ 177500 w 285750"/>
                <a:gd name="connsiteY7" fmla="*/ 37143 h 123825"/>
                <a:gd name="connsiteX8" fmla="*/ 27386 w 285750"/>
                <a:gd name="connsiteY8" fmla="*/ 123821 h 123825"/>
                <a:gd name="connsiteX9" fmla="*/ 20909 w 285750"/>
                <a:gd name="connsiteY9" fmla="*/ 125440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5750" h="123825">
                  <a:moveTo>
                    <a:pt x="20814" y="125440"/>
                  </a:moveTo>
                  <a:cubicBezTo>
                    <a:pt x="15956" y="125440"/>
                    <a:pt x="11289" y="122868"/>
                    <a:pt x="8812" y="118296"/>
                  </a:cubicBezTo>
                  <a:cubicBezTo>
                    <a:pt x="5193" y="111629"/>
                    <a:pt x="7669" y="103342"/>
                    <a:pt x="14241" y="99818"/>
                  </a:cubicBezTo>
                  <a:lnTo>
                    <a:pt x="163784" y="13521"/>
                  </a:lnTo>
                  <a:cubicBezTo>
                    <a:pt x="197217" y="-5910"/>
                    <a:pt x="247509" y="20475"/>
                    <a:pt x="278370" y="73434"/>
                  </a:cubicBezTo>
                  <a:cubicBezTo>
                    <a:pt x="282180" y="79911"/>
                    <a:pt x="279989" y="88293"/>
                    <a:pt x="273417" y="92103"/>
                  </a:cubicBezTo>
                  <a:cubicBezTo>
                    <a:pt x="266940" y="95913"/>
                    <a:pt x="258558" y="93722"/>
                    <a:pt x="254748" y="87150"/>
                  </a:cubicBezTo>
                  <a:cubicBezTo>
                    <a:pt x="231126" y="46573"/>
                    <a:pt x="194454" y="27237"/>
                    <a:pt x="177500" y="37143"/>
                  </a:cubicBezTo>
                  <a:lnTo>
                    <a:pt x="27386" y="123821"/>
                  </a:lnTo>
                  <a:cubicBezTo>
                    <a:pt x="25290" y="124964"/>
                    <a:pt x="23100" y="125440"/>
                    <a:pt x="20909" y="125440"/>
                  </a:cubicBezTo>
                  <a:close/>
                </a:path>
              </a:pathLst>
            </a:custGeom>
            <a:solidFill>
              <a:srgbClr val="373A3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91" name="Freeform: Shape 5190">
              <a:extLst>
                <a:ext uri="{FF2B5EF4-FFF2-40B4-BE49-F238E27FC236}">
                  <a16:creationId xmlns:a16="http://schemas.microsoft.com/office/drawing/2014/main" id="{09D33026-7159-4B05-B765-BB6D1D1D79FD}"/>
                </a:ext>
              </a:extLst>
            </p:cNvPr>
            <p:cNvSpPr/>
            <p:nvPr/>
          </p:nvSpPr>
          <p:spPr>
            <a:xfrm>
              <a:off x="8021497" y="4712981"/>
              <a:ext cx="428625" cy="1162050"/>
            </a:xfrm>
            <a:custGeom>
              <a:avLst/>
              <a:gdLst>
                <a:gd name="connsiteX0" fmla="*/ 240270 w 428625"/>
                <a:gd name="connsiteY0" fmla="*/ 1158483 h 1162050"/>
                <a:gd name="connsiteX1" fmla="*/ 228745 w 428625"/>
                <a:gd name="connsiteY1" fmla="*/ 1152102 h 1162050"/>
                <a:gd name="connsiteX2" fmla="*/ 233031 w 428625"/>
                <a:gd name="connsiteY2" fmla="*/ 1133242 h 1162050"/>
                <a:gd name="connsiteX3" fmla="*/ 383241 w 428625"/>
                <a:gd name="connsiteY3" fmla="*/ 1046469 h 1162050"/>
                <a:gd name="connsiteX4" fmla="*/ 387813 w 428625"/>
                <a:gd name="connsiteY4" fmla="*/ 972936 h 1162050"/>
                <a:gd name="connsiteX5" fmla="*/ 18624 w 428625"/>
                <a:gd name="connsiteY5" fmla="*/ 47392 h 1162050"/>
                <a:gd name="connsiteX6" fmla="*/ 9099 w 428625"/>
                <a:gd name="connsiteY6" fmla="*/ 27770 h 1162050"/>
                <a:gd name="connsiteX7" fmla="*/ 8622 w 428625"/>
                <a:gd name="connsiteY7" fmla="*/ 26913 h 1162050"/>
                <a:gd name="connsiteX8" fmla="*/ 11385 w 428625"/>
                <a:gd name="connsiteY8" fmla="*/ 10911 h 1162050"/>
                <a:gd name="connsiteX9" fmla="*/ 30720 w 428625"/>
                <a:gd name="connsiteY9" fmla="*/ 11387 h 1162050"/>
                <a:gd name="connsiteX10" fmla="*/ 32911 w 428625"/>
                <a:gd name="connsiteY10" fmla="*/ 14531 h 1162050"/>
                <a:gd name="connsiteX11" fmla="*/ 43960 w 428625"/>
                <a:gd name="connsiteY11" fmla="*/ 37295 h 1162050"/>
                <a:gd name="connsiteX12" fmla="*/ 413244 w 428625"/>
                <a:gd name="connsiteY12" fmla="*/ 962935 h 1162050"/>
                <a:gd name="connsiteX13" fmla="*/ 396957 w 428625"/>
                <a:gd name="connsiteY13" fmla="*/ 1070282 h 1162050"/>
                <a:gd name="connsiteX14" fmla="*/ 247605 w 428625"/>
                <a:gd name="connsiteY14" fmla="*/ 1156483 h 1162050"/>
                <a:gd name="connsiteX15" fmla="*/ 240366 w 428625"/>
                <a:gd name="connsiteY15" fmla="*/ 1158579 h 1162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28625" h="1162050">
                  <a:moveTo>
                    <a:pt x="240270" y="1158483"/>
                  </a:moveTo>
                  <a:cubicBezTo>
                    <a:pt x="235698" y="1158483"/>
                    <a:pt x="231317" y="1156197"/>
                    <a:pt x="228745" y="1152102"/>
                  </a:cubicBezTo>
                  <a:cubicBezTo>
                    <a:pt x="224745" y="1145720"/>
                    <a:pt x="226650" y="1137338"/>
                    <a:pt x="233031" y="1133242"/>
                  </a:cubicBezTo>
                  <a:lnTo>
                    <a:pt x="383241" y="1046469"/>
                  </a:lnTo>
                  <a:cubicBezTo>
                    <a:pt x="396957" y="1038563"/>
                    <a:pt x="402957" y="1010655"/>
                    <a:pt x="387813" y="972936"/>
                  </a:cubicBezTo>
                  <a:lnTo>
                    <a:pt x="18624" y="47392"/>
                  </a:lnTo>
                  <a:cubicBezTo>
                    <a:pt x="15957" y="40724"/>
                    <a:pt x="12623" y="33962"/>
                    <a:pt x="9099" y="27770"/>
                  </a:cubicBezTo>
                  <a:cubicBezTo>
                    <a:pt x="8908" y="27485"/>
                    <a:pt x="8813" y="27199"/>
                    <a:pt x="8622" y="26913"/>
                  </a:cubicBezTo>
                  <a:cubicBezTo>
                    <a:pt x="5955" y="21674"/>
                    <a:pt x="6908" y="15102"/>
                    <a:pt x="11385" y="10911"/>
                  </a:cubicBezTo>
                  <a:cubicBezTo>
                    <a:pt x="16814" y="5672"/>
                    <a:pt x="25482" y="5958"/>
                    <a:pt x="30720" y="11387"/>
                  </a:cubicBezTo>
                  <a:cubicBezTo>
                    <a:pt x="31578" y="12340"/>
                    <a:pt x="32340" y="13388"/>
                    <a:pt x="32911" y="14531"/>
                  </a:cubicBezTo>
                  <a:cubicBezTo>
                    <a:pt x="37102" y="21770"/>
                    <a:pt x="40722" y="29390"/>
                    <a:pt x="43960" y="37295"/>
                  </a:cubicBezTo>
                  <a:lnTo>
                    <a:pt x="413244" y="962935"/>
                  </a:lnTo>
                  <a:cubicBezTo>
                    <a:pt x="432199" y="1010465"/>
                    <a:pt x="425627" y="1053613"/>
                    <a:pt x="396957" y="1070282"/>
                  </a:cubicBezTo>
                  <a:lnTo>
                    <a:pt x="247605" y="1156483"/>
                  </a:lnTo>
                  <a:cubicBezTo>
                    <a:pt x="245319" y="1157912"/>
                    <a:pt x="242842" y="1158579"/>
                    <a:pt x="240366" y="1158579"/>
                  </a:cubicBezTo>
                  <a:close/>
                </a:path>
              </a:pathLst>
            </a:custGeom>
            <a:solidFill>
              <a:srgbClr val="373A3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92" name="Freeform: Shape 5191">
              <a:extLst>
                <a:ext uri="{FF2B5EF4-FFF2-40B4-BE49-F238E27FC236}">
                  <a16:creationId xmlns:a16="http://schemas.microsoft.com/office/drawing/2014/main" id="{C2ABEDB2-F833-4501-B9B5-EF1E639CAD01}"/>
                </a:ext>
              </a:extLst>
            </p:cNvPr>
            <p:cNvSpPr/>
            <p:nvPr/>
          </p:nvSpPr>
          <p:spPr>
            <a:xfrm>
              <a:off x="7374227" y="4456871"/>
              <a:ext cx="1247775" cy="1600200"/>
            </a:xfrm>
            <a:custGeom>
              <a:avLst/>
              <a:gdLst>
                <a:gd name="connsiteX0" fmla="*/ 898590 w 1247775"/>
                <a:gd name="connsiteY0" fmla="*/ 1600521 h 1600200"/>
                <a:gd name="connsiteX1" fmla="*/ 521019 w 1247775"/>
                <a:gd name="connsiteY1" fmla="*/ 1449454 h 1600200"/>
                <a:gd name="connsiteX2" fmla="*/ 164879 w 1247775"/>
                <a:gd name="connsiteY2" fmla="*/ 1019877 h 1600200"/>
                <a:gd name="connsiteX3" fmla="*/ 170404 w 1247775"/>
                <a:gd name="connsiteY3" fmla="*/ 1001398 h 1600200"/>
                <a:gd name="connsiteX4" fmla="*/ 188882 w 1247775"/>
                <a:gd name="connsiteY4" fmla="*/ 1006923 h 1600200"/>
                <a:gd name="connsiteX5" fmla="*/ 929070 w 1247775"/>
                <a:gd name="connsiteY5" fmla="*/ 1571755 h 1600200"/>
                <a:gd name="connsiteX6" fmla="*/ 1151669 w 1247775"/>
                <a:gd name="connsiteY6" fmla="*/ 1433643 h 1600200"/>
                <a:gd name="connsiteX7" fmla="*/ 1139573 w 1247775"/>
                <a:gd name="connsiteY7" fmla="*/ 761749 h 1600200"/>
                <a:gd name="connsiteX8" fmla="*/ 324995 w 1247775"/>
                <a:gd name="connsiteY8" fmla="*/ 35849 h 1600200"/>
                <a:gd name="connsiteX9" fmla="*/ 108110 w 1247775"/>
                <a:gd name="connsiteY9" fmla="*/ 165103 h 1600200"/>
                <a:gd name="connsiteX10" fmla="*/ 87346 w 1247775"/>
                <a:gd name="connsiteY10" fmla="*/ 768988 h 1600200"/>
                <a:gd name="connsiteX11" fmla="*/ 78488 w 1247775"/>
                <a:gd name="connsiteY11" fmla="*/ 786133 h 1600200"/>
                <a:gd name="connsiteX12" fmla="*/ 61343 w 1247775"/>
                <a:gd name="connsiteY12" fmla="*/ 777275 h 1600200"/>
                <a:gd name="connsiteX13" fmla="*/ 85346 w 1247775"/>
                <a:gd name="connsiteY13" fmla="*/ 150054 h 1600200"/>
                <a:gd name="connsiteX14" fmla="*/ 322613 w 1247775"/>
                <a:gd name="connsiteY14" fmla="*/ 8608 h 1600200"/>
                <a:gd name="connsiteX15" fmla="*/ 1165100 w 1247775"/>
                <a:gd name="connsiteY15" fmla="*/ 752034 h 1600200"/>
                <a:gd name="connsiteX16" fmla="*/ 1174910 w 1247775"/>
                <a:gd name="connsiteY16" fmla="*/ 1448216 h 1600200"/>
                <a:gd name="connsiteX17" fmla="*/ 931547 w 1247775"/>
                <a:gd name="connsiteY17" fmla="*/ 1599092 h 1600200"/>
                <a:gd name="connsiteX18" fmla="*/ 898495 w 1247775"/>
                <a:gd name="connsiteY18" fmla="*/ 160052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47775" h="1600200">
                  <a:moveTo>
                    <a:pt x="898590" y="1600521"/>
                  </a:moveTo>
                  <a:cubicBezTo>
                    <a:pt x="781814" y="1600521"/>
                    <a:pt x="649130" y="1547657"/>
                    <a:pt x="521019" y="1449454"/>
                  </a:cubicBezTo>
                  <a:cubicBezTo>
                    <a:pt x="383764" y="1344298"/>
                    <a:pt x="257367" y="1191708"/>
                    <a:pt x="164879" y="1019877"/>
                  </a:cubicBezTo>
                  <a:cubicBezTo>
                    <a:pt x="161260" y="1013209"/>
                    <a:pt x="163832" y="1004923"/>
                    <a:pt x="170404" y="1001398"/>
                  </a:cubicBezTo>
                  <a:cubicBezTo>
                    <a:pt x="177071" y="997874"/>
                    <a:pt x="185358" y="1000351"/>
                    <a:pt x="188882" y="1006923"/>
                  </a:cubicBezTo>
                  <a:cubicBezTo>
                    <a:pt x="376620" y="1355824"/>
                    <a:pt x="687992" y="1593377"/>
                    <a:pt x="929070" y="1571755"/>
                  </a:cubicBezTo>
                  <a:cubicBezTo>
                    <a:pt x="1023844" y="1563278"/>
                    <a:pt x="1100806" y="1515558"/>
                    <a:pt x="1151669" y="1433643"/>
                  </a:cubicBezTo>
                  <a:cubicBezTo>
                    <a:pt x="1247491" y="1279338"/>
                    <a:pt x="1242919" y="1028164"/>
                    <a:pt x="1139573" y="761749"/>
                  </a:cubicBezTo>
                  <a:cubicBezTo>
                    <a:pt x="974409" y="336172"/>
                    <a:pt x="608935" y="10417"/>
                    <a:pt x="324995" y="35849"/>
                  </a:cubicBezTo>
                  <a:cubicBezTo>
                    <a:pt x="233840" y="43945"/>
                    <a:pt x="158879" y="88713"/>
                    <a:pt x="108110" y="165103"/>
                  </a:cubicBezTo>
                  <a:cubicBezTo>
                    <a:pt x="17623" y="301406"/>
                    <a:pt x="9908" y="527149"/>
                    <a:pt x="87346" y="768988"/>
                  </a:cubicBezTo>
                  <a:cubicBezTo>
                    <a:pt x="89632" y="776132"/>
                    <a:pt x="85727" y="783847"/>
                    <a:pt x="78488" y="786133"/>
                  </a:cubicBezTo>
                  <a:cubicBezTo>
                    <a:pt x="71344" y="788419"/>
                    <a:pt x="63629" y="784514"/>
                    <a:pt x="61343" y="777275"/>
                  </a:cubicBezTo>
                  <a:cubicBezTo>
                    <a:pt x="-18667" y="527625"/>
                    <a:pt x="-9619" y="293119"/>
                    <a:pt x="85346" y="150054"/>
                  </a:cubicBezTo>
                  <a:cubicBezTo>
                    <a:pt x="140876" y="66424"/>
                    <a:pt x="222887" y="17561"/>
                    <a:pt x="322613" y="8608"/>
                  </a:cubicBezTo>
                  <a:cubicBezTo>
                    <a:pt x="617888" y="-17777"/>
                    <a:pt x="995840" y="315694"/>
                    <a:pt x="1165100" y="752034"/>
                  </a:cubicBezTo>
                  <a:cubicBezTo>
                    <a:pt x="1271589" y="1026354"/>
                    <a:pt x="1275304" y="1286672"/>
                    <a:pt x="1174910" y="1448216"/>
                  </a:cubicBezTo>
                  <a:cubicBezTo>
                    <a:pt x="1119380" y="1537656"/>
                    <a:pt x="1035179" y="1589853"/>
                    <a:pt x="931547" y="1599092"/>
                  </a:cubicBezTo>
                  <a:cubicBezTo>
                    <a:pt x="920688" y="1600045"/>
                    <a:pt x="909734" y="1600521"/>
                    <a:pt x="898495" y="1600521"/>
                  </a:cubicBezTo>
                  <a:close/>
                </a:path>
              </a:pathLst>
            </a:custGeom>
            <a:solidFill>
              <a:srgbClr val="373A3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1752341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A8192DC7-DC3C-4789-8AF3-7CA1D4122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CE Bribery Risk Matrix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33129B5-2870-43FB-A480-819A2F841AAC}"/>
              </a:ext>
            </a:extLst>
          </p:cNvPr>
          <p:cNvSpPr txBox="1">
            <a:spLocks/>
          </p:cNvSpPr>
          <p:nvPr/>
        </p:nvSpPr>
        <p:spPr>
          <a:xfrm>
            <a:off x="441831" y="873125"/>
            <a:ext cx="11307257" cy="169059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400" b="1" dirty="0"/>
              <a:t>TRACE</a:t>
            </a:r>
            <a:r>
              <a:rPr lang="ru-RU" sz="1400" dirty="0"/>
              <a:t> – </a:t>
            </a:r>
            <a:r>
              <a:rPr lang="ru-RU" sz="1400" dirty="0" err="1"/>
              <a:t>порахўрлик</a:t>
            </a:r>
            <a:r>
              <a:rPr lang="ru-RU" sz="1400" dirty="0"/>
              <a:t>, норматив </a:t>
            </a:r>
            <a:r>
              <a:rPr lang="ru-RU" sz="1400" dirty="0" err="1"/>
              <a:t>талабларга</a:t>
            </a:r>
            <a:r>
              <a:rPr lang="ru-RU" sz="1400" dirty="0"/>
              <a:t> </a:t>
            </a:r>
            <a:r>
              <a:rPr lang="ru-RU" sz="1400" dirty="0" err="1"/>
              <a:t>риоя</a:t>
            </a:r>
            <a:r>
              <a:rPr lang="ru-RU" sz="1400" dirty="0"/>
              <a:t> </a:t>
            </a:r>
            <a:r>
              <a:rPr lang="ru-RU" sz="1400" dirty="0" err="1"/>
              <a:t>қилиш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самарали</a:t>
            </a:r>
            <a:r>
              <a:rPr lang="ru-RU" sz="1400" dirty="0"/>
              <a:t> </a:t>
            </a:r>
            <a:r>
              <a:rPr lang="ru-RU" sz="1400" dirty="0" err="1"/>
              <a:t>бошқарувга</a:t>
            </a:r>
            <a:r>
              <a:rPr lang="ru-RU" sz="1400" dirty="0"/>
              <a:t> </a:t>
            </a:r>
            <a:r>
              <a:rPr lang="ru-RU" sz="1400" dirty="0" err="1"/>
              <a:t>қарши</a:t>
            </a:r>
            <a:r>
              <a:rPr lang="ru-RU" sz="1400" dirty="0"/>
              <a:t> </a:t>
            </a:r>
            <a:r>
              <a:rPr lang="ru-RU" sz="1400" dirty="0" err="1"/>
              <a:t>курашишга</a:t>
            </a:r>
            <a:r>
              <a:rPr lang="ru-RU" sz="1400" dirty="0"/>
              <a:t> </a:t>
            </a:r>
            <a:r>
              <a:rPr lang="ru-RU" sz="1400" dirty="0" err="1"/>
              <a:t>бағишланган</a:t>
            </a:r>
            <a:r>
              <a:rPr lang="ru-RU" sz="1400" dirty="0"/>
              <a:t> </a:t>
            </a:r>
            <a:r>
              <a:rPr lang="ru-RU" sz="1400" dirty="0" err="1"/>
              <a:t>нотижорат</a:t>
            </a:r>
            <a:r>
              <a:rPr lang="ru-RU" sz="1400" dirty="0"/>
              <a:t> </a:t>
            </a:r>
            <a:r>
              <a:rPr lang="ru-RU" sz="1400" dirty="0" err="1"/>
              <a:t>халқаро</a:t>
            </a:r>
            <a:r>
              <a:rPr lang="ru-RU" sz="1400" dirty="0"/>
              <a:t> бизнес </a:t>
            </a:r>
            <a:r>
              <a:rPr lang="ru-RU" sz="1400" dirty="0" err="1"/>
              <a:t>ассоциацияси</a:t>
            </a:r>
            <a:r>
              <a:rPr lang="ru-RU" sz="1400" dirty="0"/>
              <a:t>. TRACE </a:t>
            </a:r>
            <a:r>
              <a:rPr lang="ru-RU" sz="1400" dirty="0" err="1"/>
              <a:t>Порахўрлик</a:t>
            </a:r>
            <a:r>
              <a:rPr lang="ru-RU" sz="1400" dirty="0"/>
              <a:t> </a:t>
            </a:r>
            <a:r>
              <a:rPr lang="ru-RU" sz="1400" dirty="0" err="1"/>
              <a:t>хавф-хатарлари</a:t>
            </a:r>
            <a:r>
              <a:rPr lang="ru-RU" sz="1400" dirty="0"/>
              <a:t> </a:t>
            </a:r>
            <a:r>
              <a:rPr lang="ru-RU" sz="1400" dirty="0" err="1"/>
              <a:t>матрицаси</a:t>
            </a:r>
            <a:r>
              <a:rPr lang="ru-RU" sz="1400" dirty="0"/>
              <a:t> 194 </a:t>
            </a:r>
            <a:r>
              <a:rPr lang="ru-RU" sz="1400" dirty="0" err="1"/>
              <a:t>юрисдикциялар</a:t>
            </a:r>
            <a:r>
              <a:rPr lang="ru-RU" sz="1400" dirty="0"/>
              <a:t>, </a:t>
            </a:r>
            <a:r>
              <a:rPr lang="ru-RU" sz="1400" dirty="0" err="1"/>
              <a:t>ҳудудлар</a:t>
            </a:r>
            <a:r>
              <a:rPr lang="ru-RU" sz="1400" dirty="0"/>
              <a:t>, </a:t>
            </a:r>
            <a:r>
              <a:rPr lang="ru-RU" sz="1400" dirty="0" err="1"/>
              <a:t>автоном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ярим </a:t>
            </a:r>
            <a:r>
              <a:rPr lang="ru-RU" sz="1400" dirty="0" err="1"/>
              <a:t>автоном</a:t>
            </a:r>
            <a:r>
              <a:rPr lang="ru-RU" sz="1400" dirty="0"/>
              <a:t> </a:t>
            </a:r>
            <a:r>
              <a:rPr lang="ru-RU" sz="1400" dirty="0" err="1"/>
              <a:t>вилоятларда</a:t>
            </a:r>
            <a:r>
              <a:rPr lang="ru-RU" sz="1400" dirty="0"/>
              <a:t> </a:t>
            </a:r>
            <a:r>
              <a:rPr lang="ru-RU" sz="1400" dirty="0" err="1"/>
              <a:t>порахўрлик</a:t>
            </a:r>
            <a:r>
              <a:rPr lang="ru-RU" sz="1400" dirty="0"/>
              <a:t> </a:t>
            </a:r>
            <a:r>
              <a:rPr lang="ru-RU" sz="1400" dirty="0" err="1"/>
              <a:t>хавф-хатарини</a:t>
            </a:r>
            <a:r>
              <a:rPr lang="ru-RU" sz="1400" dirty="0"/>
              <a:t> </a:t>
            </a:r>
            <a:r>
              <a:rPr lang="ru-RU" sz="1400" dirty="0" err="1"/>
              <a:t>ўлчайди</a:t>
            </a:r>
            <a:r>
              <a:rPr lang="ru-RU" sz="1400" dirty="0"/>
              <a:t>. </a:t>
            </a:r>
            <a:r>
              <a:rPr lang="ru-RU" sz="1400" dirty="0" err="1"/>
              <a:t>Мамлакат</a:t>
            </a:r>
            <a:r>
              <a:rPr lang="ru-RU" sz="1400" dirty="0"/>
              <a:t> </a:t>
            </a:r>
            <a:r>
              <a:rPr lang="ru-RU" sz="1400" dirty="0" err="1"/>
              <a:t>хавф-хатарини</a:t>
            </a:r>
            <a:r>
              <a:rPr lang="ru-RU" sz="1400" dirty="0"/>
              <a:t> </a:t>
            </a:r>
            <a:r>
              <a:rPr lang="ru-RU" sz="1400" dirty="0" err="1"/>
              <a:t>умумий</a:t>
            </a:r>
            <a:r>
              <a:rPr lang="ru-RU" sz="1400" dirty="0"/>
              <a:t> </a:t>
            </a:r>
            <a:r>
              <a:rPr lang="ru-RU" sz="1400" dirty="0" err="1"/>
              <a:t>баҳолаш</a:t>
            </a:r>
            <a:r>
              <a:rPr lang="ru-RU" sz="1400" dirty="0"/>
              <a:t> </a:t>
            </a:r>
            <a:r>
              <a:rPr lang="ru-RU" sz="1400" dirty="0" err="1"/>
              <a:t>тўрт</a:t>
            </a:r>
            <a:r>
              <a:rPr lang="ru-RU" sz="1400" dirty="0"/>
              <a:t> </a:t>
            </a:r>
            <a:r>
              <a:rPr lang="ru-RU" sz="1400" dirty="0" err="1"/>
              <a:t>тоифадаги</a:t>
            </a:r>
            <a:r>
              <a:rPr lang="ru-RU" sz="1400" dirty="0"/>
              <a:t> </a:t>
            </a:r>
            <a:r>
              <a:rPr lang="ru-RU" sz="1400" dirty="0" err="1"/>
              <a:t>бирлаштирилган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вазнли</a:t>
            </a:r>
            <a:r>
              <a:rPr lang="ru-RU" sz="1400" dirty="0"/>
              <a:t> </a:t>
            </a:r>
            <a:r>
              <a:rPr lang="ru-RU" sz="1400" dirty="0" err="1"/>
              <a:t>баҳолашдир</a:t>
            </a:r>
            <a:r>
              <a:rPr lang="ru-RU" sz="1400" dirty="0"/>
              <a:t>: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041BC55-F0DE-4B26-A7F9-14D0A558BF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750" t="12589" r="21605" b="12685"/>
          <a:stretch/>
        </p:blipFill>
        <p:spPr>
          <a:xfrm>
            <a:off x="6073269" y="1925869"/>
            <a:ext cx="5646598" cy="4117425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E85EEB5-FC6F-4BB0-8D90-10EDEA855AB1}"/>
              </a:ext>
            </a:extLst>
          </p:cNvPr>
          <p:cNvSpPr txBox="1"/>
          <p:nvPr/>
        </p:nvSpPr>
        <p:spPr>
          <a:xfrm>
            <a:off x="479097" y="3297831"/>
            <a:ext cx="5646598" cy="31220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chemeClr val="tx2"/>
                </a:solidFill>
              </a:rPr>
              <a:t>2021 </a:t>
            </a:r>
            <a:r>
              <a:rPr lang="ru-RU" sz="1400" dirty="0" err="1">
                <a:solidFill>
                  <a:schemeClr val="tx2"/>
                </a:solidFill>
              </a:rPr>
              <a:t>йил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en-US" sz="1400" dirty="0">
                <a:solidFill>
                  <a:schemeClr val="tx2"/>
                </a:solidFill>
              </a:rPr>
              <a:t>TRACE </a:t>
            </a:r>
            <a:r>
              <a:rPr lang="ru-RU" sz="1400" dirty="0" err="1">
                <a:solidFill>
                  <a:schemeClr val="tx2"/>
                </a:solidFill>
              </a:rPr>
              <a:t>рейтинг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ўра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Ўзбекистон</a:t>
            </a:r>
            <a:r>
              <a:rPr lang="ru-RU" sz="1400" dirty="0">
                <a:solidFill>
                  <a:schemeClr val="tx2"/>
                </a:solidFill>
              </a:rPr>
              <a:t> 59 балл </a:t>
            </a:r>
            <a:r>
              <a:rPr lang="ru-RU" sz="1400" dirty="0" err="1">
                <a:solidFill>
                  <a:schemeClr val="tx2"/>
                </a:solidFill>
              </a:rPr>
              <a:t>тўплаб</a:t>
            </a:r>
            <a:r>
              <a:rPr lang="ru-RU" sz="1400" dirty="0">
                <a:solidFill>
                  <a:schemeClr val="tx2"/>
                </a:solidFill>
              </a:rPr>
              <a:t>, 194 та </a:t>
            </a:r>
            <a:r>
              <a:rPr lang="ru-RU" sz="1400" dirty="0" err="1">
                <a:solidFill>
                  <a:schemeClr val="tx2"/>
                </a:solidFill>
              </a:rPr>
              <a:t>мумки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авл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асида</a:t>
            </a:r>
            <a:r>
              <a:rPr lang="ru-RU" sz="1400" dirty="0">
                <a:solidFill>
                  <a:schemeClr val="tx2"/>
                </a:solidFill>
              </a:rPr>
              <a:t> 147-ўринни </a:t>
            </a:r>
            <a:r>
              <a:rPr lang="ru-RU" sz="1400" dirty="0" err="1">
                <a:solidFill>
                  <a:schemeClr val="tx2"/>
                </a:solidFill>
              </a:rPr>
              <a:t>эгаллад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шу </a:t>
            </a:r>
            <a:r>
              <a:rPr lang="ru-RU" sz="1400" dirty="0" err="1">
                <a:solidFill>
                  <a:schemeClr val="tx2"/>
                </a:solidFill>
              </a:rPr>
              <a:t>тариқ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ожикистонни</a:t>
            </a:r>
            <a:r>
              <a:rPr lang="ru-RU" sz="1400" dirty="0">
                <a:solidFill>
                  <a:schemeClr val="tx2"/>
                </a:solidFill>
              </a:rPr>
              <a:t> 176-ўринда </a:t>
            </a:r>
            <a:r>
              <a:rPr lang="ru-RU" sz="1400" dirty="0" err="1">
                <a:solidFill>
                  <a:schemeClr val="tx2"/>
                </a:solidFill>
              </a:rPr>
              <a:t>ортт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лдирд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рғизистон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са</a:t>
            </a:r>
            <a:r>
              <a:rPr lang="ru-RU" sz="1400" dirty="0">
                <a:solidFill>
                  <a:schemeClr val="tx2"/>
                </a:solidFill>
              </a:rPr>
              <a:t> 137-ўринда бой </a:t>
            </a:r>
            <a:r>
              <a:rPr lang="ru-RU" sz="1400" dirty="0" err="1">
                <a:solidFill>
                  <a:schemeClr val="tx2"/>
                </a:solidFill>
              </a:rPr>
              <a:t>бер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  <a:p>
            <a:pPr indent="182563">
              <a:spcBef>
                <a:spcPts val="800"/>
              </a:spcBef>
              <a:spcAft>
                <a:spcPts val="800"/>
              </a:spcAft>
            </a:pPr>
            <a:r>
              <a:rPr lang="ru-RU" sz="1300" b="1" dirty="0" err="1">
                <a:solidFill>
                  <a:srgbClr val="00338D"/>
                </a:solidFill>
              </a:rPr>
              <a:t>Ўзбекистон</a:t>
            </a:r>
            <a:r>
              <a:rPr lang="ru-RU" sz="1300" b="1" dirty="0">
                <a:solidFill>
                  <a:srgbClr val="00338D"/>
                </a:solidFill>
              </a:rPr>
              <a:t>: </a:t>
            </a:r>
            <a:r>
              <a:rPr lang="ru-RU" sz="1300" b="1" dirty="0" err="1">
                <a:solidFill>
                  <a:srgbClr val="00338D"/>
                </a:solidFill>
              </a:rPr>
              <a:t>тоифалар</a:t>
            </a:r>
            <a:r>
              <a:rPr lang="ru-RU" sz="1300" b="1" dirty="0">
                <a:solidFill>
                  <a:srgbClr val="00338D"/>
                </a:solidFill>
              </a:rPr>
              <a:t> </a:t>
            </a:r>
            <a:r>
              <a:rPr lang="ru-RU" sz="1300" b="1" dirty="0" err="1">
                <a:solidFill>
                  <a:srgbClr val="00338D"/>
                </a:solidFill>
              </a:rPr>
              <a:t>бўйича</a:t>
            </a:r>
            <a:r>
              <a:rPr lang="ru-RU" sz="1300" b="1" dirty="0">
                <a:solidFill>
                  <a:srgbClr val="00338D"/>
                </a:solidFill>
              </a:rPr>
              <a:t> </a:t>
            </a:r>
            <a:r>
              <a:rPr lang="ru-RU" sz="1300" b="1" dirty="0" err="1">
                <a:solidFill>
                  <a:srgbClr val="00338D"/>
                </a:solidFill>
              </a:rPr>
              <a:t>баллар</a:t>
            </a:r>
            <a:r>
              <a:rPr lang="ru-RU" sz="1300" b="1" dirty="0">
                <a:solidFill>
                  <a:srgbClr val="00338D"/>
                </a:solidFill>
              </a:rPr>
              <a:t> 2021</a:t>
            </a:r>
          </a:p>
          <a:p>
            <a:pPr>
              <a:spcAft>
                <a:spcPts val="300"/>
              </a:spcAft>
            </a:pPr>
            <a:r>
              <a:rPr lang="ru-RU" sz="1400" dirty="0">
                <a:solidFill>
                  <a:schemeClr val="tx2"/>
                </a:solidFill>
              </a:rPr>
              <a:t>1-Тоифа – 52 балл</a:t>
            </a:r>
          </a:p>
          <a:p>
            <a:pPr>
              <a:spcAft>
                <a:spcPts val="300"/>
              </a:spcAft>
            </a:pPr>
            <a:r>
              <a:rPr lang="ru-RU" sz="1400" dirty="0">
                <a:solidFill>
                  <a:schemeClr val="tx2"/>
                </a:solidFill>
              </a:rPr>
              <a:t>2-Тоифа – 70 балл</a:t>
            </a:r>
          </a:p>
          <a:p>
            <a:pPr>
              <a:spcAft>
                <a:spcPts val="300"/>
              </a:spcAft>
            </a:pPr>
            <a:r>
              <a:rPr lang="ru-RU" sz="1400" dirty="0">
                <a:solidFill>
                  <a:schemeClr val="tx2"/>
                </a:solidFill>
              </a:rPr>
              <a:t>3-Тоифа – 58 балл</a:t>
            </a:r>
          </a:p>
          <a:p>
            <a:pPr>
              <a:spcAft>
                <a:spcPts val="300"/>
              </a:spcAft>
            </a:pPr>
            <a:r>
              <a:rPr lang="ru-RU" sz="1400" dirty="0">
                <a:solidFill>
                  <a:schemeClr val="tx2"/>
                </a:solidFill>
              </a:rPr>
              <a:t>4-тоифа – 64 балл</a:t>
            </a:r>
          </a:p>
          <a:p>
            <a:pPr>
              <a:spcAft>
                <a:spcPts val="3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Сўнг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йи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ч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en-US" sz="1400" dirty="0">
                <a:solidFill>
                  <a:schemeClr val="tx2"/>
                </a:solidFill>
              </a:rPr>
              <a:t>TRACE </a:t>
            </a:r>
            <a:r>
              <a:rPr lang="ru-RU" sz="1400" dirty="0" err="1">
                <a:solidFill>
                  <a:schemeClr val="tx2"/>
                </a:solidFill>
              </a:rPr>
              <a:t>рейтинг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збекисто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еспубликас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р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раш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изим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ҳолаш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жобий</a:t>
            </a:r>
            <a:r>
              <a:rPr lang="ru-RU" sz="1400" dirty="0">
                <a:solidFill>
                  <a:schemeClr val="tx2"/>
                </a:solidFill>
              </a:rPr>
              <a:t> динамика </a:t>
            </a:r>
            <a:r>
              <a:rPr lang="ru-RU" sz="1400" dirty="0" err="1">
                <a:solidFill>
                  <a:schemeClr val="tx2"/>
                </a:solidFill>
              </a:rPr>
              <a:t>кузатилди</a:t>
            </a:r>
            <a:r>
              <a:rPr lang="ru-RU" sz="1400" dirty="0">
                <a:solidFill>
                  <a:schemeClr val="tx2"/>
                </a:solidFill>
              </a:rPr>
              <a:t>, шу </a:t>
            </a:r>
            <a:r>
              <a:rPr lang="ru-RU" sz="1400" dirty="0" err="1">
                <a:solidFill>
                  <a:schemeClr val="tx2"/>
                </a:solidFill>
              </a:rPr>
              <a:t>боис</a:t>
            </a:r>
            <a:r>
              <a:rPr lang="ru-RU" sz="1400" dirty="0">
                <a:solidFill>
                  <a:schemeClr val="tx2"/>
                </a:solidFill>
              </a:rPr>
              <a:t> 2019 </a:t>
            </a:r>
            <a:r>
              <a:rPr lang="ru-RU" sz="1400" dirty="0" err="1">
                <a:solidFill>
                  <a:schemeClr val="tx2"/>
                </a:solidFill>
              </a:rPr>
              <a:t>йил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ейтингда</a:t>
            </a:r>
            <a:r>
              <a:rPr lang="ru-RU" sz="1400" dirty="0">
                <a:solidFill>
                  <a:schemeClr val="tx2"/>
                </a:solidFill>
              </a:rPr>
              <a:t> 181-ўрин, 2020 </a:t>
            </a:r>
            <a:r>
              <a:rPr lang="ru-RU" sz="1400" dirty="0" err="1">
                <a:solidFill>
                  <a:schemeClr val="tx2"/>
                </a:solidFill>
              </a:rPr>
              <a:t>йилда</a:t>
            </a:r>
            <a:r>
              <a:rPr lang="ru-RU" sz="1400" dirty="0">
                <a:solidFill>
                  <a:schemeClr val="tx2"/>
                </a:solidFill>
              </a:rPr>
              <a:t> 150-ўринни </a:t>
            </a:r>
            <a:r>
              <a:rPr lang="ru-RU" sz="1400" dirty="0" err="1">
                <a:solidFill>
                  <a:schemeClr val="tx2"/>
                </a:solidFill>
              </a:rPr>
              <a:t>эгалла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05D925A-305C-4BA4-AAAB-E87B339157DF}"/>
              </a:ext>
            </a:extLst>
          </p:cNvPr>
          <p:cNvSpPr/>
          <p:nvPr/>
        </p:nvSpPr>
        <p:spPr>
          <a:xfrm>
            <a:off x="6781337" y="6147811"/>
            <a:ext cx="433028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050" i="1" dirty="0" err="1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анба</a:t>
            </a:r>
            <a:r>
              <a:rPr lang="ru-RU" sz="1050" i="1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 https://www.traceinternational.org</a:t>
            </a:r>
            <a:endParaRPr lang="en-US" sz="105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00B7BB-EF3F-4B8C-A7D8-74901AD3B8E5}"/>
              </a:ext>
            </a:extLst>
          </p:cNvPr>
          <p:cNvSpPr txBox="1">
            <a:spLocks/>
          </p:cNvSpPr>
          <p:nvPr/>
        </p:nvSpPr>
        <p:spPr>
          <a:xfrm>
            <a:off x="848199" y="1787971"/>
            <a:ext cx="5277496" cy="142335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1000"/>
              </a:spcAft>
            </a:pPr>
            <a:r>
              <a:rPr lang="ru-RU" sz="1400" dirty="0" err="1"/>
              <a:t>бизнеснинг</a:t>
            </a:r>
            <a:r>
              <a:rPr lang="ru-RU" sz="1400" dirty="0"/>
              <a:t> </a:t>
            </a:r>
            <a:r>
              <a:rPr lang="ru-RU" sz="1400" dirty="0" err="1"/>
              <a:t>ҳукумат</a:t>
            </a:r>
            <a:r>
              <a:rPr lang="ru-RU" sz="1400" dirty="0"/>
              <a:t> </a:t>
            </a:r>
            <a:r>
              <a:rPr lang="ru-RU" sz="1400" dirty="0" err="1"/>
              <a:t>билан</a:t>
            </a:r>
            <a:r>
              <a:rPr lang="ru-RU" sz="1400" dirty="0"/>
              <a:t> </a:t>
            </a:r>
            <a:r>
              <a:rPr lang="ru-RU" sz="1400" dirty="0" err="1"/>
              <a:t>ўзаро</a:t>
            </a:r>
            <a:r>
              <a:rPr lang="ru-RU" sz="1400" dirty="0"/>
              <a:t> </a:t>
            </a:r>
            <a:r>
              <a:rPr lang="ru-RU" sz="1400" dirty="0" err="1"/>
              <a:t>муносабатлари</a:t>
            </a:r>
            <a:r>
              <a:rPr lang="ru-RU" sz="1400" dirty="0"/>
              <a:t>;</a:t>
            </a:r>
            <a:endParaRPr lang="en-US" sz="1400" dirty="0"/>
          </a:p>
          <a:p>
            <a:pPr lvl="1">
              <a:spcBef>
                <a:spcPts val="0"/>
              </a:spcBef>
              <a:spcAft>
                <a:spcPts val="1000"/>
              </a:spcAft>
            </a:pPr>
            <a:r>
              <a:rPr lang="ru-RU" sz="1400" dirty="0" err="1"/>
              <a:t>порахўрликка</a:t>
            </a:r>
            <a:r>
              <a:rPr lang="ru-RU" sz="1400" dirty="0"/>
              <a:t> </a:t>
            </a:r>
            <a:r>
              <a:rPr lang="ru-RU" sz="1400" dirty="0" err="1"/>
              <a:t>қарши</a:t>
            </a:r>
            <a:r>
              <a:rPr lang="ru-RU" sz="1400" dirty="0"/>
              <a:t> </a:t>
            </a:r>
            <a:r>
              <a:rPr lang="ru-RU" sz="1400" dirty="0" err="1"/>
              <a:t>ушлаб</a:t>
            </a:r>
            <a:r>
              <a:rPr lang="ru-RU" sz="1400" dirty="0"/>
              <a:t> </a:t>
            </a:r>
            <a:r>
              <a:rPr lang="ru-RU" sz="1400" dirty="0" err="1"/>
              <a:t>туриш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ҳуқуқни</a:t>
            </a:r>
            <a:r>
              <a:rPr lang="ru-RU" sz="1400" dirty="0"/>
              <a:t> </a:t>
            </a:r>
            <a:r>
              <a:rPr lang="ru-RU" sz="1400" dirty="0" err="1"/>
              <a:t>қўллаш</a:t>
            </a:r>
            <a:r>
              <a:rPr lang="ru-RU" sz="1400" dirty="0"/>
              <a:t>; </a:t>
            </a:r>
            <a:endParaRPr lang="en-US" sz="1400" dirty="0"/>
          </a:p>
          <a:p>
            <a:pPr lvl="1">
              <a:spcBef>
                <a:spcPts val="0"/>
              </a:spcBef>
              <a:spcAft>
                <a:spcPts val="1000"/>
              </a:spcAft>
            </a:pPr>
            <a:r>
              <a:rPr lang="ru-RU" sz="1400" dirty="0" err="1"/>
              <a:t>Давлат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давлат</a:t>
            </a:r>
            <a:r>
              <a:rPr lang="ru-RU" sz="1400" dirty="0"/>
              <a:t> </a:t>
            </a:r>
            <a:r>
              <a:rPr lang="ru-RU" sz="1400" dirty="0" err="1"/>
              <a:t>хизматининг</a:t>
            </a:r>
            <a:r>
              <a:rPr lang="ru-RU" sz="1400" dirty="0"/>
              <a:t> </a:t>
            </a:r>
            <a:r>
              <a:rPr lang="ru-RU" sz="1400" dirty="0" err="1"/>
              <a:t>шаффофлиги</a:t>
            </a:r>
            <a:r>
              <a:rPr lang="ru-RU" sz="1400" dirty="0"/>
              <a:t>; </a:t>
            </a:r>
            <a:endParaRPr lang="en-US" sz="1400" dirty="0"/>
          </a:p>
          <a:p>
            <a:pPr lvl="1">
              <a:spcBef>
                <a:spcPts val="0"/>
              </a:spcBef>
              <a:spcAft>
                <a:spcPts val="1000"/>
              </a:spcAft>
            </a:pPr>
            <a:r>
              <a:rPr lang="ru-RU" sz="1400" dirty="0" err="1"/>
              <a:t>фуқаролик</a:t>
            </a:r>
            <a:r>
              <a:rPr lang="ru-RU" sz="1400" dirty="0"/>
              <a:t> </a:t>
            </a:r>
            <a:r>
              <a:rPr lang="ru-RU" sz="1400" dirty="0" err="1"/>
              <a:t>жамияти</a:t>
            </a:r>
            <a:r>
              <a:rPr lang="ru-RU" sz="1400" dirty="0"/>
              <a:t> </a:t>
            </a:r>
            <a:r>
              <a:rPr lang="ru-RU" sz="1400" dirty="0" err="1"/>
              <a:t>томонидан</a:t>
            </a:r>
            <a:r>
              <a:rPr lang="ru-RU" sz="1400" dirty="0"/>
              <a:t> </a:t>
            </a:r>
            <a:r>
              <a:rPr lang="ru-RU" sz="1400" dirty="0" err="1"/>
              <a:t>назорат</a:t>
            </a:r>
            <a:r>
              <a:rPr lang="ru-RU" sz="1400" dirty="0"/>
              <a:t> </a:t>
            </a:r>
            <a:r>
              <a:rPr lang="ru-RU" sz="1400" dirty="0" err="1"/>
              <a:t>қилиши</a:t>
            </a:r>
            <a:r>
              <a:rPr lang="ru-RU" sz="1400" dirty="0"/>
              <a:t> </a:t>
            </a:r>
            <a:r>
              <a:rPr lang="ru-RU" sz="1400" dirty="0" err="1"/>
              <a:t>учун</a:t>
            </a:r>
            <a:r>
              <a:rPr lang="ru-RU" sz="1400" dirty="0"/>
              <a:t> потенциал, шу </a:t>
            </a:r>
            <a:r>
              <a:rPr lang="ru-RU" sz="1400" dirty="0" err="1"/>
              <a:t>жумладан</a:t>
            </a:r>
            <a:r>
              <a:rPr lang="ru-RU" sz="1400" dirty="0"/>
              <a:t> ОАВ роли. </a:t>
            </a:r>
          </a:p>
        </p:txBody>
      </p:sp>
      <p:sp>
        <p:nvSpPr>
          <p:cNvPr id="17" name="Oval 13">
            <a:extLst>
              <a:ext uri="{FF2B5EF4-FFF2-40B4-BE49-F238E27FC236}">
                <a16:creationId xmlns:a16="http://schemas.microsoft.com/office/drawing/2014/main" id="{A5AEBF96-E06D-4B54-B01E-6A15FC35A3A5}"/>
              </a:ext>
            </a:extLst>
          </p:cNvPr>
          <p:cNvSpPr/>
          <p:nvPr/>
        </p:nvSpPr>
        <p:spPr>
          <a:xfrm>
            <a:off x="479097" y="1787971"/>
            <a:ext cx="283996" cy="283996"/>
          </a:xfrm>
          <a:prstGeom prst="ellipse">
            <a:avLst/>
          </a:prstGeom>
          <a:solidFill>
            <a:srgbClr val="49A9F6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200" b="1" dirty="0"/>
              <a:t>01</a:t>
            </a:r>
            <a:endParaRPr lang="en-US" sz="1400" b="1" dirty="0"/>
          </a:p>
        </p:txBody>
      </p:sp>
      <p:sp>
        <p:nvSpPr>
          <p:cNvPr id="19" name="Oval 13">
            <a:extLst>
              <a:ext uri="{FF2B5EF4-FFF2-40B4-BE49-F238E27FC236}">
                <a16:creationId xmlns:a16="http://schemas.microsoft.com/office/drawing/2014/main" id="{30305B0B-2F13-4643-9FBE-724303899B60}"/>
              </a:ext>
            </a:extLst>
          </p:cNvPr>
          <p:cNvSpPr/>
          <p:nvPr/>
        </p:nvSpPr>
        <p:spPr>
          <a:xfrm>
            <a:off x="479097" y="2109056"/>
            <a:ext cx="283996" cy="283996"/>
          </a:xfrm>
          <a:prstGeom prst="ellipse">
            <a:avLst/>
          </a:prstGeom>
          <a:solidFill>
            <a:srgbClr val="49A9F6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200" b="1" dirty="0"/>
              <a:t>02</a:t>
            </a:r>
            <a:endParaRPr lang="en-US" sz="1400" b="1" dirty="0"/>
          </a:p>
        </p:txBody>
      </p:sp>
      <p:sp>
        <p:nvSpPr>
          <p:cNvPr id="20" name="Oval 13">
            <a:extLst>
              <a:ext uri="{FF2B5EF4-FFF2-40B4-BE49-F238E27FC236}">
                <a16:creationId xmlns:a16="http://schemas.microsoft.com/office/drawing/2014/main" id="{DFE299C9-6AE5-49A7-A6D5-8078C8A5C4EA}"/>
              </a:ext>
            </a:extLst>
          </p:cNvPr>
          <p:cNvSpPr/>
          <p:nvPr/>
        </p:nvSpPr>
        <p:spPr>
          <a:xfrm>
            <a:off x="479097" y="2419574"/>
            <a:ext cx="283996" cy="283996"/>
          </a:xfrm>
          <a:prstGeom prst="ellipse">
            <a:avLst/>
          </a:prstGeom>
          <a:solidFill>
            <a:srgbClr val="49A9F6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200" b="1" dirty="0"/>
              <a:t>03</a:t>
            </a:r>
            <a:endParaRPr lang="en-US" sz="1400" b="1" dirty="0"/>
          </a:p>
        </p:txBody>
      </p:sp>
      <p:sp>
        <p:nvSpPr>
          <p:cNvPr id="21" name="Oval 13">
            <a:extLst>
              <a:ext uri="{FF2B5EF4-FFF2-40B4-BE49-F238E27FC236}">
                <a16:creationId xmlns:a16="http://schemas.microsoft.com/office/drawing/2014/main" id="{B441B6FB-847F-456B-B1B3-A7226831257A}"/>
              </a:ext>
            </a:extLst>
          </p:cNvPr>
          <p:cNvSpPr/>
          <p:nvPr/>
        </p:nvSpPr>
        <p:spPr>
          <a:xfrm>
            <a:off x="479097" y="2804802"/>
            <a:ext cx="283996" cy="283996"/>
          </a:xfrm>
          <a:prstGeom prst="ellipse">
            <a:avLst/>
          </a:prstGeom>
          <a:solidFill>
            <a:srgbClr val="49A9F6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200" b="1" dirty="0"/>
              <a:t>04</a:t>
            </a:r>
            <a:endParaRPr lang="en-US" sz="1400" b="1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7ADB857-F740-4359-AC12-935404CFAA00}"/>
              </a:ext>
            </a:extLst>
          </p:cNvPr>
          <p:cNvSpPr/>
          <p:nvPr/>
        </p:nvSpPr>
        <p:spPr>
          <a:xfrm>
            <a:off x="479097" y="4306889"/>
            <a:ext cx="3804668" cy="283996"/>
          </a:xfrm>
          <a:prstGeom prst="roundRect">
            <a:avLst>
              <a:gd name="adj" fmla="val 50000"/>
            </a:avLst>
          </a:prstGeom>
          <a:noFill/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22935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AFD7E27-864D-4578-A0E0-B165A2490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ruption Risk Forecast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14F6C52B-88E9-4D44-9D9D-C131827A335B}"/>
              </a:ext>
            </a:extLst>
          </p:cNvPr>
          <p:cNvSpPr txBox="1">
            <a:spLocks/>
          </p:cNvSpPr>
          <p:nvPr/>
        </p:nvSpPr>
        <p:spPr>
          <a:xfrm>
            <a:off x="1570037" y="3934918"/>
            <a:ext cx="9036050" cy="5216904"/>
          </a:xfrm>
          <a:prstGeom prst="rect">
            <a:avLst/>
          </a:prstGeom>
        </p:spPr>
        <p:txBody>
          <a:bodyPr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just"/>
            <a:endParaRPr lang="ru-RU" sz="1200" dirty="0">
              <a:solidFill>
                <a:schemeClr val="tx1"/>
              </a:solidFill>
            </a:endParaRPr>
          </a:p>
          <a:p>
            <a:pPr lvl="1" algn="just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ED35421-0D8F-4298-8B5B-540708B2A887}"/>
              </a:ext>
            </a:extLst>
          </p:cNvPr>
          <p:cNvSpPr/>
          <p:nvPr/>
        </p:nvSpPr>
        <p:spPr>
          <a:xfrm>
            <a:off x="629039" y="4492911"/>
            <a:ext cx="288000" cy="28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C1A0DE-A004-46AF-BA1A-438EB264E1F0}"/>
              </a:ext>
            </a:extLst>
          </p:cNvPr>
          <p:cNvSpPr txBox="1"/>
          <p:nvPr/>
        </p:nvSpPr>
        <p:spPr>
          <a:xfrm>
            <a:off x="1064511" y="4517849"/>
            <a:ext cx="1466850" cy="238125"/>
          </a:xfrm>
          <a:prstGeom prst="rect">
            <a:avLst/>
          </a:prstGeom>
          <a:noFill/>
        </p:spPr>
        <p:txBody>
          <a:bodyPr wrap="square" lIns="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err="1"/>
              <a:t>Бажарилди</a:t>
            </a:r>
            <a:endParaRPr lang="en-US" sz="1600" b="1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39E0AC5-6CEB-43E0-9467-5A412A27E5B7}"/>
              </a:ext>
            </a:extLst>
          </p:cNvPr>
          <p:cNvSpPr/>
          <p:nvPr/>
        </p:nvSpPr>
        <p:spPr>
          <a:xfrm>
            <a:off x="556166" y="6309503"/>
            <a:ext cx="2088072" cy="253916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r>
              <a:rPr lang="ru-RU" sz="1050" i="1" u="sng" dirty="0" err="1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анба</a:t>
            </a:r>
            <a:r>
              <a:rPr lang="ru-RU" sz="1050" i="1" u="sng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 </a:t>
            </a:r>
            <a:r>
              <a:rPr lang="en-US" sz="1050" i="1" u="sng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rruptionrisk.org</a:t>
            </a:r>
            <a:endParaRPr lang="en-US" sz="1050" i="1" u="sng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7B81DB7-9100-4D73-8141-5BE55EA6B93F}"/>
              </a:ext>
            </a:extLst>
          </p:cNvPr>
          <p:cNvSpPr txBox="1">
            <a:spLocks/>
          </p:cNvSpPr>
          <p:nvPr/>
        </p:nvSpPr>
        <p:spPr>
          <a:xfrm>
            <a:off x="3727768" y="890937"/>
            <a:ext cx="8021319" cy="47513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accent3"/>
                </a:solidFill>
              </a:rPr>
              <a:t>120 дан </a:t>
            </a:r>
            <a:r>
              <a:rPr lang="ru-RU" sz="1400" b="1" dirty="0" err="1">
                <a:solidFill>
                  <a:schemeClr val="accent3"/>
                </a:solidFill>
              </a:rPr>
              <a:t>ортиқ</a:t>
            </a:r>
            <a:r>
              <a:rPr lang="ru-RU" sz="1400" b="1" dirty="0">
                <a:solidFill>
                  <a:schemeClr val="accent3"/>
                </a:solidFill>
              </a:rPr>
              <a:t> </a:t>
            </a:r>
            <a:r>
              <a:rPr lang="ru-RU" sz="1400" b="1" dirty="0" err="1">
                <a:solidFill>
                  <a:schemeClr val="accent3"/>
                </a:solidFill>
              </a:rPr>
              <a:t>мамлакатлар</a:t>
            </a:r>
            <a:r>
              <a:rPr lang="ru-RU" sz="1400" dirty="0"/>
              <a:t> </a:t>
            </a:r>
            <a:r>
              <a:rPr lang="ru-RU" sz="1400" dirty="0" err="1"/>
              <a:t>учун</a:t>
            </a:r>
            <a:r>
              <a:rPr lang="ru-RU" sz="1400" dirty="0"/>
              <a:t> коррупция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шаффофликнинг</a:t>
            </a:r>
            <a:r>
              <a:rPr lang="ru-RU" sz="1400" dirty="0"/>
              <a:t> объектив </a:t>
            </a:r>
            <a:r>
              <a:rPr lang="ru-RU" sz="1400" dirty="0" err="1"/>
              <a:t>кўрсаткичларини</a:t>
            </a:r>
            <a:r>
              <a:rPr lang="ru-RU" sz="1400" dirty="0"/>
              <a:t> </a:t>
            </a:r>
            <a:r>
              <a:rPr lang="ru-RU" sz="1400" dirty="0" err="1"/>
              <a:t>баҳолайди.Ушбу</a:t>
            </a:r>
            <a:r>
              <a:rPr lang="ru-RU" sz="1400" dirty="0"/>
              <a:t> </a:t>
            </a:r>
            <a:r>
              <a:rPr lang="ru-RU" sz="1400" dirty="0" err="1"/>
              <a:t>баҳолаш</a:t>
            </a:r>
            <a:r>
              <a:rPr lang="ru-RU" sz="1400" dirty="0"/>
              <a:t> 3 та </a:t>
            </a:r>
            <a:r>
              <a:rPr lang="ru-RU" sz="1400" dirty="0" err="1"/>
              <a:t>индексга</a:t>
            </a:r>
            <a:r>
              <a:rPr lang="ru-RU" sz="1400" dirty="0"/>
              <a:t> </a:t>
            </a:r>
            <a:r>
              <a:rPr lang="ru-RU" sz="1400" dirty="0" err="1"/>
              <a:t>гуруҳланган</a:t>
            </a:r>
            <a:r>
              <a:rPr lang="ru-RU" sz="1400" dirty="0"/>
              <a:t> 30 индикатор </a:t>
            </a:r>
            <a:r>
              <a:rPr lang="ru-RU" sz="1400" dirty="0" err="1"/>
              <a:t>бўйича</a:t>
            </a:r>
            <a:r>
              <a:rPr lang="ru-RU" sz="1400" dirty="0"/>
              <a:t> </a:t>
            </a:r>
            <a:r>
              <a:rPr lang="ru-RU" sz="1400" dirty="0" err="1"/>
              <a:t>амалга</a:t>
            </a:r>
            <a:r>
              <a:rPr lang="ru-RU" sz="1400" dirty="0"/>
              <a:t> </a:t>
            </a:r>
            <a:r>
              <a:rPr lang="ru-RU" sz="1400" dirty="0" err="1"/>
              <a:t>оширилади</a:t>
            </a:r>
            <a:r>
              <a:rPr lang="ru-RU" sz="1400" dirty="0"/>
              <a:t>: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4A7D61D-CDE6-4217-9265-655D4E2D83B4}"/>
              </a:ext>
            </a:extLst>
          </p:cNvPr>
          <p:cNvSpPr/>
          <p:nvPr/>
        </p:nvSpPr>
        <p:spPr>
          <a:xfrm>
            <a:off x="442913" y="908093"/>
            <a:ext cx="3179687" cy="47513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004BD2"/>
                </a:solidFill>
              </a:rPr>
              <a:t>Corruption Risk Forecast </a:t>
            </a:r>
            <a:endParaRPr lang="ru-RU" sz="1400" b="1" dirty="0">
              <a:solidFill>
                <a:srgbClr val="004BD2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43F34C2-0285-4F4D-B479-28943394238F}"/>
              </a:ext>
            </a:extLst>
          </p:cNvPr>
          <p:cNvGrpSpPr/>
          <p:nvPr/>
        </p:nvGrpSpPr>
        <p:grpSpPr>
          <a:xfrm>
            <a:off x="2711581" y="1306106"/>
            <a:ext cx="1770333" cy="1111706"/>
            <a:chOff x="498735" y="4472486"/>
            <a:chExt cx="1770333" cy="1111706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4A10CC6-A14B-4413-BFB5-8DAA8489FBED}"/>
                </a:ext>
              </a:extLst>
            </p:cNvPr>
            <p:cNvSpPr/>
            <p:nvPr/>
          </p:nvSpPr>
          <p:spPr>
            <a:xfrm>
              <a:off x="498735" y="4472486"/>
              <a:ext cx="861633" cy="981502"/>
            </a:xfrm>
            <a:prstGeom prst="rect">
              <a:avLst/>
            </a:prstGeom>
          </p:spPr>
          <p:txBody>
            <a:bodyPr wrap="none" lIns="91440" tIns="0" bIns="0" anchor="t">
              <a:noAutofit/>
            </a:bodyPr>
            <a:lstStyle/>
            <a:p>
              <a:r>
                <a:rPr lang="ru-RU" sz="4800" spc="-244" dirty="0">
                  <a:solidFill>
                    <a:srgbClr val="49A9F6">
                      <a:alpha val="36000"/>
                    </a:srgbClr>
                  </a:solidFill>
                  <a:latin typeface="Arial" panose="020B0604020202020204" pitchFamily="34" charset="0"/>
                </a:rPr>
                <a:t>01</a:t>
              </a:r>
              <a:endParaRPr lang="en-US" sz="4800" spc="-244" dirty="0">
                <a:solidFill>
                  <a:srgbClr val="49A9F6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8BF76BAF-A3DB-4E5B-9927-90523A462A84}"/>
                </a:ext>
              </a:extLst>
            </p:cNvPr>
            <p:cNvSpPr/>
            <p:nvPr/>
          </p:nvSpPr>
          <p:spPr>
            <a:xfrm>
              <a:off x="588486" y="4845528"/>
              <a:ext cx="1680582" cy="73866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 err="1">
                  <a:solidFill>
                    <a:srgbClr val="004BD2"/>
                  </a:solidFill>
                </a:rPr>
                <a:t>Жамият</a:t>
              </a:r>
              <a:r>
                <a:rPr lang="ru-RU" sz="1400" dirty="0">
                  <a:solidFill>
                    <a:srgbClr val="004BD2"/>
                  </a:solidFill>
                </a:rPr>
                <a:t> </a:t>
              </a:r>
              <a:r>
                <a:rPr lang="ru-RU" sz="1400" dirty="0" err="1">
                  <a:solidFill>
                    <a:srgbClr val="004BD2"/>
                  </a:solidFill>
                </a:rPr>
                <a:t>виждонлилиги</a:t>
              </a:r>
              <a:r>
                <a:rPr lang="ru-RU" sz="1400" dirty="0">
                  <a:solidFill>
                    <a:srgbClr val="004BD2"/>
                  </a:solidFill>
                </a:rPr>
                <a:t> </a:t>
              </a:r>
              <a:r>
                <a:rPr lang="ru-RU" sz="1400" dirty="0" err="1">
                  <a:solidFill>
                    <a:srgbClr val="004BD2"/>
                  </a:solidFill>
                </a:rPr>
                <a:t>Индекси</a:t>
              </a:r>
              <a:r>
                <a:rPr lang="ru-RU" sz="1400" dirty="0">
                  <a:solidFill>
                    <a:srgbClr val="004BD2"/>
                  </a:solidFill>
                </a:rPr>
                <a:t>  </a:t>
              </a:r>
              <a:endParaRPr lang="ru-RU" sz="1200" dirty="0">
                <a:solidFill>
                  <a:srgbClr val="004BD2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1110B67-1646-42EB-9CC2-9B3BA184245A}"/>
              </a:ext>
            </a:extLst>
          </p:cNvPr>
          <p:cNvGrpSpPr/>
          <p:nvPr/>
        </p:nvGrpSpPr>
        <p:grpSpPr>
          <a:xfrm>
            <a:off x="5418381" y="1270577"/>
            <a:ext cx="1772980" cy="1157357"/>
            <a:chOff x="496088" y="4396057"/>
            <a:chExt cx="1772980" cy="1157357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E27CFF6-7DF3-4E08-BC39-AB2E62417130}"/>
                </a:ext>
              </a:extLst>
            </p:cNvPr>
            <p:cNvSpPr/>
            <p:nvPr/>
          </p:nvSpPr>
          <p:spPr>
            <a:xfrm>
              <a:off x="496088" y="4396057"/>
              <a:ext cx="861633" cy="981502"/>
            </a:xfrm>
            <a:prstGeom prst="rect">
              <a:avLst/>
            </a:prstGeom>
          </p:spPr>
          <p:txBody>
            <a:bodyPr wrap="none" lIns="91440" tIns="0" bIns="0" anchor="t">
              <a:noAutofit/>
            </a:bodyPr>
            <a:lstStyle/>
            <a:p>
              <a:r>
                <a:rPr lang="ru-RU" sz="4800" spc="-244" dirty="0">
                  <a:solidFill>
                    <a:srgbClr val="49A9F6">
                      <a:alpha val="36000"/>
                    </a:srgbClr>
                  </a:solidFill>
                  <a:latin typeface="Arial" panose="020B0604020202020204" pitchFamily="34" charset="0"/>
                </a:rPr>
                <a:t>0</a:t>
              </a:r>
              <a:r>
                <a:rPr lang="en-US" sz="4800" spc="-244" dirty="0">
                  <a:solidFill>
                    <a:srgbClr val="49A9F6">
                      <a:alpha val="36000"/>
                    </a:srgbClr>
                  </a:solidFill>
                  <a:latin typeface="Arial" panose="020B0604020202020204" pitchFamily="34" charset="0"/>
                </a:rPr>
                <a:t>2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CF40E4DD-37E4-44AC-905E-160AE62E792F}"/>
                </a:ext>
              </a:extLst>
            </p:cNvPr>
            <p:cNvSpPr/>
            <p:nvPr/>
          </p:nvSpPr>
          <p:spPr>
            <a:xfrm>
              <a:off x="588486" y="4845528"/>
              <a:ext cx="1680582" cy="707886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 err="1">
                  <a:solidFill>
                    <a:srgbClr val="004BD2"/>
                  </a:solidFill>
                </a:rPr>
                <a:t>Шаффофлилик</a:t>
              </a:r>
              <a:r>
                <a:rPr lang="ru-RU" sz="1400" dirty="0">
                  <a:solidFill>
                    <a:srgbClr val="004BD2"/>
                  </a:solidFill>
                </a:rPr>
                <a:t> </a:t>
              </a:r>
              <a:r>
                <a:rPr lang="ru-RU" sz="1400" dirty="0" err="1">
                  <a:solidFill>
                    <a:srgbClr val="004BD2"/>
                  </a:solidFill>
                </a:rPr>
                <a:t>Индекси</a:t>
              </a:r>
              <a:r>
                <a:rPr lang="ru-RU" sz="1400" dirty="0">
                  <a:solidFill>
                    <a:srgbClr val="004BD2"/>
                  </a:solidFill>
                </a:rPr>
                <a:t> </a:t>
              </a:r>
              <a:br>
                <a:rPr lang="en-US" sz="1400" dirty="0">
                  <a:solidFill>
                    <a:srgbClr val="004BD2"/>
                  </a:solidFill>
                </a:rPr>
              </a:br>
              <a:endParaRPr lang="ru-RU" sz="1200" dirty="0">
                <a:solidFill>
                  <a:srgbClr val="004BD2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B1EEFCD-275C-4D56-808F-0E68604AC589}"/>
              </a:ext>
            </a:extLst>
          </p:cNvPr>
          <p:cNvGrpSpPr/>
          <p:nvPr/>
        </p:nvGrpSpPr>
        <p:grpSpPr>
          <a:xfrm>
            <a:off x="7836547" y="1322340"/>
            <a:ext cx="1741326" cy="1169062"/>
            <a:chOff x="527742" y="4415130"/>
            <a:chExt cx="1741326" cy="1169062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587D82B1-8F8B-4DCC-99F7-AEACDC46826E}"/>
                </a:ext>
              </a:extLst>
            </p:cNvPr>
            <p:cNvSpPr/>
            <p:nvPr/>
          </p:nvSpPr>
          <p:spPr>
            <a:xfrm>
              <a:off x="527742" y="4415130"/>
              <a:ext cx="861633" cy="981502"/>
            </a:xfrm>
            <a:prstGeom prst="rect">
              <a:avLst/>
            </a:prstGeom>
          </p:spPr>
          <p:txBody>
            <a:bodyPr wrap="none" lIns="91440" tIns="0" bIns="0" anchor="t">
              <a:noAutofit/>
            </a:bodyPr>
            <a:lstStyle/>
            <a:p>
              <a:r>
                <a:rPr lang="ru-RU" sz="4800" spc="-244" dirty="0">
                  <a:solidFill>
                    <a:srgbClr val="49A9F6">
                      <a:alpha val="36000"/>
                    </a:srgbClr>
                  </a:solidFill>
                  <a:latin typeface="Arial" panose="020B0604020202020204" pitchFamily="34" charset="0"/>
                </a:rPr>
                <a:t>0</a:t>
              </a:r>
              <a:r>
                <a:rPr lang="en-US" sz="4800" spc="-244" dirty="0">
                  <a:solidFill>
                    <a:srgbClr val="49A9F6">
                      <a:alpha val="36000"/>
                    </a:srgbClr>
                  </a:solidFill>
                  <a:latin typeface="Arial" panose="020B0604020202020204" pitchFamily="34" charset="0"/>
                </a:rPr>
                <a:t>3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5471B836-3B05-461D-851B-F6C60DA2CBE6}"/>
                </a:ext>
              </a:extLst>
            </p:cNvPr>
            <p:cNvSpPr/>
            <p:nvPr/>
          </p:nvSpPr>
          <p:spPr>
            <a:xfrm>
              <a:off x="588486" y="4845528"/>
              <a:ext cx="1680582" cy="73866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>
                  <a:solidFill>
                    <a:srgbClr val="004BD2"/>
                  </a:solidFill>
                </a:rPr>
                <a:t>Коррупция  </a:t>
              </a:r>
              <a:r>
                <a:rPr lang="ru-RU" sz="1400" dirty="0" err="1">
                  <a:solidFill>
                    <a:srgbClr val="004BD2"/>
                  </a:solidFill>
                </a:rPr>
                <a:t>прогнози</a:t>
              </a:r>
              <a:r>
                <a:rPr lang="ru-RU" sz="1400" dirty="0">
                  <a:solidFill>
                    <a:srgbClr val="004BD2"/>
                  </a:solidFill>
                </a:rPr>
                <a:t>      </a:t>
              </a:r>
              <a:r>
                <a:rPr lang="ru-RU" sz="1400" dirty="0" err="1">
                  <a:solidFill>
                    <a:srgbClr val="004BD2"/>
                  </a:solidFill>
                </a:rPr>
                <a:t>Индекси</a:t>
              </a:r>
              <a:r>
                <a:rPr lang="ru-RU" sz="1400" dirty="0">
                  <a:solidFill>
                    <a:srgbClr val="004BD2"/>
                  </a:solidFill>
                </a:rPr>
                <a:t> </a:t>
              </a:r>
              <a:endParaRPr lang="ru-RU" sz="1200" dirty="0">
                <a:solidFill>
                  <a:srgbClr val="004BD2"/>
                </a:solidFill>
              </a:endParaRPr>
            </a:p>
          </p:txBody>
        </p:sp>
      </p:grp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2D282B4D-EE37-4B28-9EF6-9F3363F1D6A1}"/>
              </a:ext>
            </a:extLst>
          </p:cNvPr>
          <p:cNvSpPr/>
          <p:nvPr/>
        </p:nvSpPr>
        <p:spPr>
          <a:xfrm>
            <a:off x="442913" y="2685621"/>
            <a:ext cx="11306174" cy="330998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err="1">
                <a:solidFill>
                  <a:srgbClr val="004BD2"/>
                </a:solidFill>
              </a:rPr>
              <a:t>Ўзбекистон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Республикасида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Corruption</a:t>
            </a:r>
            <a:r>
              <a:rPr lang="ru-RU" sz="1400" b="1" dirty="0">
                <a:solidFill>
                  <a:srgbClr val="004BD2"/>
                </a:solidFill>
              </a:rPr>
              <a:t> Risk </a:t>
            </a:r>
            <a:r>
              <a:rPr lang="ru-RU" sz="1400" b="1" dirty="0" err="1">
                <a:solidFill>
                  <a:srgbClr val="004BD2"/>
                </a:solidFill>
              </a:rPr>
              <a:t>Forecast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баҳолаш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натижалари</a:t>
            </a:r>
            <a:r>
              <a:rPr lang="ru-RU" sz="1400" b="1" dirty="0">
                <a:solidFill>
                  <a:srgbClr val="004BD2"/>
                </a:solidFill>
              </a:rPr>
              <a:t> </a:t>
            </a:r>
            <a:r>
              <a:rPr lang="ru-RU" sz="1400" b="1" dirty="0" err="1">
                <a:solidFill>
                  <a:srgbClr val="004BD2"/>
                </a:solidFill>
              </a:rPr>
              <a:t>қуйидагича</a:t>
            </a:r>
            <a:r>
              <a:rPr lang="ru-RU" sz="1400" b="1" dirty="0">
                <a:solidFill>
                  <a:srgbClr val="004BD2"/>
                </a:solidFill>
              </a:rPr>
              <a:t>: </a:t>
            </a:r>
          </a:p>
        </p:txBody>
      </p:sp>
      <p:sp>
        <p:nvSpPr>
          <p:cNvPr id="61" name="Text Placeholder 6">
            <a:extLst>
              <a:ext uri="{FF2B5EF4-FFF2-40B4-BE49-F238E27FC236}">
                <a16:creationId xmlns:a16="http://schemas.microsoft.com/office/drawing/2014/main" id="{BF4E5531-C91C-44E5-A611-BB53251F9391}"/>
              </a:ext>
            </a:extLst>
          </p:cNvPr>
          <p:cNvSpPr txBox="1">
            <a:spLocks/>
          </p:cNvSpPr>
          <p:nvPr/>
        </p:nvSpPr>
        <p:spPr>
          <a:xfrm>
            <a:off x="2455888" y="2321795"/>
            <a:ext cx="8294046" cy="408913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uz-Cyrl-UZ" sz="1200" dirty="0"/>
              <a:t>Ў</a:t>
            </a:r>
            <a:r>
              <a:rPr lang="ru-RU" sz="1200" dirty="0" err="1"/>
              <a:t>збекистон</a:t>
            </a:r>
            <a:r>
              <a:rPr lang="ru-RU" sz="1200" dirty="0"/>
              <a:t> </a:t>
            </a:r>
            <a:r>
              <a:rPr lang="ru-RU" sz="1200" dirty="0" err="1"/>
              <a:t>Республикасининг</a:t>
            </a:r>
            <a:r>
              <a:rPr lang="ru-RU" sz="1200" dirty="0"/>
              <a:t> </a:t>
            </a:r>
            <a:r>
              <a:rPr lang="ru-RU" sz="1200" dirty="0" err="1"/>
              <a:t>кўрсаткичларини</a:t>
            </a:r>
            <a:r>
              <a:rPr lang="ru-RU" sz="1200" dirty="0"/>
              <a:t> </a:t>
            </a:r>
            <a:r>
              <a:rPr lang="ru-RU" sz="1200" dirty="0" err="1"/>
              <a:t>баҳолаш</a:t>
            </a:r>
            <a:r>
              <a:rPr lang="ru-RU" sz="1200" dirty="0"/>
              <a:t> </a:t>
            </a:r>
            <a:r>
              <a:rPr lang="ru-RU" sz="1200" dirty="0" err="1"/>
              <a:t>фақат</a:t>
            </a:r>
            <a:r>
              <a:rPr lang="ru-RU" sz="1200" dirty="0"/>
              <a:t> </a:t>
            </a:r>
            <a:r>
              <a:rPr lang="ru-RU" sz="1200" dirty="0" err="1"/>
              <a:t>шаффофлилик</a:t>
            </a:r>
            <a:r>
              <a:rPr lang="ru-RU" sz="1200" dirty="0"/>
              <a:t> </a:t>
            </a:r>
            <a:r>
              <a:rPr lang="ru-RU" sz="1200" dirty="0" err="1"/>
              <a:t>индекси</a:t>
            </a:r>
            <a:r>
              <a:rPr lang="ru-RU" sz="1200" dirty="0"/>
              <a:t> </a:t>
            </a:r>
            <a:r>
              <a:rPr lang="ru-RU" sz="1200" dirty="0" err="1"/>
              <a:t>бўйича</a:t>
            </a:r>
            <a:r>
              <a:rPr lang="ru-RU" sz="1200" dirty="0"/>
              <a:t> </a:t>
            </a:r>
            <a:r>
              <a:rPr lang="ru-RU" sz="1200" dirty="0" err="1"/>
              <a:t>амалга</a:t>
            </a:r>
            <a:r>
              <a:rPr lang="ru-RU" sz="1200" dirty="0"/>
              <a:t> </a:t>
            </a:r>
            <a:r>
              <a:rPr lang="ru-RU" sz="1200" dirty="0" err="1"/>
              <a:t>оширилди</a:t>
            </a:r>
            <a:r>
              <a:rPr lang="ru-RU" sz="1200" dirty="0"/>
              <a:t>. 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377A7826-AB29-4D2A-95B1-AB972F6A078D}"/>
              </a:ext>
            </a:extLst>
          </p:cNvPr>
          <p:cNvSpPr/>
          <p:nvPr/>
        </p:nvSpPr>
        <p:spPr>
          <a:xfrm>
            <a:off x="1515436" y="3592196"/>
            <a:ext cx="1684535" cy="14175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CC1ADA7-D30F-4E8B-88DE-CE5D29880BDB}"/>
              </a:ext>
            </a:extLst>
          </p:cNvPr>
          <p:cNvSpPr/>
          <p:nvPr/>
        </p:nvSpPr>
        <p:spPr>
          <a:xfrm>
            <a:off x="1520090" y="3016933"/>
            <a:ext cx="861633" cy="981502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4000" b="1" spc="-244" dirty="0">
                <a:solidFill>
                  <a:schemeClr val="accent3"/>
                </a:solidFill>
                <a:latin typeface="Arial" panose="020B0604020202020204" pitchFamily="34" charset="0"/>
              </a:rPr>
              <a:t>117</a:t>
            </a:r>
            <a:r>
              <a:rPr lang="ru-RU" sz="4000" spc="-244" dirty="0">
                <a:solidFill>
                  <a:schemeClr val="accent3"/>
                </a:solidFill>
                <a:latin typeface="Arial" panose="020B0604020202020204" pitchFamily="34" charset="0"/>
              </a:rPr>
              <a:t>/129</a:t>
            </a:r>
            <a:endParaRPr lang="en-US" sz="4000" spc="-244" dirty="0">
              <a:solidFill>
                <a:schemeClr val="accent3"/>
              </a:solidFill>
              <a:latin typeface="Arial" panose="020B0604020202020204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13BA1FB3-1A62-4DA9-8135-49A625A8834A}"/>
              </a:ext>
            </a:extLst>
          </p:cNvPr>
          <p:cNvSpPr/>
          <p:nvPr/>
        </p:nvSpPr>
        <p:spPr>
          <a:xfrm>
            <a:off x="1515435" y="3574384"/>
            <a:ext cx="1684535" cy="4557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t">
            <a:noAutofit/>
          </a:bodyPr>
          <a:lstStyle/>
          <a:p>
            <a:pPr algn="ctr"/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Жаҳон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рейтинги 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7E2A4157-198D-4E2C-B4A5-07E28AC67FD9}"/>
              </a:ext>
            </a:extLst>
          </p:cNvPr>
          <p:cNvSpPr/>
          <p:nvPr/>
        </p:nvSpPr>
        <p:spPr>
          <a:xfrm>
            <a:off x="3500849" y="3592196"/>
            <a:ext cx="1684535" cy="14175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DAC8894-0675-420E-9BA1-6C1E9C81CABF}"/>
              </a:ext>
            </a:extLst>
          </p:cNvPr>
          <p:cNvSpPr/>
          <p:nvPr/>
        </p:nvSpPr>
        <p:spPr>
          <a:xfrm>
            <a:off x="3656629" y="3016933"/>
            <a:ext cx="861633" cy="981502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en-US" sz="4000" b="1" spc="-244" dirty="0">
                <a:solidFill>
                  <a:schemeClr val="accent3"/>
                </a:solidFill>
                <a:latin typeface="Arial" panose="020B0604020202020204" pitchFamily="34" charset="0"/>
              </a:rPr>
              <a:t>14</a:t>
            </a:r>
            <a:r>
              <a:rPr lang="ru-RU" sz="4000" spc="-244" dirty="0">
                <a:solidFill>
                  <a:schemeClr val="accent3"/>
                </a:solidFill>
                <a:latin typeface="Arial" panose="020B0604020202020204" pitchFamily="34" charset="0"/>
              </a:rPr>
              <a:t>/1</a:t>
            </a:r>
            <a:r>
              <a:rPr lang="en-US" sz="4000" spc="-244" dirty="0">
                <a:solidFill>
                  <a:schemeClr val="accent3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326B086C-0B28-48E7-BDBA-3F3E0D319D65}"/>
              </a:ext>
            </a:extLst>
          </p:cNvPr>
          <p:cNvSpPr/>
          <p:nvPr/>
        </p:nvSpPr>
        <p:spPr>
          <a:xfrm>
            <a:off x="3356240" y="3574384"/>
            <a:ext cx="1973750" cy="4557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t">
            <a:noAutofit/>
          </a:bodyPr>
          <a:lstStyle/>
          <a:p>
            <a:pPr algn="ctr"/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интақавий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 </a:t>
            </a:r>
            <a:b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</a:b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ейтинг </a:t>
            </a:r>
          </a:p>
        </p:txBody>
      </p:sp>
      <p:sp>
        <p:nvSpPr>
          <p:cNvPr id="78" name="Text Placeholder 6">
            <a:extLst>
              <a:ext uri="{FF2B5EF4-FFF2-40B4-BE49-F238E27FC236}">
                <a16:creationId xmlns:a16="http://schemas.microsoft.com/office/drawing/2014/main" id="{EB18F44F-F1D9-41A4-9410-9AC51F17A03A}"/>
              </a:ext>
            </a:extLst>
          </p:cNvPr>
          <p:cNvSpPr txBox="1">
            <a:spLocks/>
          </p:cNvSpPr>
          <p:nvPr/>
        </p:nvSpPr>
        <p:spPr>
          <a:xfrm>
            <a:off x="5474598" y="3237167"/>
            <a:ext cx="6274489" cy="48106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ru-RU" sz="1400" dirty="0" err="1"/>
              <a:t>Рейтингни</a:t>
            </a:r>
            <a:r>
              <a:rPr lang="ru-RU" sz="1400" dirty="0"/>
              <a:t> </a:t>
            </a:r>
            <a:r>
              <a:rPr lang="ru-RU" sz="1400" dirty="0" err="1"/>
              <a:t>баҳолашда</a:t>
            </a:r>
            <a:r>
              <a:rPr lang="ru-RU" sz="1400" dirty="0"/>
              <a:t> </a:t>
            </a:r>
            <a:r>
              <a:rPr lang="ru-RU" sz="1400" dirty="0" err="1"/>
              <a:t>қуйидаги</a:t>
            </a:r>
            <a:r>
              <a:rPr lang="ru-RU" sz="1400" dirty="0"/>
              <a:t> </a:t>
            </a:r>
            <a:r>
              <a:rPr lang="ru-RU" sz="1400" dirty="0" err="1"/>
              <a:t>тоифадаги</a:t>
            </a:r>
            <a:r>
              <a:rPr lang="ru-RU" sz="1400" dirty="0"/>
              <a:t> </a:t>
            </a:r>
            <a:r>
              <a:rPr lang="ru-RU" sz="1400" dirty="0" err="1"/>
              <a:t>маълумотлар</a:t>
            </a:r>
            <a:r>
              <a:rPr lang="ru-RU" sz="1400" dirty="0"/>
              <a:t> (шу </a:t>
            </a:r>
            <a:r>
              <a:rPr lang="ru-RU" sz="1400" dirty="0" err="1"/>
              <a:t>жумладан</a:t>
            </a:r>
            <a:r>
              <a:rPr lang="ru-RU" sz="1400" dirty="0"/>
              <a:t> электрон </a:t>
            </a:r>
            <a:r>
              <a:rPr lang="ru-RU" sz="1400" dirty="0" err="1"/>
              <a:t>шаклда</a:t>
            </a:r>
            <a:r>
              <a:rPr lang="ru-RU" sz="1400" dirty="0"/>
              <a:t>) </a:t>
            </a:r>
            <a:r>
              <a:rPr lang="ru-RU" sz="1400" dirty="0" err="1"/>
              <a:t>доирасида</a:t>
            </a:r>
            <a:r>
              <a:rPr lang="ru-RU" sz="1400" dirty="0"/>
              <a:t> </a:t>
            </a:r>
            <a:r>
              <a:rPr lang="ru-RU" sz="1400" dirty="0" err="1"/>
              <a:t>маълумотларнинг</a:t>
            </a:r>
            <a:r>
              <a:rPr lang="ru-RU" sz="1400" dirty="0"/>
              <a:t> </a:t>
            </a:r>
            <a:r>
              <a:rPr lang="ru-RU" sz="1400" dirty="0" err="1"/>
              <a:t>жамоатчилик</a:t>
            </a:r>
            <a:r>
              <a:rPr lang="ru-RU" sz="1400" dirty="0"/>
              <a:t> </a:t>
            </a:r>
            <a:r>
              <a:rPr lang="ru-RU" sz="1400" dirty="0" err="1"/>
              <a:t>учун</a:t>
            </a:r>
            <a:r>
              <a:rPr lang="ru-RU" sz="1400" dirty="0"/>
              <a:t> </a:t>
            </a:r>
            <a:r>
              <a:rPr lang="ru-RU" sz="1400" dirty="0" err="1"/>
              <a:t>мавжудлиги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очиқлиги</a:t>
            </a:r>
            <a:r>
              <a:rPr lang="ru-RU" sz="1400" dirty="0"/>
              <a:t> </a:t>
            </a:r>
            <a:r>
              <a:rPr lang="ru-RU" sz="1400" dirty="0" err="1"/>
              <a:t>ҳисобга</a:t>
            </a:r>
            <a:r>
              <a:rPr lang="ru-RU" sz="1400" dirty="0"/>
              <a:t> </a:t>
            </a:r>
            <a:r>
              <a:rPr lang="ru-RU" sz="1400" dirty="0" err="1"/>
              <a:t>олинади</a:t>
            </a:r>
            <a:r>
              <a:rPr lang="ru-RU" sz="1400" dirty="0"/>
              <a:t>.:</a:t>
            </a: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C01137B5-CA52-4993-B9EA-6E1CE1F6109C}"/>
              </a:ext>
            </a:extLst>
          </p:cNvPr>
          <p:cNvSpPr/>
          <p:nvPr/>
        </p:nvSpPr>
        <p:spPr>
          <a:xfrm>
            <a:off x="431999" y="4035031"/>
            <a:ext cx="11317088" cy="28672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49A9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rgbClr val="004BD2"/>
                </a:solidFill>
              </a:rPr>
              <a:t>Компонентлар</a:t>
            </a:r>
            <a:endParaRPr lang="ru-RU" sz="1400" b="1" dirty="0">
              <a:solidFill>
                <a:srgbClr val="004BD2"/>
              </a:solidFill>
            </a:endParaRPr>
          </a:p>
        </p:txBody>
      </p:sp>
      <p:sp>
        <p:nvSpPr>
          <p:cNvPr id="80" name="Text Placeholder 6">
            <a:extLst>
              <a:ext uri="{FF2B5EF4-FFF2-40B4-BE49-F238E27FC236}">
                <a16:creationId xmlns:a16="http://schemas.microsoft.com/office/drawing/2014/main" id="{F844F9CC-FC54-4FC6-8DEC-DB61E005FC36}"/>
              </a:ext>
            </a:extLst>
          </p:cNvPr>
          <p:cNvSpPr txBox="1">
            <a:spLocks/>
          </p:cNvSpPr>
          <p:nvPr/>
        </p:nvSpPr>
        <p:spPr>
          <a:xfrm>
            <a:off x="1064512" y="4815900"/>
            <a:ext cx="1647069" cy="44196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►"/>
            </a:pPr>
            <a:r>
              <a:rPr lang="ru-RU" sz="1400" dirty="0"/>
              <a:t>Ер </a:t>
            </a:r>
            <a:r>
              <a:rPr lang="ru-RU" sz="1400" dirty="0" err="1"/>
              <a:t>кадастр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Расмий</a:t>
            </a:r>
            <a:r>
              <a:rPr lang="ru-RU" sz="1400" dirty="0"/>
              <a:t> </a:t>
            </a:r>
            <a:r>
              <a:rPr lang="ru-RU" sz="1400" dirty="0" err="1"/>
              <a:t>хабарлар</a:t>
            </a:r>
            <a:r>
              <a:rPr lang="ru-RU" sz="1400" dirty="0"/>
              <a:t> 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3C9A5F35-89FE-4176-BD5E-5188EC080EFD}"/>
              </a:ext>
            </a:extLst>
          </p:cNvPr>
          <p:cNvSpPr/>
          <p:nvPr/>
        </p:nvSpPr>
        <p:spPr>
          <a:xfrm>
            <a:off x="3012014" y="4492911"/>
            <a:ext cx="288000" cy="288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F0BE71F-0B08-437B-B242-ECBDC330293F}"/>
              </a:ext>
            </a:extLst>
          </p:cNvPr>
          <p:cNvSpPr txBox="1"/>
          <p:nvPr/>
        </p:nvSpPr>
        <p:spPr>
          <a:xfrm>
            <a:off x="3447485" y="4517849"/>
            <a:ext cx="2207879" cy="263062"/>
          </a:xfrm>
          <a:prstGeom prst="rect">
            <a:avLst/>
          </a:prstGeom>
          <a:noFill/>
        </p:spPr>
        <p:txBody>
          <a:bodyPr wrap="square" lIns="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err="1"/>
              <a:t>Қисман</a:t>
            </a:r>
            <a:r>
              <a:rPr lang="ru-RU" sz="1600" b="1" dirty="0"/>
              <a:t> </a:t>
            </a:r>
            <a:r>
              <a:rPr lang="ru-RU" sz="1600" b="1" dirty="0" err="1"/>
              <a:t>бажарилган</a:t>
            </a:r>
            <a:r>
              <a:rPr lang="ru-RU" sz="1600" b="1" dirty="0"/>
              <a:t> </a:t>
            </a:r>
          </a:p>
        </p:txBody>
      </p:sp>
      <p:sp>
        <p:nvSpPr>
          <p:cNvPr id="83" name="Text Placeholder 6">
            <a:extLst>
              <a:ext uri="{FF2B5EF4-FFF2-40B4-BE49-F238E27FC236}">
                <a16:creationId xmlns:a16="http://schemas.microsoft.com/office/drawing/2014/main" id="{FF705384-2ED8-4672-A9FA-297F11F25142}"/>
              </a:ext>
            </a:extLst>
          </p:cNvPr>
          <p:cNvSpPr txBox="1">
            <a:spLocks/>
          </p:cNvSpPr>
          <p:nvPr/>
        </p:nvSpPr>
        <p:spPr>
          <a:xfrm>
            <a:off x="3447486" y="4815900"/>
            <a:ext cx="2566991" cy="44196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Ўтган</a:t>
            </a:r>
            <a:r>
              <a:rPr lang="ru-RU" sz="1400" dirty="0"/>
              <a:t> </a:t>
            </a:r>
            <a:r>
              <a:rPr lang="ru-RU" sz="1400" dirty="0" err="1"/>
              <a:t>ҳаражатлар</a:t>
            </a:r>
            <a:r>
              <a:rPr lang="ru-RU" sz="1400" dirty="0"/>
              <a:t> 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Давлат</a:t>
            </a:r>
            <a:r>
              <a:rPr lang="ru-RU" sz="1400" dirty="0"/>
              <a:t> </a:t>
            </a:r>
            <a:r>
              <a:rPr lang="ru-RU" sz="1400" dirty="0" err="1"/>
              <a:t>харидлари</a:t>
            </a:r>
            <a:r>
              <a:rPr lang="ru-RU" sz="1400" dirty="0"/>
              <a:t> </a:t>
            </a:r>
            <a:r>
              <a:rPr lang="ru-RU" sz="1400" dirty="0" err="1"/>
              <a:t>Портали</a:t>
            </a:r>
            <a:r>
              <a:rPr lang="ru-RU" sz="1400" dirty="0"/>
              <a:t> 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Олий</a:t>
            </a:r>
            <a:r>
              <a:rPr lang="ru-RU" sz="1400" dirty="0"/>
              <a:t> суд </a:t>
            </a:r>
            <a:r>
              <a:rPr lang="ru-RU" sz="1400" dirty="0" err="1"/>
              <a:t>мажлислари</a:t>
            </a:r>
            <a:r>
              <a:rPr lang="ru-RU" sz="1400" dirty="0"/>
              <a:t> </a:t>
            </a:r>
            <a:r>
              <a:rPr lang="ru-RU" sz="1400" dirty="0" err="1"/>
              <a:t>жадвал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Олий</a:t>
            </a:r>
            <a:r>
              <a:rPr lang="ru-RU" sz="1400" dirty="0"/>
              <a:t> суд </a:t>
            </a:r>
            <a:r>
              <a:rPr lang="ru-RU" sz="1400" dirty="0" err="1"/>
              <a:t>Қарорлари</a:t>
            </a:r>
            <a:r>
              <a:rPr lang="ru-RU" sz="1400" dirty="0"/>
              <a:t> 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F403135E-E078-4462-9340-67A8C1E97974}"/>
              </a:ext>
            </a:extLst>
          </p:cNvPr>
          <p:cNvSpPr/>
          <p:nvPr/>
        </p:nvSpPr>
        <p:spPr>
          <a:xfrm>
            <a:off x="6041341" y="4467973"/>
            <a:ext cx="288000" cy="288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38D4A47-E07F-48C2-A282-3D66CE2C541D}"/>
              </a:ext>
            </a:extLst>
          </p:cNvPr>
          <p:cNvSpPr txBox="1"/>
          <p:nvPr/>
        </p:nvSpPr>
        <p:spPr>
          <a:xfrm>
            <a:off x="6476813" y="4492911"/>
            <a:ext cx="2124000" cy="238125"/>
          </a:xfrm>
          <a:prstGeom prst="rect">
            <a:avLst/>
          </a:prstGeom>
          <a:noFill/>
        </p:spPr>
        <p:txBody>
          <a:bodyPr wrap="square" lIns="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err="1"/>
              <a:t>Бажарилмаган</a:t>
            </a:r>
            <a:r>
              <a:rPr lang="ru-RU" sz="1600" b="1" dirty="0"/>
              <a:t> </a:t>
            </a: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42A06AA6-08D6-4866-859A-8711ED7267FA}"/>
              </a:ext>
            </a:extLst>
          </p:cNvPr>
          <p:cNvSpPr txBox="1">
            <a:spLocks/>
          </p:cNvSpPr>
          <p:nvPr/>
        </p:nvSpPr>
        <p:spPr>
          <a:xfrm>
            <a:off x="6476813" y="4790962"/>
            <a:ext cx="5141213" cy="441966"/>
          </a:xfrm>
          <a:prstGeom prst="rect">
            <a:avLst/>
          </a:prstGeom>
        </p:spPr>
        <p:txBody>
          <a:bodyPr lIns="0" tIns="0" rIns="0" bIns="0" numCol="2" spcCol="7200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Жорий</a:t>
            </a:r>
            <a:r>
              <a:rPr lang="ru-RU" sz="1400" dirty="0"/>
              <a:t> </a:t>
            </a:r>
            <a:r>
              <a:rPr lang="ru-RU" sz="1400" dirty="0" err="1"/>
              <a:t>ҳаражатлар</a:t>
            </a:r>
            <a:r>
              <a:rPr lang="ru-RU" sz="1400" dirty="0"/>
              <a:t> </a:t>
            </a:r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Тижорат</a:t>
            </a:r>
            <a:r>
              <a:rPr lang="ru-RU" sz="1400" dirty="0"/>
              <a:t> </a:t>
            </a:r>
            <a:r>
              <a:rPr lang="ru-RU" sz="1400" dirty="0" err="1"/>
              <a:t>реестр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ru-RU" sz="1400" dirty="0"/>
              <a:t>Бош </a:t>
            </a:r>
            <a:r>
              <a:rPr lang="ru-RU" sz="1400" dirty="0" err="1"/>
              <a:t>аудиторнинг</a:t>
            </a:r>
            <a:r>
              <a:rPr lang="ru-RU" sz="1400" dirty="0"/>
              <a:t> </a:t>
            </a:r>
            <a:r>
              <a:rPr lang="ru-RU" sz="1400" dirty="0" err="1"/>
              <a:t>ҳисобот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Давлат</a:t>
            </a:r>
            <a:r>
              <a:rPr lang="ru-RU" sz="1400" dirty="0"/>
              <a:t> </a:t>
            </a:r>
            <a:r>
              <a:rPr lang="ru-RU" sz="1400" dirty="0" err="1"/>
              <a:t>хизматчилари</a:t>
            </a:r>
            <a:r>
              <a:rPr lang="ru-RU" sz="1400" dirty="0"/>
              <a:t> </a:t>
            </a:r>
            <a:r>
              <a:rPr lang="ru-RU" sz="1400" dirty="0" err="1"/>
              <a:t>учун</a:t>
            </a:r>
            <a:r>
              <a:rPr lang="ru-RU" sz="1400" dirty="0"/>
              <a:t> </a:t>
            </a:r>
            <a:r>
              <a:rPr lang="ru-RU" sz="1400" dirty="0" err="1"/>
              <a:t>молиявий</a:t>
            </a:r>
            <a:r>
              <a:rPr lang="ru-RU" sz="1400" dirty="0"/>
              <a:t> </a:t>
            </a:r>
            <a:r>
              <a:rPr lang="ru-RU" sz="1400" dirty="0" err="1"/>
              <a:t>ахборотларни</a:t>
            </a:r>
            <a:r>
              <a:rPr lang="ru-RU" sz="1400" dirty="0"/>
              <a:t>  </a:t>
            </a:r>
            <a:r>
              <a:rPr lang="ru-RU" sz="1400" dirty="0" err="1"/>
              <a:t>ошкор</a:t>
            </a:r>
            <a:r>
              <a:rPr lang="ru-RU" sz="1400" dirty="0"/>
              <a:t> </a:t>
            </a:r>
            <a:r>
              <a:rPr lang="ru-RU" sz="1400" dirty="0" err="1"/>
              <a:t>қилиш</a:t>
            </a:r>
            <a:r>
              <a:rPr lang="ru-RU" sz="1400" dirty="0"/>
              <a:t> </a:t>
            </a:r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endParaRPr lang="en-US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Манфаатлар</a:t>
            </a:r>
            <a:r>
              <a:rPr lang="ru-RU" sz="1400" dirty="0"/>
              <a:t> </a:t>
            </a:r>
            <a:r>
              <a:rPr lang="ru-RU" sz="1400" dirty="0" err="1"/>
              <a:t>тўқнашувини</a:t>
            </a:r>
            <a:r>
              <a:rPr lang="ru-RU" sz="1400" dirty="0"/>
              <a:t> </a:t>
            </a:r>
            <a:r>
              <a:rPr lang="ru-RU" sz="1400" dirty="0" err="1"/>
              <a:t>ошкор</a:t>
            </a:r>
            <a:r>
              <a:rPr lang="ru-RU" sz="1400" dirty="0"/>
              <a:t> </a:t>
            </a:r>
            <a:r>
              <a:rPr lang="ru-RU" sz="1400" dirty="0" err="1"/>
              <a:t>қилиш</a:t>
            </a:r>
            <a:r>
              <a:rPr lang="ru-RU" sz="1400" dirty="0"/>
              <a:t> </a:t>
            </a:r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Ривожланиш</a:t>
            </a:r>
            <a:r>
              <a:rPr lang="ru-RU" sz="1400" dirty="0"/>
              <a:t> </a:t>
            </a:r>
            <a:r>
              <a:rPr lang="ru-RU" sz="1400" dirty="0" err="1"/>
              <a:t>мақсади</a:t>
            </a:r>
            <a:r>
              <a:rPr lang="ru-RU" sz="1400" dirty="0"/>
              <a:t> </a:t>
            </a:r>
            <a:r>
              <a:rPr lang="ru-RU" sz="1400" dirty="0" err="1"/>
              <a:t>учун</a:t>
            </a:r>
            <a:r>
              <a:rPr lang="ru-RU" sz="1400" dirty="0"/>
              <a:t> </a:t>
            </a:r>
            <a:r>
              <a:rPr lang="ru-RU" sz="1400" dirty="0" err="1"/>
              <a:t>расмий</a:t>
            </a:r>
            <a:r>
              <a:rPr lang="ru-RU" sz="1400" dirty="0"/>
              <a:t> </a:t>
            </a:r>
            <a:r>
              <a:rPr lang="ru-RU" sz="1400" dirty="0" err="1"/>
              <a:t>ёрдам</a:t>
            </a:r>
            <a:r>
              <a:rPr lang="ru-RU" sz="1400" dirty="0"/>
              <a:t> </a:t>
            </a:r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ru-RU" sz="1400" dirty="0"/>
              <a:t>Кон </a:t>
            </a:r>
            <a:r>
              <a:rPr lang="ru-RU" sz="1400" dirty="0" err="1"/>
              <a:t>концессиялар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Пойтахтда</a:t>
            </a:r>
            <a:r>
              <a:rPr lang="ru-RU" sz="1400" dirty="0"/>
              <a:t> </a:t>
            </a:r>
            <a:r>
              <a:rPr lang="ru-RU" sz="1400" dirty="0" err="1"/>
              <a:t>қурилиш</a:t>
            </a:r>
            <a:r>
              <a:rPr lang="ru-RU" sz="1400" dirty="0"/>
              <a:t> </a:t>
            </a:r>
            <a:r>
              <a:rPr lang="ru-RU" sz="1400" dirty="0" err="1"/>
              <a:t>учун</a:t>
            </a:r>
            <a:r>
              <a:rPr lang="ru-RU" sz="1400" dirty="0"/>
              <a:t> </a:t>
            </a:r>
            <a:r>
              <a:rPr lang="ru-RU" sz="1400" dirty="0" err="1"/>
              <a:t>рухсатнома</a:t>
            </a:r>
            <a:r>
              <a:rPr lang="ru-RU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6585799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F10986-5B2F-400B-B6CC-B0B4BFC8BC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700" dirty="0" err="1"/>
              <a:t>ЎзР</a:t>
            </a:r>
            <a:r>
              <a:rPr lang="ru-RU" sz="1700" dirty="0"/>
              <a:t> </a:t>
            </a:r>
            <a:r>
              <a:rPr lang="ru-RU" sz="1700" dirty="0" err="1"/>
              <a:t>коррупцияга</a:t>
            </a:r>
            <a:r>
              <a:rPr lang="ru-RU" sz="1700" dirty="0"/>
              <a:t> </a:t>
            </a:r>
            <a:r>
              <a:rPr lang="ru-RU" sz="1700" dirty="0" err="1"/>
              <a:t>қарши</a:t>
            </a:r>
            <a:r>
              <a:rPr lang="ru-RU" sz="1700" dirty="0"/>
              <a:t> </a:t>
            </a:r>
            <a:r>
              <a:rPr lang="ru-RU" sz="1700" dirty="0" err="1"/>
              <a:t>курашиш</a:t>
            </a:r>
            <a:r>
              <a:rPr lang="ru-RU" sz="1700" dirty="0"/>
              <a:t> </a:t>
            </a:r>
            <a:r>
              <a:rPr lang="ru-RU" sz="1700" dirty="0" err="1"/>
              <a:t>Агентлигининг</a:t>
            </a:r>
            <a:r>
              <a:rPr lang="ru-RU" sz="1700" dirty="0"/>
              <a:t> 2022 </a:t>
            </a:r>
            <a:r>
              <a:rPr lang="ru-RU" sz="1700" dirty="0" err="1"/>
              <a:t>йилдаги</a:t>
            </a:r>
            <a:r>
              <a:rPr lang="ru-RU" sz="1700" dirty="0"/>
              <a:t> </a:t>
            </a:r>
            <a:r>
              <a:rPr lang="ru-RU" sz="1700" dirty="0" err="1"/>
              <a:t>версияси</a:t>
            </a:r>
            <a:r>
              <a:rPr lang="ru-RU" sz="1700" dirty="0"/>
              <a:t> </a:t>
            </a:r>
            <a:r>
              <a:rPr lang="ru-RU" sz="1700" dirty="0" err="1"/>
              <a:t>бўйича</a:t>
            </a:r>
            <a:r>
              <a:rPr lang="ru-RU" sz="1700" dirty="0"/>
              <a:t>  </a:t>
            </a:r>
            <a:r>
              <a:rPr lang="ru-RU" sz="1700" dirty="0" err="1"/>
              <a:t>давлат</a:t>
            </a:r>
            <a:r>
              <a:rPr lang="ru-RU" sz="1700" dirty="0"/>
              <a:t> </a:t>
            </a:r>
            <a:r>
              <a:rPr lang="ru-RU" sz="1700" dirty="0" err="1"/>
              <a:t>идоралари</a:t>
            </a:r>
            <a:r>
              <a:rPr lang="ru-RU" sz="1700" dirty="0"/>
              <a:t> рейтинги</a:t>
            </a:r>
            <a:endParaRPr lang="en-US" sz="170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375346C-DCB9-4A37-90AA-EA791432F8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91C28B-A4DD-4D10-AE45-7A95263200F4}"/>
              </a:ext>
            </a:extLst>
          </p:cNvPr>
          <p:cNvSpPr/>
          <p:nvPr/>
        </p:nvSpPr>
        <p:spPr>
          <a:xfrm>
            <a:off x="441832" y="935445"/>
            <a:ext cx="11307256" cy="2029107"/>
          </a:xfrm>
          <a:prstGeom prst="rect">
            <a:avLst/>
          </a:prstGeom>
        </p:spPr>
        <p:txBody>
          <a:bodyPr wrap="square" lIns="0" tIns="0" rIns="0" bIns="0" numCol="2" spcCol="72000">
            <a:noAutofit/>
          </a:bodyPr>
          <a:lstStyle/>
          <a:p>
            <a:pPr>
              <a:spcAft>
                <a:spcPts val="2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Ўзбекисто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р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раш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гентлиги</a:t>
            </a:r>
            <a:r>
              <a:rPr lang="ru-RU" sz="1400" dirty="0">
                <a:solidFill>
                  <a:schemeClr val="tx2"/>
                </a:solidFill>
              </a:rPr>
              <a:t> 24 та </a:t>
            </a:r>
            <a:r>
              <a:rPr lang="ru-RU" sz="1400" dirty="0" err="1">
                <a:solidFill>
                  <a:schemeClr val="tx2"/>
                </a:solidFill>
              </a:rPr>
              <a:t>давл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га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р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раш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марадорли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ейтинг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узди</a:t>
            </a:r>
            <a:r>
              <a:rPr lang="ru-RU" sz="1400" dirty="0">
                <a:solidFill>
                  <a:schemeClr val="tx2"/>
                </a:solidFill>
              </a:rPr>
              <a:t>. 24 та </a:t>
            </a:r>
            <a:r>
              <a:rPr lang="ru-RU" sz="1400" dirty="0" err="1">
                <a:solidFill>
                  <a:schemeClr val="tx2"/>
                </a:solidFill>
              </a:rPr>
              <a:t>давл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ганидан</a:t>
            </a:r>
            <a:r>
              <a:rPr lang="ru-RU" sz="1400" dirty="0">
                <a:solidFill>
                  <a:schemeClr val="tx2"/>
                </a:solidFill>
              </a:rPr>
              <a:t> 3 </a:t>
            </a:r>
            <a:r>
              <a:rPr lang="ru-RU" sz="1400" dirty="0" err="1">
                <a:solidFill>
                  <a:schemeClr val="tx2"/>
                </a:solidFill>
              </a:rPr>
              <a:t>таси</a:t>
            </a:r>
            <a:r>
              <a:rPr lang="ru-RU" sz="1400" dirty="0">
                <a:solidFill>
                  <a:schemeClr val="tx2"/>
                </a:solidFill>
              </a:rPr>
              <a:t> «</a:t>
            </a:r>
            <a:r>
              <a:rPr lang="ru-RU" sz="1400" b="1" dirty="0" err="1">
                <a:solidFill>
                  <a:schemeClr val="tx2"/>
                </a:solidFill>
              </a:rPr>
              <a:t>яхши</a:t>
            </a:r>
            <a:r>
              <a:rPr lang="ru-RU" sz="1400" b="1" dirty="0">
                <a:solidFill>
                  <a:schemeClr val="tx2"/>
                </a:solidFill>
              </a:rPr>
              <a:t>»</a:t>
            </a:r>
            <a:r>
              <a:rPr lang="ru-RU" sz="1400" dirty="0">
                <a:solidFill>
                  <a:schemeClr val="tx2"/>
                </a:solidFill>
              </a:rPr>
              <a:t>, 24 </a:t>
            </a:r>
            <a:r>
              <a:rPr lang="ru-RU" sz="1400" dirty="0" err="1">
                <a:solidFill>
                  <a:schemeClr val="tx2"/>
                </a:solidFill>
              </a:rPr>
              <a:t>тадан</a:t>
            </a:r>
            <a:r>
              <a:rPr lang="ru-RU" sz="1400" dirty="0">
                <a:solidFill>
                  <a:schemeClr val="tx2"/>
                </a:solidFill>
              </a:rPr>
              <a:t> 10 </a:t>
            </a:r>
            <a:r>
              <a:rPr lang="ru-RU" sz="1400" dirty="0" err="1">
                <a:solidFill>
                  <a:schemeClr val="tx2"/>
                </a:solidFill>
              </a:rPr>
              <a:t>таси</a:t>
            </a:r>
            <a:r>
              <a:rPr lang="ru-RU" sz="1400" dirty="0">
                <a:solidFill>
                  <a:schemeClr val="tx2"/>
                </a:solidFill>
              </a:rPr>
              <a:t> «</a:t>
            </a:r>
            <a:r>
              <a:rPr lang="ru-RU" sz="1400" dirty="0" err="1">
                <a:solidFill>
                  <a:schemeClr val="tx2"/>
                </a:solidFill>
              </a:rPr>
              <a:t>қониқарли</a:t>
            </a:r>
            <a:r>
              <a:rPr lang="ru-RU" sz="1400" dirty="0">
                <a:solidFill>
                  <a:schemeClr val="tx2"/>
                </a:solidFill>
              </a:rPr>
              <a:t>»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24 </a:t>
            </a:r>
            <a:r>
              <a:rPr lang="ru-RU" sz="1400" dirty="0" err="1">
                <a:solidFill>
                  <a:schemeClr val="tx2"/>
                </a:solidFill>
              </a:rPr>
              <a:t>тадан</a:t>
            </a:r>
            <a:r>
              <a:rPr lang="ru-RU" sz="1400" dirty="0">
                <a:solidFill>
                  <a:schemeClr val="tx2"/>
                </a:solidFill>
              </a:rPr>
              <a:t> 11 </a:t>
            </a:r>
            <a:r>
              <a:rPr lang="ru-RU" sz="1400" dirty="0" err="1">
                <a:solidFill>
                  <a:schemeClr val="tx2"/>
                </a:solidFill>
              </a:rPr>
              <a:t>тас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b="1" dirty="0">
                <a:solidFill>
                  <a:schemeClr val="tx2"/>
                </a:solidFill>
              </a:rPr>
              <a:t>«</a:t>
            </a:r>
            <a:r>
              <a:rPr lang="ru-RU" sz="1400" b="1" dirty="0" err="1">
                <a:solidFill>
                  <a:schemeClr val="tx2"/>
                </a:solidFill>
              </a:rPr>
              <a:t>қониқарсиз</a:t>
            </a:r>
            <a:r>
              <a:rPr lang="ru-RU" sz="1400" b="1" dirty="0">
                <a:solidFill>
                  <a:schemeClr val="tx2"/>
                </a:solidFill>
              </a:rPr>
              <a:t>» </a:t>
            </a:r>
            <a:r>
              <a:rPr lang="ru-RU" sz="1400" dirty="0" err="1">
                <a:solidFill>
                  <a:schemeClr val="tx2"/>
                </a:solidFill>
              </a:rPr>
              <a:t>рейтинг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  <a:p>
            <a:pPr>
              <a:spcAft>
                <a:spcPts val="2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Ўз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р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раш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гентлигининг</a:t>
            </a:r>
            <a:r>
              <a:rPr lang="ru-RU" sz="1400" dirty="0">
                <a:solidFill>
                  <a:schemeClr val="tx2"/>
                </a:solidFill>
              </a:rPr>
              <a:t> 2022 </a:t>
            </a:r>
            <a:r>
              <a:rPr lang="ru-RU" sz="1400" dirty="0" err="1">
                <a:solidFill>
                  <a:schemeClr val="tx2"/>
                </a:solidFill>
              </a:rPr>
              <a:t>йилда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ейтинг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ққосла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ҳли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ҲТТнинг</a:t>
            </a:r>
            <a:r>
              <a:rPr lang="ru-RU" sz="1400" dirty="0">
                <a:solidFill>
                  <a:schemeClr val="tx2"/>
                </a:solidFill>
              </a:rPr>
              <a:t> 2019 </a:t>
            </a:r>
            <a:r>
              <a:rPr lang="ru-RU" sz="1400" dirty="0" err="1">
                <a:solidFill>
                  <a:schemeClr val="tx2"/>
                </a:solidFill>
              </a:rPr>
              <a:t>йилда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исобот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ълумот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уйида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жоб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згариш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ниқлади</a:t>
            </a:r>
            <a:r>
              <a:rPr lang="ru-RU" sz="1400" dirty="0">
                <a:solidFill>
                  <a:schemeClr val="tx2"/>
                </a:solidFill>
              </a:rPr>
              <a:t>:</a:t>
            </a:r>
          </a:p>
          <a:p>
            <a:pPr>
              <a:spcAft>
                <a:spcPts val="200"/>
              </a:spcAft>
            </a:pPr>
            <a:endParaRPr lang="ru-RU" sz="1400" dirty="0">
              <a:solidFill>
                <a:schemeClr val="tx2"/>
              </a:solidFill>
            </a:endParaRPr>
          </a:p>
          <a:p>
            <a:pPr marL="179388" indent="-179388">
              <a:spcAft>
                <a:spcPts val="200"/>
              </a:spcAft>
              <a:buClr>
                <a:schemeClr val="accent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</a:rPr>
              <a:t>Солиқ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ганларида</a:t>
            </a:r>
            <a:r>
              <a:rPr lang="ru-RU" sz="1400" dirty="0">
                <a:solidFill>
                  <a:schemeClr val="tx2"/>
                </a:solidFill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</a:rPr>
              <a:t>даражас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пасайиши</a:t>
            </a:r>
            <a:r>
              <a:rPr lang="ru-RU" sz="1400" dirty="0">
                <a:solidFill>
                  <a:schemeClr val="tx2"/>
                </a:solidFill>
              </a:rPr>
              <a:t>;</a:t>
            </a:r>
          </a:p>
          <a:p>
            <a:pPr marL="179388" indent="-179388">
              <a:spcAft>
                <a:spcPts val="200"/>
              </a:spcAft>
              <a:buClr>
                <a:schemeClr val="accent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</a:rPr>
              <a:t>Бандликда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р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раш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марадорлиг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шир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i="1" dirty="0">
                <a:solidFill>
                  <a:schemeClr val="tx2"/>
                </a:solidFill>
              </a:rPr>
              <a:t>(</a:t>
            </a:r>
            <a:r>
              <a:rPr lang="ru-RU" sz="1400" i="1" dirty="0" err="1">
                <a:solidFill>
                  <a:schemeClr val="tx2"/>
                </a:solidFill>
              </a:rPr>
              <a:t>илгари</a:t>
            </a:r>
            <a:r>
              <a:rPr lang="ru-RU" sz="1400" i="1" dirty="0">
                <a:solidFill>
                  <a:schemeClr val="tx2"/>
                </a:solidFill>
              </a:rPr>
              <a:t> "</a:t>
            </a:r>
            <a:r>
              <a:rPr lang="ru-RU" sz="1400" i="1" dirty="0" err="1">
                <a:solidFill>
                  <a:schemeClr val="tx2"/>
                </a:solidFill>
              </a:rPr>
              <a:t>ишг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абул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илишда</a:t>
            </a:r>
            <a:r>
              <a:rPr lang="ru-RU" sz="1400" i="1" dirty="0">
                <a:solidFill>
                  <a:schemeClr val="tx2"/>
                </a:solidFill>
              </a:rPr>
              <a:t>" </a:t>
            </a:r>
            <a:r>
              <a:rPr lang="ru-RU" sz="1400" i="1" dirty="0" err="1">
                <a:solidFill>
                  <a:schemeClr val="tx2"/>
                </a:solidFill>
              </a:rPr>
              <a:t>моддаси</a:t>
            </a:r>
            <a:r>
              <a:rPr lang="ru-RU" sz="1400" i="1" dirty="0">
                <a:solidFill>
                  <a:schemeClr val="tx2"/>
                </a:solidFill>
              </a:rPr>
              <a:t> ИҲТТ </a:t>
            </a:r>
            <a:r>
              <a:rPr lang="ru-RU" sz="1400" i="1" dirty="0" err="1">
                <a:solidFill>
                  <a:schemeClr val="tx2"/>
                </a:solidFill>
              </a:rPr>
              <a:t>ҳисоботид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охирг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ўринн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эгаллаган</a:t>
            </a:r>
            <a:r>
              <a:rPr lang="ru-RU" sz="1400" i="1" dirty="0">
                <a:solidFill>
                  <a:schemeClr val="tx2"/>
                </a:solidFill>
              </a:rPr>
              <a:t>).</a:t>
            </a:r>
          </a:p>
          <a:p>
            <a:pPr marL="179388" indent="-179388">
              <a:spcAft>
                <a:spcPts val="200"/>
              </a:spcAft>
              <a:buClr>
                <a:schemeClr val="accent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2018 </a:t>
            </a:r>
            <a:r>
              <a:rPr lang="ru-RU" sz="1400" dirty="0" err="1">
                <a:solidFill>
                  <a:schemeClr val="tx2"/>
                </a:solidFill>
              </a:rPr>
              <a:t>йилги</a:t>
            </a:r>
            <a:r>
              <a:rPr lang="ru-RU" sz="1400" dirty="0">
                <a:solidFill>
                  <a:schemeClr val="tx2"/>
                </a:solidFill>
              </a:rPr>
              <a:t> ИҲТТ </a:t>
            </a:r>
            <a:r>
              <a:rPr lang="ru-RU" sz="1400" dirty="0" err="1">
                <a:solidFill>
                  <a:schemeClr val="tx2"/>
                </a:solidFill>
              </a:rPr>
              <a:t>ҳисобот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хир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рин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лла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ғлиқ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қла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зирлиги</a:t>
            </a:r>
            <a:r>
              <a:rPr lang="ru-RU" sz="1400" dirty="0">
                <a:solidFill>
                  <a:schemeClr val="tx2"/>
                </a:solidFill>
              </a:rPr>
              <a:t>, 2022 </a:t>
            </a:r>
            <a:r>
              <a:rPr lang="ru-RU" sz="1400" dirty="0" err="1">
                <a:solidFill>
                  <a:schemeClr val="tx2"/>
                </a:solidFill>
              </a:rPr>
              <a:t>йил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олия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зирли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ккита</a:t>
            </a:r>
            <a:r>
              <a:rPr lang="ru-RU" sz="1400" dirty="0">
                <a:solidFill>
                  <a:schemeClr val="tx2"/>
                </a:solidFill>
              </a:rPr>
              <a:t> туман </a:t>
            </a:r>
            <a:r>
              <a:rPr lang="ru-RU" sz="1400" dirty="0" err="1">
                <a:solidFill>
                  <a:schemeClr val="tx2"/>
                </a:solidFill>
              </a:rPr>
              <a:t>ҳокимлик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т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лдириб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ижоб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инамика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амой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088EFC7-E8E3-4446-8EA7-89ACB13A5636}"/>
              </a:ext>
            </a:extLst>
          </p:cNvPr>
          <p:cNvGraphicFramePr>
            <a:graphicFrameLocks noGrp="1"/>
          </p:cNvGraphicFramePr>
          <p:nvPr/>
        </p:nvGraphicFramePr>
        <p:xfrm>
          <a:off x="441831" y="2982849"/>
          <a:ext cx="5573372" cy="35204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98573">
                  <a:extLst>
                    <a:ext uri="{9D8B030D-6E8A-4147-A177-3AD203B41FA5}">
                      <a16:colId xmlns:a16="http://schemas.microsoft.com/office/drawing/2014/main" val="3636930054"/>
                    </a:ext>
                  </a:extLst>
                </a:gridCol>
                <a:gridCol w="4677652">
                  <a:extLst>
                    <a:ext uri="{9D8B030D-6E8A-4147-A177-3AD203B41FA5}">
                      <a16:colId xmlns:a16="http://schemas.microsoft.com/office/drawing/2014/main" val="3942506409"/>
                    </a:ext>
                  </a:extLst>
                </a:gridCol>
                <a:gridCol w="597147">
                  <a:extLst>
                    <a:ext uri="{9D8B030D-6E8A-4147-A177-3AD203B41FA5}">
                      <a16:colId xmlns:a16="http://schemas.microsoft.com/office/drawing/2014/main" val="168934031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4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err="1">
                          <a:solidFill>
                            <a:schemeClr val="tx1"/>
                          </a:solidFill>
                        </a:rPr>
                        <a:t>Давлат</a:t>
                      </a:r>
                      <a:r>
                        <a:rPr lang="ru-RU" sz="105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1"/>
                          </a:solidFill>
                        </a:rPr>
                        <a:t>органи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4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1"/>
                          </a:solidFill>
                        </a:rPr>
                        <a:t>Балл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4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2701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Божхон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ўмитас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9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20679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олиқ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ўмитас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8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064677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3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ўмиталар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Бандлик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меҳна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муносабатлар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8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0455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Давла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статистика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ўмитас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7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3502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5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Фармацевтика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рмоғи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ривожлантир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гент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7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39693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Техник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жиҳатдан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ртибг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ол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гент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6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65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7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длия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5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564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8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Давла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ктивлари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бошқар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гент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4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69266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9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ошкен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хокимият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678742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ошкен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илоят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хокимият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6561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Мактабгач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ълим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0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87270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АТ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коммуникациялар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ривожлантир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59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66729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3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Транспорт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58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921146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5F5AA20-5219-42F0-90B9-ABBBB7CC33E3}"/>
              </a:ext>
            </a:extLst>
          </p:cNvPr>
          <p:cNvSpPr/>
          <p:nvPr/>
        </p:nvSpPr>
        <p:spPr>
          <a:xfrm>
            <a:off x="6176799" y="6111289"/>
            <a:ext cx="1413164" cy="23871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err="1">
                <a:solidFill>
                  <a:schemeClr val="tx1"/>
                </a:solidFill>
              </a:rPr>
              <a:t>яхши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5124F80-64DC-4747-9C8D-0B06F0CDA4EB}"/>
              </a:ext>
            </a:extLst>
          </p:cNvPr>
          <p:cNvSpPr/>
          <p:nvPr/>
        </p:nvSpPr>
        <p:spPr>
          <a:xfrm>
            <a:off x="7751558" y="6111288"/>
            <a:ext cx="1688424" cy="217959"/>
          </a:xfrm>
          <a:prstGeom prst="rect">
            <a:avLst/>
          </a:prstGeom>
          <a:solidFill>
            <a:schemeClr val="accent4">
              <a:lumMod val="20000"/>
              <a:lumOff val="80000"/>
              <a:alpha val="5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err="1">
                <a:solidFill>
                  <a:schemeClr val="tx1"/>
                </a:solidFill>
              </a:rPr>
              <a:t>қониқарли</a:t>
            </a:r>
            <a:r>
              <a:rPr lang="ru-RU" sz="1200" b="1" dirty="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B0F2CF-F3D6-46B4-AD55-58F315601474}"/>
              </a:ext>
            </a:extLst>
          </p:cNvPr>
          <p:cNvSpPr/>
          <p:nvPr/>
        </p:nvSpPr>
        <p:spPr>
          <a:xfrm>
            <a:off x="9601578" y="6111288"/>
            <a:ext cx="1880687" cy="208956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err="1">
                <a:solidFill>
                  <a:schemeClr val="tx1"/>
                </a:solidFill>
              </a:rPr>
              <a:t>қониқарсиз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164188-2CAF-4DF4-8CEE-EC9151484D64}"/>
              </a:ext>
            </a:extLst>
          </p:cNvPr>
          <p:cNvSpPr/>
          <p:nvPr/>
        </p:nvSpPr>
        <p:spPr>
          <a:xfrm>
            <a:off x="6176799" y="6350007"/>
            <a:ext cx="4521198" cy="26161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r"/>
            <a:r>
              <a:rPr lang="ru-RU" sz="1100" i="1" dirty="0" err="1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анба</a:t>
            </a:r>
            <a:r>
              <a:rPr lang="ru-RU" sz="1100" i="1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 </a:t>
            </a:r>
            <a:r>
              <a:rPr lang="en-US" sz="1100" i="1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anticorruption.uz/</a:t>
            </a:r>
            <a:endParaRPr lang="ru-RU" sz="1100" i="1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7320CE4-275E-4A10-A5F5-45E67EC1E47F}"/>
              </a:ext>
            </a:extLst>
          </p:cNvPr>
          <p:cNvGraphicFramePr>
            <a:graphicFrameLocks noGrp="1"/>
          </p:cNvGraphicFramePr>
          <p:nvPr/>
        </p:nvGraphicFramePr>
        <p:xfrm>
          <a:off x="6167436" y="2982849"/>
          <a:ext cx="5573371" cy="301752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98573">
                  <a:extLst>
                    <a:ext uri="{9D8B030D-6E8A-4147-A177-3AD203B41FA5}">
                      <a16:colId xmlns:a16="http://schemas.microsoft.com/office/drawing/2014/main" val="3636930054"/>
                    </a:ext>
                  </a:extLst>
                </a:gridCol>
                <a:gridCol w="4677651">
                  <a:extLst>
                    <a:ext uri="{9D8B030D-6E8A-4147-A177-3AD203B41FA5}">
                      <a16:colId xmlns:a16="http://schemas.microsoft.com/office/drawing/2014/main" val="3942506409"/>
                    </a:ext>
                  </a:extLst>
                </a:gridCol>
                <a:gridCol w="597147">
                  <a:extLst>
                    <a:ext uri="{9D8B030D-6E8A-4147-A177-3AD203B41FA5}">
                      <a16:colId xmlns:a16="http://schemas.microsoft.com/office/drawing/2014/main" val="168934031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4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err="1">
                          <a:solidFill>
                            <a:schemeClr val="tx1"/>
                          </a:solidFill>
                        </a:rPr>
                        <a:t>Давлат</a:t>
                      </a:r>
                      <a:r>
                        <a:rPr lang="ru-RU" sz="105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1"/>
                          </a:solidFill>
                        </a:rPr>
                        <a:t>органи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4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1"/>
                          </a:solidFill>
                        </a:rPr>
                        <a:t>Балл</a:t>
                      </a:r>
                      <a:endParaRPr lang="en-US" sz="105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4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2701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4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Уй-жой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коммунал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хизма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кўрсат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5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7167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5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Халқ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ълим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5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80912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6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урил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9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30905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7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Олий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ўрт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махсус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ълим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7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59853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8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ДСҚ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ҳузурида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Кадастр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гент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6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4183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9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лкаголь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мак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бозори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ртибг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ол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гент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5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3183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0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аноа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хавфсизлик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давла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ўмитас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595012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оғлиқ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ақла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56077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Молия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787927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3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ошкен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илоят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Бўк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ума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хоким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436542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4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ошкен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шаҳар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Мирзо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-Улугбек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ума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ҳоким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8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7154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280608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2C6541-2A31-4E7F-B834-4CE389EA3A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4400" dirty="0"/>
              <a:t>Семинар</a:t>
            </a:r>
            <a:endParaRPr lang="en-US" sz="44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EE0174C-B42B-4279-A654-0497B7B9D41F}"/>
              </a:ext>
            </a:extLst>
          </p:cNvPr>
          <p:cNvSpPr txBox="1">
            <a:spLocks/>
          </p:cNvSpPr>
          <p:nvPr/>
        </p:nvSpPr>
        <p:spPr>
          <a:xfrm>
            <a:off x="350378" y="5223794"/>
            <a:ext cx="2159358" cy="15216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9600" b="1" dirty="0">
                <a:solidFill>
                  <a:srgbClr val="1BD7D3"/>
                </a:solidFill>
                <a:latin typeface="Arial Black" panose="020B0A04020102020204" pitchFamily="34" charset="0"/>
              </a:rPr>
              <a:t>9.</a:t>
            </a:r>
            <a:endParaRPr lang="en-US" sz="9600" b="1" dirty="0">
              <a:solidFill>
                <a:srgbClr val="1BD7D3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470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391580C-41C8-43CC-8CC5-BAEDE72AF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тушунчаси</a:t>
            </a:r>
            <a:r>
              <a:rPr lang="ru-RU" dirty="0"/>
              <a:t> тал</a:t>
            </a:r>
            <a:r>
              <a:rPr lang="uz-Cyrl-UZ" dirty="0"/>
              <a:t>қини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BC9F7E-866B-4242-AAED-B804DEEB33C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97CAE72-01AF-44EB-9496-CE5003CBA724}"/>
              </a:ext>
            </a:extLst>
          </p:cNvPr>
          <p:cNvSpPr txBox="1">
            <a:spLocks/>
          </p:cNvSpPr>
          <p:nvPr/>
        </p:nvSpPr>
        <p:spPr>
          <a:xfrm>
            <a:off x="438150" y="1232384"/>
            <a:ext cx="2990850" cy="347243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err="1">
                <a:solidFill>
                  <a:schemeClr val="tx2"/>
                </a:solidFill>
              </a:rPr>
              <a:t>Ахлоқи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уаммо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сифатида</a:t>
            </a:r>
            <a:r>
              <a:rPr lang="ru-RU" sz="1600" dirty="0">
                <a:solidFill>
                  <a:schemeClr val="tx2"/>
                </a:solidFill>
              </a:rPr>
              <a:t> коррупция </a:t>
            </a:r>
            <a:r>
              <a:rPr lang="ru-RU" sz="1600" dirty="0" err="1">
                <a:solidFill>
                  <a:schemeClr val="tx2"/>
                </a:solidFill>
              </a:rPr>
              <a:t>қадим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замонлардан</a:t>
            </a:r>
            <a:r>
              <a:rPr lang="ru-RU" sz="1600" dirty="0">
                <a:solidFill>
                  <a:schemeClr val="tx2"/>
                </a:solidFill>
              </a:rPr>
              <a:t> бери </a:t>
            </a:r>
            <a:r>
              <a:rPr lang="ru-RU" sz="1600" dirty="0" err="1">
                <a:solidFill>
                  <a:schemeClr val="tx2"/>
                </a:solidFill>
              </a:rPr>
              <a:t>мавжуд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ўлиб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елган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леки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давлат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ривожланиш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комиллашиш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илан</a:t>
            </a:r>
            <a:r>
              <a:rPr lang="ru-RU" sz="1600" dirty="0">
                <a:solidFill>
                  <a:schemeClr val="tx2"/>
                </a:solidFill>
              </a:rPr>
              <a:t> коррупция </a:t>
            </a:r>
            <a:r>
              <a:rPr lang="ru-RU" sz="1600" dirty="0" err="1">
                <a:solidFill>
                  <a:schemeClr val="tx2"/>
                </a:solidFill>
              </a:rPr>
              <a:t>мураккаб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кўп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осқичл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ижтимоий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сиёси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иқтисоди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одиса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айланиб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дунё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арч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амлакатлари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аёт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деярл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арч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соҳалари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ъси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ўрсатади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</a:p>
          <a:p>
            <a:r>
              <a:rPr lang="ru-RU" sz="1600" dirty="0" err="1">
                <a:solidFill>
                  <a:schemeClr val="tx2"/>
                </a:solidFill>
              </a:rPr>
              <a:t>Шун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ўра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коррупция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ягон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ъриф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авжуд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эмас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B6A725-8BD9-4127-AE6A-A7B0169DF89C}"/>
              </a:ext>
            </a:extLst>
          </p:cNvPr>
          <p:cNvSpPr/>
          <p:nvPr/>
        </p:nvSpPr>
        <p:spPr>
          <a:xfrm>
            <a:off x="438150" y="5058106"/>
            <a:ext cx="2894648" cy="1215693"/>
          </a:xfrm>
          <a:prstGeom prst="rect">
            <a:avLst/>
          </a:prstGeom>
          <a:noFill/>
          <a:ln w="28575">
            <a:solidFill>
              <a:srgbClr val="2DDF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1600" b="1" dirty="0" err="1">
                <a:solidFill>
                  <a:srgbClr val="1BD7D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upio</a:t>
            </a: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инчадан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жим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нганд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хўрлик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аззул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1BD7D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rumpere</a:t>
            </a: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зиш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ган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ънон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глатади</a:t>
            </a:r>
            <a:endParaRPr lang="ru-RU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CFA44367-88AD-4688-918A-F07862A5397B}"/>
              </a:ext>
            </a:extLst>
          </p:cNvPr>
          <p:cNvSpPr/>
          <p:nvPr/>
        </p:nvSpPr>
        <p:spPr>
          <a:xfrm>
            <a:off x="3784798" y="126674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20">
            <a:extLst>
              <a:ext uri="{FF2B5EF4-FFF2-40B4-BE49-F238E27FC236}">
                <a16:creationId xmlns:a16="http://schemas.microsoft.com/office/drawing/2014/main" id="{B114BAAA-8B46-4077-A417-8CE087808AD0}"/>
              </a:ext>
            </a:extLst>
          </p:cNvPr>
          <p:cNvSpPr txBox="1"/>
          <p:nvPr/>
        </p:nvSpPr>
        <p:spPr>
          <a:xfrm>
            <a:off x="4679673" y="1437494"/>
            <a:ext cx="7069415" cy="2584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600" b="1" spc="-20" dirty="0">
                <a:solidFill>
                  <a:srgbClr val="49A9F6"/>
                </a:solidFill>
                <a:cs typeface="Arial"/>
              </a:rPr>
              <a:t>Коррупция </a:t>
            </a:r>
            <a:r>
              <a:rPr lang="ru-RU" sz="1600" b="1" spc="-20" dirty="0" err="1">
                <a:solidFill>
                  <a:srgbClr val="49A9F6"/>
                </a:solidFill>
                <a:cs typeface="Arial"/>
              </a:rPr>
              <a:t>тушунчасининг</a:t>
            </a:r>
            <a:r>
              <a:rPr lang="ru-RU" sz="1600" b="1" spc="-20" dirty="0">
                <a:solidFill>
                  <a:srgbClr val="49A9F6"/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rgbClr val="49A9F6"/>
                </a:solidFill>
                <a:cs typeface="Arial"/>
              </a:rPr>
              <a:t>машҳур</a:t>
            </a:r>
            <a:r>
              <a:rPr lang="ru-RU" sz="1600" b="1" spc="-20" dirty="0">
                <a:solidFill>
                  <a:srgbClr val="49A9F6"/>
                </a:solidFill>
                <a:cs typeface="Arial"/>
              </a:rPr>
              <a:t> </a:t>
            </a:r>
            <a:r>
              <a:rPr lang="ru-RU" sz="1600" b="1" spc="-20" dirty="0" err="1">
                <a:solidFill>
                  <a:srgbClr val="49A9F6"/>
                </a:solidFill>
                <a:cs typeface="Arial"/>
              </a:rPr>
              <a:t>талқинлари</a:t>
            </a:r>
            <a:endParaRPr lang="ru-RU" sz="1600" b="1" spc="-20" dirty="0">
              <a:solidFill>
                <a:srgbClr val="49A9F6"/>
              </a:solidFill>
              <a:cs typeface="Arial"/>
            </a:endParaRPr>
          </a:p>
        </p:txBody>
      </p:sp>
      <p:pic>
        <p:nvPicPr>
          <p:cNvPr id="10" name="Рисунок 119">
            <a:extLst>
              <a:ext uri="{FF2B5EF4-FFF2-40B4-BE49-F238E27FC236}">
                <a16:creationId xmlns:a16="http://schemas.microsoft.com/office/drawing/2014/main" id="{77966317-5766-4086-B69D-3ADF46897DD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99889" y="1373144"/>
            <a:ext cx="473030" cy="47303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F8C79A8-0FC2-4738-A944-180E74136145}"/>
              </a:ext>
            </a:extLst>
          </p:cNvPr>
          <p:cNvGrpSpPr/>
          <p:nvPr/>
        </p:nvGrpSpPr>
        <p:grpSpPr>
          <a:xfrm>
            <a:off x="3794630" y="2260267"/>
            <a:ext cx="5684321" cy="788495"/>
            <a:chOff x="431998" y="1497505"/>
            <a:chExt cx="7042690" cy="596063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41FE1D9C-FEBE-4082-9B83-06E890B49840}"/>
                </a:ext>
              </a:extLst>
            </p:cNvPr>
            <p:cNvSpPr/>
            <p:nvPr/>
          </p:nvSpPr>
          <p:spPr>
            <a:xfrm>
              <a:off x="552610" y="1572008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E3F454C8-A3D1-46E8-BBD4-4993C6C64031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Ноҳақ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ёк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ноқонуний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хатти-ҳаракатлар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айниқс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ҳокимиятдаг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дамлар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омонидан</a:t>
              </a:r>
              <a:endPara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AE3DE29-683B-4040-AAD0-E1100F33A126}"/>
              </a:ext>
            </a:extLst>
          </p:cNvPr>
          <p:cNvGrpSpPr/>
          <p:nvPr/>
        </p:nvGrpSpPr>
        <p:grpSpPr>
          <a:xfrm>
            <a:off x="3784798" y="3260779"/>
            <a:ext cx="5684321" cy="788495"/>
            <a:chOff x="431998" y="1497505"/>
            <a:chExt cx="7042690" cy="596063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3E851032-DD72-4AC0-867B-B368ACA791CC}"/>
                </a:ext>
              </a:extLst>
            </p:cNvPr>
            <p:cNvSpPr/>
            <p:nvPr/>
          </p:nvSpPr>
          <p:spPr>
            <a:xfrm>
              <a:off x="552610" y="1572008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sz="1400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BD1FC431-C6CC-4997-83B7-A5C857663D85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Ўзининг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ёк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ошқ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шахснинг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нфаат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номақбул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датд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ноқонуний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хатти-ҳаракатлар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.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F82D218-2385-43BA-AC1D-CA74C9D0F24C}"/>
              </a:ext>
            </a:extLst>
          </p:cNvPr>
          <p:cNvGrpSpPr/>
          <p:nvPr/>
        </p:nvGrpSpPr>
        <p:grpSpPr>
          <a:xfrm>
            <a:off x="3784798" y="4261291"/>
            <a:ext cx="5684321" cy="788494"/>
            <a:chOff x="3784798" y="4034203"/>
            <a:chExt cx="5733418" cy="788494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455FD719-4AB6-41E0-AF2C-E16DA69B642C}"/>
                </a:ext>
              </a:extLst>
            </p:cNvPr>
            <p:cNvSpPr/>
            <p:nvPr/>
          </p:nvSpPr>
          <p:spPr>
            <a:xfrm>
              <a:off x="3882987" y="4132758"/>
              <a:ext cx="5635229" cy="689939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B0ACD84D-0CF2-4468-BCE4-40507FA05674}"/>
                </a:ext>
              </a:extLst>
            </p:cNvPr>
            <p:cNvSpPr/>
            <p:nvPr/>
          </p:nvSpPr>
          <p:spPr>
            <a:xfrm>
              <a:off x="3784798" y="4034203"/>
              <a:ext cx="5684321" cy="68993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Шахсий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нфаатлар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йўлида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ишониб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опширилган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колатни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уиистеъмол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илиш</a:t>
              </a:r>
              <a:r>
                <a:rPr lang="ru-RU" sz="14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.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5FA21D-65CC-42C4-9573-B234BAEFDB14}"/>
              </a:ext>
            </a:extLst>
          </p:cNvPr>
          <p:cNvGrpSpPr/>
          <p:nvPr/>
        </p:nvGrpSpPr>
        <p:grpSpPr>
          <a:xfrm>
            <a:off x="3784798" y="5261802"/>
            <a:ext cx="5684321" cy="1032655"/>
            <a:chOff x="3784798" y="4921170"/>
            <a:chExt cx="5733418" cy="1451102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D2B5F745-D13E-4659-82A8-83363A8640C2}"/>
                </a:ext>
              </a:extLst>
            </p:cNvPr>
            <p:cNvSpPr/>
            <p:nvPr/>
          </p:nvSpPr>
          <p:spPr>
            <a:xfrm>
              <a:off x="3882987" y="5019725"/>
              <a:ext cx="5635229" cy="1352547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5641BC94-CF37-4446-AD83-FC891FFB24B0}"/>
                </a:ext>
              </a:extLst>
            </p:cNvPr>
            <p:cNvSpPr/>
            <p:nvPr/>
          </p:nvSpPr>
          <p:spPr>
            <a:xfrm>
              <a:off x="3784798" y="4921170"/>
              <a:ext cx="5684321" cy="1352629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нсабдор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шахслар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иёсатчиларнинг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ноқонуний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ойиш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порахўрлик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ўзлаштириш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давлат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амалдорларининг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мафия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узилмаларига</a:t>
              </a:r>
              <a:r>
                <a:rPr lang="ru-RU" sz="1350" dirty="0">
                  <a:solidFill>
                    <a:schemeClr val="tx2"/>
                  </a:solidFill>
                  <a:ea typeface="Golos Text" panose="020B0503020202020204" pitchFamily="34" charset="0"/>
                </a:rPr>
                <a:t> / куч </a:t>
              </a:r>
              <a:r>
                <a:rPr lang="ru-RU" sz="1350" dirty="0" err="1">
                  <a:solidFill>
                    <a:schemeClr val="tx2"/>
                  </a:solidFill>
                  <a:ea typeface="Golos Text" panose="020B0503020202020204" pitchFamily="34" charset="0"/>
                </a:rPr>
                <a:t>тузилмалариг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а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ўшилиши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рқали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ънавий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наззулга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учрашида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намоён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35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ўлади</a:t>
              </a:r>
              <a:r>
                <a:rPr lang="ru-RU" sz="135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.</a:t>
              </a: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86752F3-5A43-4D0C-B494-DD4F872F3189}"/>
              </a:ext>
            </a:extLst>
          </p:cNvPr>
          <p:cNvSpPr/>
          <p:nvPr/>
        </p:nvSpPr>
        <p:spPr>
          <a:xfrm>
            <a:off x="9469119" y="2123302"/>
            <a:ext cx="225893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riam-Webster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b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xford Learner’s Dictionaries</a:t>
            </a:r>
            <a:r>
              <a:rPr lang="uz-Cyrl-UZ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уғатлари</a:t>
            </a:r>
            <a:endParaRPr lang="ru-RU" sz="14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97BE18-018C-422C-8176-C97B177844AD}"/>
              </a:ext>
            </a:extLst>
          </p:cNvPr>
          <p:cNvSpPr/>
          <p:nvPr/>
        </p:nvSpPr>
        <p:spPr>
          <a:xfrm>
            <a:off x="9469119" y="3340716"/>
            <a:ext cx="212996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z-Cyrl-UZ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итания Энциклопедияси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8832696-7656-4F25-9803-F60F8423D5E4}"/>
              </a:ext>
            </a:extLst>
          </p:cNvPr>
          <p:cNvSpPr/>
          <p:nvPr/>
        </p:nvSpPr>
        <p:spPr>
          <a:xfrm>
            <a:off x="9469119" y="4049094"/>
            <a:ext cx="257287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ҳон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нки </a:t>
            </a:r>
            <a:r>
              <a:rPr lang="ru-RU" sz="1400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arency International</a:t>
            </a:r>
            <a:r>
              <a:rPr lang="uz-Cyrl-UZ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халқаро коррупцияга қарши кураш коалицияси </a:t>
            </a:r>
            <a:endParaRPr lang="en-US" sz="14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23D2E69-68F8-4269-BFA0-C1B25EA65B5B}"/>
              </a:ext>
            </a:extLst>
          </p:cNvPr>
          <p:cNvSpPr/>
          <p:nvPr/>
        </p:nvSpPr>
        <p:spPr>
          <a:xfrm>
            <a:off x="9469119" y="5481481"/>
            <a:ext cx="21425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жегов </a:t>
            </a:r>
            <a:r>
              <a:rPr lang="ru-RU" sz="1400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оҳли</a:t>
            </a:r>
            <a:r>
              <a:rPr lang="ru-RU" sz="1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уғати</a:t>
            </a:r>
            <a:endParaRPr lang="ru-RU" sz="140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278660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FEDF009-8D12-4B83-94BA-ECA3F02F21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ижтимоий-ҳуқуқий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ижтимоий-иқтисодий</a:t>
            </a:r>
            <a:r>
              <a:rPr lang="ru-RU" dirty="0"/>
              <a:t> </a:t>
            </a:r>
            <a:r>
              <a:rPr lang="ru-RU" dirty="0" err="1"/>
              <a:t>ҳодиса</a:t>
            </a:r>
            <a:r>
              <a:rPr lang="ru-RU" dirty="0"/>
              <a:t> </a:t>
            </a:r>
            <a:r>
              <a:rPr lang="ru-RU" dirty="0" err="1"/>
              <a:t>сифатида</a:t>
            </a:r>
            <a:r>
              <a:rPr lang="ru-RU" dirty="0"/>
              <a:t>: </a:t>
            </a:r>
            <a:r>
              <a:rPr lang="ru-RU" dirty="0" err="1"/>
              <a:t>тушунчаси</a:t>
            </a:r>
            <a:r>
              <a:rPr lang="ru-RU" dirty="0"/>
              <a:t>, </a:t>
            </a:r>
            <a:r>
              <a:rPr lang="ru-RU" dirty="0" err="1"/>
              <a:t>белгилари</a:t>
            </a:r>
            <a:r>
              <a:rPr lang="ru-RU" dirty="0"/>
              <a:t>, </a:t>
            </a:r>
            <a:r>
              <a:rPr lang="ru-RU" dirty="0" err="1"/>
              <a:t>моҳияти</a:t>
            </a:r>
            <a:r>
              <a:rPr lang="ru-RU" dirty="0"/>
              <a:t>, </a:t>
            </a:r>
            <a:r>
              <a:rPr lang="ru-RU" dirty="0" err="1"/>
              <a:t>оқибатлар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жавобгарлиги</a:t>
            </a:r>
            <a:endParaRPr lang="ru-RU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42F4FF-159F-4AB0-8F9D-5CB80167A2FD}"/>
              </a:ext>
            </a:extLst>
          </p:cNvPr>
          <p:cNvSpPr/>
          <p:nvPr/>
        </p:nvSpPr>
        <p:spPr>
          <a:xfrm>
            <a:off x="1099943" y="1302282"/>
            <a:ext cx="10649144" cy="51642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-мавзу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ўйича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ъруза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якунида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лабаларни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уруҳларга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ўлиш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ўлажак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еминарга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йёрланиши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ерак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ўлган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ъруза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чун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уйидаги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взуларни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клиф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илиш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всия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тилади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:</a:t>
            </a:r>
            <a:endParaRPr lang="ru-RU" sz="1400" dirty="0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жтимо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ивожланиш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урл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сқичлар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ғоялари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рих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ивожлани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я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елиб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чиқиш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коррупц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шакл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ғоялар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ққослаш-қадим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ис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Шумерда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коррупция, коррупц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ўғрисида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Рим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ону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 христиан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амиятида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коррупция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улгенция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Николас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уке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хазина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талон-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рож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йғон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ърифа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ав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ҳуқуқ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авла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уқарол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амият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деал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Макиавелли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Гоббс коррупц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ўғрис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.</a:t>
            </a: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иёс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изим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ўртасида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уносабат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урл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хил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изим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аражас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ниқла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зария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оббичил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питализм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ъси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инлар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аражас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ъси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(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нба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uz-Cyrl-UZ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И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Freedom House 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йтинги).</a:t>
            </a: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лобаллашув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аҳо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қтисодиёт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ркибида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ўзгариш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шароит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онунчил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ян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уаммо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лобаллашув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я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дро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тиш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ъси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халқаро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вестициялар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онунчил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лаблар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ъси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иёс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қтисод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локлар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шакллантириш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йрим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ъзо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авлат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онунчилиг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ъси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халқаро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онунчилиг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шакллантир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.</a:t>
            </a: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я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моё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ўлиш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амия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авлат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роли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я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ушунтирувч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зария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(Агент-Принципал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зария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амоав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ҳаракат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зария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ституционализм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авла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изим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ститутла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изай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шаффофлиги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ъсир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ўйи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зария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ҳбус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илемма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).</a:t>
            </a:r>
          </a:p>
          <a:p>
            <a:pPr marL="342900" lvl="0" indent="-342900" algn="just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Ўзбекисто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спубликас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ид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ҳуқуқбузарлик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тистика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инамика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ru-RU" sz="1400" dirty="0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600"/>
              </a:spcAft>
            </a:pP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нлаган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взулар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ўйича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ърузалар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қсад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ушунч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ифат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ъриф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ер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саласидаг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уаммолар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ниқла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коррупция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еноме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волюция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миллар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жтимо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қтисод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иёс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ўзгариш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текст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дро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т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1400" dirty="0">
              <a:solidFill>
                <a:schemeClr val="tx2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ACCC26E-FB85-4B44-9893-4B6B11D7A573}"/>
              </a:ext>
            </a:extLst>
          </p:cNvPr>
          <p:cNvSpPr/>
          <p:nvPr/>
        </p:nvSpPr>
        <p:spPr>
          <a:xfrm>
            <a:off x="266629" y="1255177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8" name="Graphic 20">
            <a:extLst>
              <a:ext uri="{FF2B5EF4-FFF2-40B4-BE49-F238E27FC236}">
                <a16:creationId xmlns:a16="http://schemas.microsoft.com/office/drawing/2014/main" id="{EEB5ECAE-BE9B-4133-899E-B4C1846EA858}"/>
              </a:ext>
            </a:extLst>
          </p:cNvPr>
          <p:cNvGrpSpPr/>
          <p:nvPr/>
        </p:nvGrpSpPr>
        <p:grpSpPr>
          <a:xfrm>
            <a:off x="281617" y="1302282"/>
            <a:ext cx="584299" cy="584775"/>
            <a:chOff x="2831972" y="669860"/>
            <a:chExt cx="2079010" cy="2080704"/>
          </a:xfrm>
          <a:solidFill>
            <a:schemeClr val="bg2">
              <a:lumMod val="25000"/>
            </a:schemeClr>
          </a:soli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122D264-243D-45E1-84A6-E05BB4B3D62A}"/>
                </a:ext>
              </a:extLst>
            </p:cNvPr>
            <p:cNvSpPr/>
            <p:nvPr/>
          </p:nvSpPr>
          <p:spPr>
            <a:xfrm>
              <a:off x="2831972" y="669860"/>
              <a:ext cx="1723780" cy="2080704"/>
            </a:xfrm>
            <a:custGeom>
              <a:avLst/>
              <a:gdLst>
                <a:gd name="connsiteX0" fmla="*/ 1682207 w 1723780"/>
                <a:gd name="connsiteY0" fmla="*/ 606365 h 2080703"/>
                <a:gd name="connsiteX1" fmla="*/ 1722766 w 1723780"/>
                <a:gd name="connsiteY1" fmla="*/ 565805 h 2080703"/>
                <a:gd name="connsiteX2" fmla="*/ 1722766 w 1723780"/>
                <a:gd name="connsiteY2" fmla="*/ 124721 h 2080703"/>
                <a:gd name="connsiteX3" fmla="*/ 1601088 w 1723780"/>
                <a:gd name="connsiteY3" fmla="*/ 3042 h 2080703"/>
                <a:gd name="connsiteX4" fmla="*/ 124721 w 1723780"/>
                <a:gd name="connsiteY4" fmla="*/ 3042 h 2080703"/>
                <a:gd name="connsiteX5" fmla="*/ 3042 w 1723780"/>
                <a:gd name="connsiteY5" fmla="*/ 124721 h 2080703"/>
                <a:gd name="connsiteX6" fmla="*/ 3042 w 1723780"/>
                <a:gd name="connsiteY6" fmla="*/ 1958011 h 2080703"/>
                <a:gd name="connsiteX7" fmla="*/ 124721 w 1723780"/>
                <a:gd name="connsiteY7" fmla="*/ 2079690 h 2080703"/>
                <a:gd name="connsiteX8" fmla="*/ 1601088 w 1723780"/>
                <a:gd name="connsiteY8" fmla="*/ 2079690 h 2080703"/>
                <a:gd name="connsiteX9" fmla="*/ 1722766 w 1723780"/>
                <a:gd name="connsiteY9" fmla="*/ 1958011 h 2080703"/>
                <a:gd name="connsiteX10" fmla="*/ 1722766 w 1723780"/>
                <a:gd name="connsiteY10" fmla="*/ 1659201 h 2080703"/>
                <a:gd name="connsiteX11" fmla="*/ 1682207 w 1723780"/>
                <a:gd name="connsiteY11" fmla="*/ 1618642 h 2080703"/>
                <a:gd name="connsiteX12" fmla="*/ 1641647 w 1723780"/>
                <a:gd name="connsiteY12" fmla="*/ 1659201 h 2080703"/>
                <a:gd name="connsiteX13" fmla="*/ 1641647 w 1723780"/>
                <a:gd name="connsiteY13" fmla="*/ 1958011 h 2080703"/>
                <a:gd name="connsiteX14" fmla="*/ 1601088 w 1723780"/>
                <a:gd name="connsiteY14" fmla="*/ 1998571 h 2080703"/>
                <a:gd name="connsiteX15" fmla="*/ 124721 w 1723780"/>
                <a:gd name="connsiteY15" fmla="*/ 1998571 h 2080703"/>
                <a:gd name="connsiteX16" fmla="*/ 84161 w 1723780"/>
                <a:gd name="connsiteY16" fmla="*/ 1958011 h 2080703"/>
                <a:gd name="connsiteX17" fmla="*/ 84161 w 1723780"/>
                <a:gd name="connsiteY17" fmla="*/ 124721 h 2080703"/>
                <a:gd name="connsiteX18" fmla="*/ 124721 w 1723780"/>
                <a:gd name="connsiteY18" fmla="*/ 84161 h 2080703"/>
                <a:gd name="connsiteX19" fmla="*/ 1601088 w 1723780"/>
                <a:gd name="connsiteY19" fmla="*/ 84161 h 2080703"/>
                <a:gd name="connsiteX20" fmla="*/ 1641647 w 1723780"/>
                <a:gd name="connsiteY20" fmla="*/ 124721 h 2080703"/>
                <a:gd name="connsiteX21" fmla="*/ 1641647 w 1723780"/>
                <a:gd name="connsiteY21" fmla="*/ 565805 h 2080703"/>
                <a:gd name="connsiteX22" fmla="*/ 1682207 w 1723780"/>
                <a:gd name="connsiteY22" fmla="*/ 606365 h 2080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23780" h="2080703">
                  <a:moveTo>
                    <a:pt x="1682207" y="606365"/>
                  </a:moveTo>
                  <a:cubicBezTo>
                    <a:pt x="1704604" y="606365"/>
                    <a:pt x="1722766" y="588207"/>
                    <a:pt x="1722766" y="565805"/>
                  </a:cubicBezTo>
                  <a:lnTo>
                    <a:pt x="1722766" y="124721"/>
                  </a:lnTo>
                  <a:cubicBezTo>
                    <a:pt x="1722766" y="57627"/>
                    <a:pt x="1668181" y="3042"/>
                    <a:pt x="1601088" y="3042"/>
                  </a:cubicBezTo>
                  <a:lnTo>
                    <a:pt x="124721" y="3042"/>
                  </a:lnTo>
                  <a:cubicBezTo>
                    <a:pt x="57627" y="3042"/>
                    <a:pt x="3042" y="57627"/>
                    <a:pt x="3042" y="124721"/>
                  </a:cubicBezTo>
                  <a:lnTo>
                    <a:pt x="3042" y="1958011"/>
                  </a:lnTo>
                  <a:cubicBezTo>
                    <a:pt x="3042" y="2025105"/>
                    <a:pt x="57627" y="2079690"/>
                    <a:pt x="124721" y="2079690"/>
                  </a:cubicBezTo>
                  <a:lnTo>
                    <a:pt x="1601088" y="2079690"/>
                  </a:lnTo>
                  <a:cubicBezTo>
                    <a:pt x="1668181" y="2079690"/>
                    <a:pt x="1722766" y="2025105"/>
                    <a:pt x="1722766" y="1958011"/>
                  </a:cubicBezTo>
                  <a:lnTo>
                    <a:pt x="1722766" y="1659201"/>
                  </a:lnTo>
                  <a:cubicBezTo>
                    <a:pt x="1722766" y="1636800"/>
                    <a:pt x="1704604" y="1618642"/>
                    <a:pt x="1682207" y="1618642"/>
                  </a:cubicBezTo>
                  <a:cubicBezTo>
                    <a:pt x="1659810" y="1618642"/>
                    <a:pt x="1641647" y="1636800"/>
                    <a:pt x="1641647" y="1659201"/>
                  </a:cubicBezTo>
                  <a:lnTo>
                    <a:pt x="1641647" y="1958011"/>
                  </a:lnTo>
                  <a:cubicBezTo>
                    <a:pt x="1641647" y="1980376"/>
                    <a:pt x="1623452" y="1998571"/>
                    <a:pt x="1601088" y="1998571"/>
                  </a:cubicBezTo>
                  <a:lnTo>
                    <a:pt x="124721" y="1998571"/>
                  </a:lnTo>
                  <a:cubicBezTo>
                    <a:pt x="102356" y="1998571"/>
                    <a:pt x="84161" y="1980376"/>
                    <a:pt x="84161" y="1958011"/>
                  </a:cubicBezTo>
                  <a:lnTo>
                    <a:pt x="84161" y="124721"/>
                  </a:lnTo>
                  <a:cubicBezTo>
                    <a:pt x="84161" y="102356"/>
                    <a:pt x="102356" y="84161"/>
                    <a:pt x="124721" y="84161"/>
                  </a:cubicBezTo>
                  <a:lnTo>
                    <a:pt x="1601088" y="84161"/>
                  </a:lnTo>
                  <a:cubicBezTo>
                    <a:pt x="1623452" y="84161"/>
                    <a:pt x="1641647" y="102356"/>
                    <a:pt x="1641647" y="124721"/>
                  </a:cubicBezTo>
                  <a:lnTo>
                    <a:pt x="1641647" y="565805"/>
                  </a:lnTo>
                  <a:cubicBezTo>
                    <a:pt x="1641647" y="588207"/>
                    <a:pt x="1659810" y="606365"/>
                    <a:pt x="1682207" y="60636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C1D0993-B87F-4FCD-AFEF-E3E2FA6D7CD2}"/>
                </a:ext>
              </a:extLst>
            </p:cNvPr>
            <p:cNvSpPr/>
            <p:nvPr/>
          </p:nvSpPr>
          <p:spPr>
            <a:xfrm>
              <a:off x="3651275" y="2446368"/>
              <a:ext cx="304196" cy="85175"/>
            </a:xfrm>
            <a:custGeom>
              <a:avLst/>
              <a:gdLst>
                <a:gd name="connsiteX0" fmla="*/ 262623 w 304196"/>
                <a:gd name="connsiteY0" fmla="*/ 3042 h 85175"/>
                <a:gd name="connsiteX1" fmla="*/ 43601 w 304196"/>
                <a:gd name="connsiteY1" fmla="*/ 3042 h 85175"/>
                <a:gd name="connsiteX2" fmla="*/ 3042 w 304196"/>
                <a:gd name="connsiteY2" fmla="*/ 43601 h 85175"/>
                <a:gd name="connsiteX3" fmla="*/ 43601 w 304196"/>
                <a:gd name="connsiteY3" fmla="*/ 84161 h 85175"/>
                <a:gd name="connsiteX4" fmla="*/ 262623 w 304196"/>
                <a:gd name="connsiteY4" fmla="*/ 84161 h 85175"/>
                <a:gd name="connsiteX5" fmla="*/ 303182 w 304196"/>
                <a:gd name="connsiteY5" fmla="*/ 43601 h 85175"/>
                <a:gd name="connsiteX6" fmla="*/ 262623 w 304196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196" h="85175">
                  <a:moveTo>
                    <a:pt x="262623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262623" y="84161"/>
                  </a:lnTo>
                  <a:cubicBezTo>
                    <a:pt x="285020" y="84161"/>
                    <a:pt x="303182" y="66003"/>
                    <a:pt x="303182" y="43601"/>
                  </a:cubicBezTo>
                  <a:cubicBezTo>
                    <a:pt x="303182" y="21200"/>
                    <a:pt x="285020" y="3042"/>
                    <a:pt x="262623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44BCA6-C249-4462-9BE1-4849A593CD47}"/>
                </a:ext>
              </a:extLst>
            </p:cNvPr>
            <p:cNvSpPr/>
            <p:nvPr/>
          </p:nvSpPr>
          <p:spPr>
            <a:xfrm>
              <a:off x="3294351" y="2219234"/>
              <a:ext cx="661120" cy="85175"/>
            </a:xfrm>
            <a:custGeom>
              <a:avLst/>
              <a:gdLst>
                <a:gd name="connsiteX0" fmla="*/ 619547 w 661120"/>
                <a:gd name="connsiteY0" fmla="*/ 3042 h 85175"/>
                <a:gd name="connsiteX1" fmla="*/ 43601 w 661120"/>
                <a:gd name="connsiteY1" fmla="*/ 3042 h 85175"/>
                <a:gd name="connsiteX2" fmla="*/ 3042 w 661120"/>
                <a:gd name="connsiteY2" fmla="*/ 43601 h 85175"/>
                <a:gd name="connsiteX3" fmla="*/ 43601 w 661120"/>
                <a:gd name="connsiteY3" fmla="*/ 84161 h 85175"/>
                <a:gd name="connsiteX4" fmla="*/ 619547 w 661120"/>
                <a:gd name="connsiteY4" fmla="*/ 84161 h 85175"/>
                <a:gd name="connsiteX5" fmla="*/ 660106 w 661120"/>
                <a:gd name="connsiteY5" fmla="*/ 43601 h 85175"/>
                <a:gd name="connsiteX6" fmla="*/ 619547 w 661120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1120" h="85175">
                  <a:moveTo>
                    <a:pt x="619547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619547" y="84161"/>
                  </a:lnTo>
                  <a:cubicBezTo>
                    <a:pt x="641944" y="84161"/>
                    <a:pt x="660106" y="66003"/>
                    <a:pt x="660106" y="43601"/>
                  </a:cubicBezTo>
                  <a:cubicBezTo>
                    <a:pt x="660106" y="21200"/>
                    <a:pt x="641944" y="3042"/>
                    <a:pt x="619547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F5A6BFE-B790-40B5-86B5-54E4ABE5F1AB}"/>
                </a:ext>
              </a:extLst>
            </p:cNvPr>
            <p:cNvSpPr/>
            <p:nvPr/>
          </p:nvSpPr>
          <p:spPr>
            <a:xfrm>
              <a:off x="3294351" y="1992101"/>
              <a:ext cx="661120" cy="85175"/>
            </a:xfrm>
            <a:custGeom>
              <a:avLst/>
              <a:gdLst>
                <a:gd name="connsiteX0" fmla="*/ 619547 w 661120"/>
                <a:gd name="connsiteY0" fmla="*/ 3042 h 85175"/>
                <a:gd name="connsiteX1" fmla="*/ 43601 w 661120"/>
                <a:gd name="connsiteY1" fmla="*/ 3042 h 85175"/>
                <a:gd name="connsiteX2" fmla="*/ 3042 w 661120"/>
                <a:gd name="connsiteY2" fmla="*/ 43601 h 85175"/>
                <a:gd name="connsiteX3" fmla="*/ 43601 w 661120"/>
                <a:gd name="connsiteY3" fmla="*/ 84161 h 85175"/>
                <a:gd name="connsiteX4" fmla="*/ 619547 w 661120"/>
                <a:gd name="connsiteY4" fmla="*/ 84161 h 85175"/>
                <a:gd name="connsiteX5" fmla="*/ 660106 w 661120"/>
                <a:gd name="connsiteY5" fmla="*/ 43601 h 85175"/>
                <a:gd name="connsiteX6" fmla="*/ 619547 w 661120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1120" h="85175">
                  <a:moveTo>
                    <a:pt x="619547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619547" y="84161"/>
                  </a:lnTo>
                  <a:cubicBezTo>
                    <a:pt x="641944" y="84161"/>
                    <a:pt x="660106" y="66003"/>
                    <a:pt x="660106" y="43601"/>
                  </a:cubicBezTo>
                  <a:cubicBezTo>
                    <a:pt x="660106" y="21200"/>
                    <a:pt x="641944" y="3042"/>
                    <a:pt x="619547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6AEA9D3-0590-4BBC-8722-CE0AF0A81E2F}"/>
                </a:ext>
              </a:extLst>
            </p:cNvPr>
            <p:cNvSpPr/>
            <p:nvPr/>
          </p:nvSpPr>
          <p:spPr>
            <a:xfrm>
              <a:off x="3121081" y="1764967"/>
              <a:ext cx="85175" cy="85175"/>
            </a:xfrm>
            <a:custGeom>
              <a:avLst/>
              <a:gdLst>
                <a:gd name="connsiteX0" fmla="*/ 72314 w 85175"/>
                <a:gd name="connsiteY0" fmla="*/ 14926 h 85175"/>
                <a:gd name="connsiteX1" fmla="*/ 43601 w 85175"/>
                <a:gd name="connsiteY1" fmla="*/ 3042 h 85175"/>
                <a:gd name="connsiteX2" fmla="*/ 14926 w 85175"/>
                <a:gd name="connsiteY2" fmla="*/ 14926 h 85175"/>
                <a:gd name="connsiteX3" fmla="*/ 3042 w 85175"/>
                <a:gd name="connsiteY3" fmla="*/ 43601 h 85175"/>
                <a:gd name="connsiteX4" fmla="*/ 14926 w 85175"/>
                <a:gd name="connsiteY4" fmla="*/ 72277 h 85175"/>
                <a:gd name="connsiteX5" fmla="*/ 43601 w 85175"/>
                <a:gd name="connsiteY5" fmla="*/ 84161 h 85175"/>
                <a:gd name="connsiteX6" fmla="*/ 72314 w 85175"/>
                <a:gd name="connsiteY6" fmla="*/ 72277 h 85175"/>
                <a:gd name="connsiteX7" fmla="*/ 84202 w 85175"/>
                <a:gd name="connsiteY7" fmla="*/ 43601 h 85175"/>
                <a:gd name="connsiteX8" fmla="*/ 72314 w 85175"/>
                <a:gd name="connsiteY8" fmla="*/ 14926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75" h="85175">
                  <a:moveTo>
                    <a:pt x="72314" y="14926"/>
                  </a:moveTo>
                  <a:cubicBezTo>
                    <a:pt x="64774" y="7382"/>
                    <a:pt x="54309" y="3042"/>
                    <a:pt x="43601" y="3042"/>
                  </a:cubicBezTo>
                  <a:cubicBezTo>
                    <a:pt x="32930" y="3042"/>
                    <a:pt x="22466" y="7382"/>
                    <a:pt x="14926" y="14926"/>
                  </a:cubicBezTo>
                  <a:cubicBezTo>
                    <a:pt x="7382" y="22470"/>
                    <a:pt x="3042" y="32934"/>
                    <a:pt x="3042" y="43601"/>
                  </a:cubicBezTo>
                  <a:cubicBezTo>
                    <a:pt x="3042" y="54269"/>
                    <a:pt x="7378" y="64733"/>
                    <a:pt x="14926" y="72277"/>
                  </a:cubicBezTo>
                  <a:cubicBezTo>
                    <a:pt x="22511" y="79821"/>
                    <a:pt x="32930" y="84161"/>
                    <a:pt x="43601" y="84161"/>
                  </a:cubicBezTo>
                  <a:cubicBezTo>
                    <a:pt x="54309" y="84161"/>
                    <a:pt x="64733" y="79821"/>
                    <a:pt x="72314" y="72277"/>
                  </a:cubicBezTo>
                  <a:cubicBezTo>
                    <a:pt x="79858" y="64733"/>
                    <a:pt x="84202" y="54269"/>
                    <a:pt x="84202" y="43601"/>
                  </a:cubicBezTo>
                  <a:cubicBezTo>
                    <a:pt x="84202" y="32934"/>
                    <a:pt x="79862" y="22470"/>
                    <a:pt x="72314" y="149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CCB0DA7-C3E0-4512-83E4-DCE8FA60FE44}"/>
                </a:ext>
              </a:extLst>
            </p:cNvPr>
            <p:cNvSpPr/>
            <p:nvPr/>
          </p:nvSpPr>
          <p:spPr>
            <a:xfrm>
              <a:off x="3121081" y="1992101"/>
              <a:ext cx="85175" cy="85175"/>
            </a:xfrm>
            <a:custGeom>
              <a:avLst/>
              <a:gdLst>
                <a:gd name="connsiteX0" fmla="*/ 72314 w 85175"/>
                <a:gd name="connsiteY0" fmla="*/ 14926 h 85175"/>
                <a:gd name="connsiteX1" fmla="*/ 43601 w 85175"/>
                <a:gd name="connsiteY1" fmla="*/ 3042 h 85175"/>
                <a:gd name="connsiteX2" fmla="*/ 14926 w 85175"/>
                <a:gd name="connsiteY2" fmla="*/ 14926 h 85175"/>
                <a:gd name="connsiteX3" fmla="*/ 3042 w 85175"/>
                <a:gd name="connsiteY3" fmla="*/ 43601 h 85175"/>
                <a:gd name="connsiteX4" fmla="*/ 14926 w 85175"/>
                <a:gd name="connsiteY4" fmla="*/ 72277 h 85175"/>
                <a:gd name="connsiteX5" fmla="*/ 43601 w 85175"/>
                <a:gd name="connsiteY5" fmla="*/ 84161 h 85175"/>
                <a:gd name="connsiteX6" fmla="*/ 72314 w 85175"/>
                <a:gd name="connsiteY6" fmla="*/ 72277 h 85175"/>
                <a:gd name="connsiteX7" fmla="*/ 84202 w 85175"/>
                <a:gd name="connsiteY7" fmla="*/ 43601 h 85175"/>
                <a:gd name="connsiteX8" fmla="*/ 72314 w 85175"/>
                <a:gd name="connsiteY8" fmla="*/ 14926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75" h="85175">
                  <a:moveTo>
                    <a:pt x="72314" y="14926"/>
                  </a:moveTo>
                  <a:cubicBezTo>
                    <a:pt x="64733" y="7382"/>
                    <a:pt x="54309" y="3042"/>
                    <a:pt x="43601" y="3042"/>
                  </a:cubicBezTo>
                  <a:cubicBezTo>
                    <a:pt x="32930" y="3042"/>
                    <a:pt x="22511" y="7382"/>
                    <a:pt x="14926" y="14926"/>
                  </a:cubicBezTo>
                  <a:cubicBezTo>
                    <a:pt x="7382" y="22470"/>
                    <a:pt x="3042" y="32934"/>
                    <a:pt x="3042" y="43601"/>
                  </a:cubicBezTo>
                  <a:cubicBezTo>
                    <a:pt x="3042" y="54269"/>
                    <a:pt x="7378" y="64733"/>
                    <a:pt x="14926" y="72277"/>
                  </a:cubicBezTo>
                  <a:cubicBezTo>
                    <a:pt x="22511" y="79821"/>
                    <a:pt x="32930" y="84161"/>
                    <a:pt x="43601" y="84161"/>
                  </a:cubicBezTo>
                  <a:cubicBezTo>
                    <a:pt x="54309" y="84161"/>
                    <a:pt x="64733" y="79821"/>
                    <a:pt x="72314" y="72277"/>
                  </a:cubicBezTo>
                  <a:cubicBezTo>
                    <a:pt x="79858" y="64733"/>
                    <a:pt x="84202" y="54269"/>
                    <a:pt x="84202" y="43601"/>
                  </a:cubicBezTo>
                  <a:cubicBezTo>
                    <a:pt x="84202" y="32934"/>
                    <a:pt x="79862" y="22470"/>
                    <a:pt x="72314" y="149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E2B24771-3DC1-45C8-A771-3FF38BDD4A3E}"/>
                </a:ext>
              </a:extLst>
            </p:cNvPr>
            <p:cNvSpPr/>
            <p:nvPr/>
          </p:nvSpPr>
          <p:spPr>
            <a:xfrm>
              <a:off x="3121081" y="2219234"/>
              <a:ext cx="85175" cy="85175"/>
            </a:xfrm>
            <a:custGeom>
              <a:avLst/>
              <a:gdLst>
                <a:gd name="connsiteX0" fmla="*/ 72314 w 85175"/>
                <a:gd name="connsiteY0" fmla="*/ 14926 h 85175"/>
                <a:gd name="connsiteX1" fmla="*/ 43601 w 85175"/>
                <a:gd name="connsiteY1" fmla="*/ 3042 h 85175"/>
                <a:gd name="connsiteX2" fmla="*/ 14926 w 85175"/>
                <a:gd name="connsiteY2" fmla="*/ 14926 h 85175"/>
                <a:gd name="connsiteX3" fmla="*/ 3042 w 85175"/>
                <a:gd name="connsiteY3" fmla="*/ 43601 h 85175"/>
                <a:gd name="connsiteX4" fmla="*/ 14926 w 85175"/>
                <a:gd name="connsiteY4" fmla="*/ 72277 h 85175"/>
                <a:gd name="connsiteX5" fmla="*/ 43601 w 85175"/>
                <a:gd name="connsiteY5" fmla="*/ 84161 h 85175"/>
                <a:gd name="connsiteX6" fmla="*/ 72314 w 85175"/>
                <a:gd name="connsiteY6" fmla="*/ 72277 h 85175"/>
                <a:gd name="connsiteX7" fmla="*/ 84202 w 85175"/>
                <a:gd name="connsiteY7" fmla="*/ 43601 h 85175"/>
                <a:gd name="connsiteX8" fmla="*/ 72314 w 85175"/>
                <a:gd name="connsiteY8" fmla="*/ 14926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75" h="85175">
                  <a:moveTo>
                    <a:pt x="72314" y="14926"/>
                  </a:moveTo>
                  <a:cubicBezTo>
                    <a:pt x="64733" y="7382"/>
                    <a:pt x="54309" y="3042"/>
                    <a:pt x="43601" y="3042"/>
                  </a:cubicBezTo>
                  <a:cubicBezTo>
                    <a:pt x="32930" y="3042"/>
                    <a:pt x="22511" y="7382"/>
                    <a:pt x="14926" y="14926"/>
                  </a:cubicBezTo>
                  <a:cubicBezTo>
                    <a:pt x="7382" y="22470"/>
                    <a:pt x="3042" y="32934"/>
                    <a:pt x="3042" y="43601"/>
                  </a:cubicBezTo>
                  <a:cubicBezTo>
                    <a:pt x="3042" y="54269"/>
                    <a:pt x="7378" y="64733"/>
                    <a:pt x="14926" y="72277"/>
                  </a:cubicBezTo>
                  <a:cubicBezTo>
                    <a:pt x="22466" y="79821"/>
                    <a:pt x="32930" y="84161"/>
                    <a:pt x="43601" y="84161"/>
                  </a:cubicBezTo>
                  <a:cubicBezTo>
                    <a:pt x="54309" y="84161"/>
                    <a:pt x="64774" y="79821"/>
                    <a:pt x="72314" y="72277"/>
                  </a:cubicBezTo>
                  <a:cubicBezTo>
                    <a:pt x="79858" y="64733"/>
                    <a:pt x="84202" y="54269"/>
                    <a:pt x="84202" y="43601"/>
                  </a:cubicBezTo>
                  <a:cubicBezTo>
                    <a:pt x="84202" y="32934"/>
                    <a:pt x="79862" y="22470"/>
                    <a:pt x="72314" y="149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20FAFF9-1877-44C3-8AF5-203E8B7F8C43}"/>
                </a:ext>
              </a:extLst>
            </p:cNvPr>
            <p:cNvSpPr/>
            <p:nvPr/>
          </p:nvSpPr>
          <p:spPr>
            <a:xfrm>
              <a:off x="3294351" y="1764967"/>
              <a:ext cx="661120" cy="85175"/>
            </a:xfrm>
            <a:custGeom>
              <a:avLst/>
              <a:gdLst>
                <a:gd name="connsiteX0" fmla="*/ 619547 w 661120"/>
                <a:gd name="connsiteY0" fmla="*/ 3042 h 85175"/>
                <a:gd name="connsiteX1" fmla="*/ 43601 w 661120"/>
                <a:gd name="connsiteY1" fmla="*/ 3042 h 85175"/>
                <a:gd name="connsiteX2" fmla="*/ 3042 w 661120"/>
                <a:gd name="connsiteY2" fmla="*/ 43601 h 85175"/>
                <a:gd name="connsiteX3" fmla="*/ 43601 w 661120"/>
                <a:gd name="connsiteY3" fmla="*/ 84161 h 85175"/>
                <a:gd name="connsiteX4" fmla="*/ 619547 w 661120"/>
                <a:gd name="connsiteY4" fmla="*/ 84161 h 85175"/>
                <a:gd name="connsiteX5" fmla="*/ 660106 w 661120"/>
                <a:gd name="connsiteY5" fmla="*/ 43601 h 85175"/>
                <a:gd name="connsiteX6" fmla="*/ 619547 w 661120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1120" h="85175">
                  <a:moveTo>
                    <a:pt x="619547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619547" y="84161"/>
                  </a:lnTo>
                  <a:cubicBezTo>
                    <a:pt x="641944" y="84161"/>
                    <a:pt x="660106" y="66003"/>
                    <a:pt x="660106" y="43601"/>
                  </a:cubicBezTo>
                  <a:cubicBezTo>
                    <a:pt x="660106" y="21200"/>
                    <a:pt x="641944" y="3042"/>
                    <a:pt x="619547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398BA0F-0EA6-4FF2-A09E-50F3FAC7A244}"/>
                </a:ext>
              </a:extLst>
            </p:cNvPr>
            <p:cNvSpPr/>
            <p:nvPr/>
          </p:nvSpPr>
          <p:spPr>
            <a:xfrm>
              <a:off x="4038952" y="1175537"/>
              <a:ext cx="872030" cy="1354688"/>
            </a:xfrm>
            <a:custGeom>
              <a:avLst/>
              <a:gdLst>
                <a:gd name="connsiteX0" fmla="*/ 787515 w 872029"/>
                <a:gd name="connsiteY0" fmla="*/ 25937 h 1354688"/>
                <a:gd name="connsiteX1" fmla="*/ 658248 w 872029"/>
                <a:gd name="connsiteY1" fmla="*/ 8918 h 1354688"/>
                <a:gd name="connsiteX2" fmla="*/ 554813 w 872029"/>
                <a:gd name="connsiteY2" fmla="*/ 88289 h 1354688"/>
                <a:gd name="connsiteX3" fmla="*/ 44404 w 872029"/>
                <a:gd name="connsiteY3" fmla="*/ 972337 h 1354688"/>
                <a:gd name="connsiteX4" fmla="*/ 39220 w 872029"/>
                <a:gd name="connsiteY4" fmla="*/ 988119 h 1354688"/>
                <a:gd name="connsiteX5" fmla="*/ 3293 w 872029"/>
                <a:gd name="connsiteY5" fmla="*/ 1309934 h 1354688"/>
                <a:gd name="connsiteX6" fmla="*/ 23321 w 872029"/>
                <a:gd name="connsiteY6" fmla="*/ 1349561 h 1354688"/>
                <a:gd name="connsiteX7" fmla="*/ 43597 w 872029"/>
                <a:gd name="connsiteY7" fmla="*/ 1354996 h 1354688"/>
                <a:gd name="connsiteX8" fmla="*/ 67652 w 872029"/>
                <a:gd name="connsiteY8" fmla="*/ 1347095 h 1354688"/>
                <a:gd name="connsiteX9" fmla="*/ 328385 w 872029"/>
                <a:gd name="connsiteY9" fmla="*/ 1155070 h 1354688"/>
                <a:gd name="connsiteX10" fmla="*/ 339458 w 872029"/>
                <a:gd name="connsiteY10" fmla="*/ 1142691 h 1354688"/>
                <a:gd name="connsiteX11" fmla="*/ 849863 w 872029"/>
                <a:gd name="connsiteY11" fmla="*/ 258643 h 1354688"/>
                <a:gd name="connsiteX12" fmla="*/ 787515 w 872029"/>
                <a:gd name="connsiteY12" fmla="*/ 25937 h 1354688"/>
                <a:gd name="connsiteX13" fmla="*/ 94194 w 872029"/>
                <a:gd name="connsiteY13" fmla="*/ 1226799 h 1354688"/>
                <a:gd name="connsiteX14" fmla="*/ 112957 w 872029"/>
                <a:gd name="connsiteY14" fmla="*/ 1058753 h 1354688"/>
                <a:gd name="connsiteX15" fmla="*/ 230345 w 872029"/>
                <a:gd name="connsiteY15" fmla="*/ 1126528 h 1354688"/>
                <a:gd name="connsiteX16" fmla="*/ 94194 w 872029"/>
                <a:gd name="connsiteY16" fmla="*/ 1226799 h 1354688"/>
                <a:gd name="connsiteX17" fmla="*/ 289489 w 872029"/>
                <a:gd name="connsiteY17" fmla="*/ 1067003 h 1354688"/>
                <a:gd name="connsiteX18" fmla="*/ 134937 w 872029"/>
                <a:gd name="connsiteY18" fmla="*/ 977772 h 1354688"/>
                <a:gd name="connsiteX19" fmla="*/ 544527 w 872029"/>
                <a:gd name="connsiteY19" fmla="*/ 268345 h 1354688"/>
                <a:gd name="connsiteX20" fmla="*/ 699079 w 872029"/>
                <a:gd name="connsiteY20" fmla="*/ 357576 h 1354688"/>
                <a:gd name="connsiteX21" fmla="*/ 289489 w 872029"/>
                <a:gd name="connsiteY21" fmla="*/ 1067003 h 1354688"/>
                <a:gd name="connsiteX22" fmla="*/ 779614 w 872029"/>
                <a:gd name="connsiteY22" fmla="*/ 218080 h 1354688"/>
                <a:gd name="connsiteX23" fmla="*/ 739635 w 872029"/>
                <a:gd name="connsiteY23" fmla="*/ 287327 h 1354688"/>
                <a:gd name="connsiteX24" fmla="*/ 585083 w 872029"/>
                <a:gd name="connsiteY24" fmla="*/ 198096 h 1354688"/>
                <a:gd name="connsiteX25" fmla="*/ 625062 w 872029"/>
                <a:gd name="connsiteY25" fmla="*/ 128849 h 1354688"/>
                <a:gd name="connsiteX26" fmla="*/ 679241 w 872029"/>
                <a:gd name="connsiteY26" fmla="*/ 87275 h 1354688"/>
                <a:gd name="connsiteX27" fmla="*/ 746952 w 872029"/>
                <a:gd name="connsiteY27" fmla="*/ 96190 h 1354688"/>
                <a:gd name="connsiteX28" fmla="*/ 788525 w 872029"/>
                <a:gd name="connsiteY28" fmla="*/ 150370 h 1354688"/>
                <a:gd name="connsiteX29" fmla="*/ 779614 w 872029"/>
                <a:gd name="connsiteY29" fmla="*/ 218080 h 135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72029" h="1354688">
                  <a:moveTo>
                    <a:pt x="787515" y="25937"/>
                  </a:moveTo>
                  <a:cubicBezTo>
                    <a:pt x="748111" y="3187"/>
                    <a:pt x="702206" y="-2856"/>
                    <a:pt x="658248" y="8918"/>
                  </a:cubicBezTo>
                  <a:cubicBezTo>
                    <a:pt x="614298" y="20697"/>
                    <a:pt x="577559" y="48886"/>
                    <a:pt x="554813" y="88289"/>
                  </a:cubicBezTo>
                  <a:lnTo>
                    <a:pt x="44404" y="972337"/>
                  </a:lnTo>
                  <a:cubicBezTo>
                    <a:pt x="41609" y="977184"/>
                    <a:pt x="39841" y="982558"/>
                    <a:pt x="39220" y="988119"/>
                  </a:cubicBezTo>
                  <a:lnTo>
                    <a:pt x="3293" y="1309934"/>
                  </a:lnTo>
                  <a:cubicBezTo>
                    <a:pt x="1508" y="1325947"/>
                    <a:pt x="9368" y="1341502"/>
                    <a:pt x="23321" y="1349561"/>
                  </a:cubicBezTo>
                  <a:cubicBezTo>
                    <a:pt x="29620" y="1353195"/>
                    <a:pt x="36616" y="1354996"/>
                    <a:pt x="43597" y="1354996"/>
                  </a:cubicBezTo>
                  <a:cubicBezTo>
                    <a:pt x="52082" y="1354996"/>
                    <a:pt x="60534" y="1352339"/>
                    <a:pt x="67652" y="1347095"/>
                  </a:cubicBezTo>
                  <a:lnTo>
                    <a:pt x="328385" y="1155070"/>
                  </a:lnTo>
                  <a:cubicBezTo>
                    <a:pt x="332891" y="1151752"/>
                    <a:pt x="336663" y="1147538"/>
                    <a:pt x="339458" y="1142691"/>
                  </a:cubicBezTo>
                  <a:lnTo>
                    <a:pt x="849863" y="258643"/>
                  </a:lnTo>
                  <a:cubicBezTo>
                    <a:pt x="896831" y="177297"/>
                    <a:pt x="868861" y="72905"/>
                    <a:pt x="787515" y="25937"/>
                  </a:cubicBezTo>
                  <a:close/>
                  <a:moveTo>
                    <a:pt x="94194" y="1226799"/>
                  </a:moveTo>
                  <a:lnTo>
                    <a:pt x="112957" y="1058753"/>
                  </a:lnTo>
                  <a:lnTo>
                    <a:pt x="230345" y="1126528"/>
                  </a:lnTo>
                  <a:lnTo>
                    <a:pt x="94194" y="1226799"/>
                  </a:lnTo>
                  <a:close/>
                  <a:moveTo>
                    <a:pt x="289489" y="1067003"/>
                  </a:moveTo>
                  <a:lnTo>
                    <a:pt x="134937" y="977772"/>
                  </a:lnTo>
                  <a:lnTo>
                    <a:pt x="544527" y="268345"/>
                  </a:lnTo>
                  <a:lnTo>
                    <a:pt x="699079" y="357576"/>
                  </a:lnTo>
                  <a:lnTo>
                    <a:pt x="289489" y="1067003"/>
                  </a:lnTo>
                  <a:close/>
                  <a:moveTo>
                    <a:pt x="779614" y="218080"/>
                  </a:moveTo>
                  <a:lnTo>
                    <a:pt x="739635" y="287327"/>
                  </a:lnTo>
                  <a:lnTo>
                    <a:pt x="585083" y="198096"/>
                  </a:lnTo>
                  <a:lnTo>
                    <a:pt x="625062" y="128849"/>
                  </a:lnTo>
                  <a:cubicBezTo>
                    <a:pt x="636978" y="108208"/>
                    <a:pt x="656220" y="93444"/>
                    <a:pt x="679241" y="87275"/>
                  </a:cubicBezTo>
                  <a:cubicBezTo>
                    <a:pt x="702271" y="81102"/>
                    <a:pt x="726315" y="84274"/>
                    <a:pt x="746952" y="96190"/>
                  </a:cubicBezTo>
                  <a:cubicBezTo>
                    <a:pt x="767592" y="108107"/>
                    <a:pt x="782356" y="127348"/>
                    <a:pt x="788525" y="150370"/>
                  </a:cubicBezTo>
                  <a:cubicBezTo>
                    <a:pt x="794694" y="173391"/>
                    <a:pt x="791531" y="197439"/>
                    <a:pt x="779614" y="218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object 12">
            <a:extLst>
              <a:ext uri="{FF2B5EF4-FFF2-40B4-BE49-F238E27FC236}">
                <a16:creationId xmlns:a16="http://schemas.microsoft.com/office/drawing/2014/main" id="{0A7A8BD6-1322-43DA-B49E-21E65079738B}"/>
              </a:ext>
            </a:extLst>
          </p:cNvPr>
          <p:cNvSpPr/>
          <p:nvPr/>
        </p:nvSpPr>
        <p:spPr>
          <a:xfrm>
            <a:off x="266629" y="541359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9" name="Рисунок 54">
            <a:extLst>
              <a:ext uri="{FF2B5EF4-FFF2-40B4-BE49-F238E27FC236}">
                <a16:creationId xmlns:a16="http://schemas.microsoft.com/office/drawing/2014/main" id="{FB495E36-527D-4C9E-AA6B-ACE5E56FE86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839" y="5359652"/>
            <a:ext cx="685826" cy="685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8554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2C6541-2A31-4E7F-B834-4CE389EA3A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4400" dirty="0" err="1"/>
              <a:t>Билимлар</a:t>
            </a:r>
            <a:r>
              <a:rPr lang="ru-RU" sz="4400" dirty="0"/>
              <a:t> </a:t>
            </a:r>
            <a:r>
              <a:rPr lang="ru-RU" sz="4400" dirty="0" err="1"/>
              <a:t>назорати</a:t>
            </a:r>
            <a:endParaRPr lang="en-US" sz="44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EE0174C-B42B-4279-A654-0497B7B9D41F}"/>
              </a:ext>
            </a:extLst>
          </p:cNvPr>
          <p:cNvSpPr txBox="1">
            <a:spLocks/>
          </p:cNvSpPr>
          <p:nvPr/>
        </p:nvSpPr>
        <p:spPr>
          <a:xfrm>
            <a:off x="350378" y="5223794"/>
            <a:ext cx="2455452" cy="15216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9600" b="1" dirty="0">
                <a:solidFill>
                  <a:srgbClr val="1BD7D3"/>
                </a:solidFill>
                <a:latin typeface="Arial Black" panose="020B0A04020102020204" pitchFamily="34" charset="0"/>
              </a:rPr>
              <a:t>10.</a:t>
            </a:r>
            <a:endParaRPr lang="en-US" sz="9600" b="1" dirty="0">
              <a:solidFill>
                <a:srgbClr val="1BD7D3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758998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905387-FE84-4F94-A2AC-B2BF45099C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Назорат</a:t>
            </a:r>
            <a:r>
              <a:rPr lang="ru-RU" dirty="0"/>
              <a:t> </a:t>
            </a:r>
            <a:r>
              <a:rPr lang="ru-RU" dirty="0" err="1"/>
              <a:t>саволлари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8F415F-D09D-4568-BB70-B629F32774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30C748F-3A00-45B4-B6ED-2E57F92DECFD}"/>
              </a:ext>
            </a:extLst>
          </p:cNvPr>
          <p:cNvSpPr/>
          <p:nvPr/>
        </p:nvSpPr>
        <p:spPr>
          <a:xfrm>
            <a:off x="441832" y="1282700"/>
            <a:ext cx="5582732" cy="47012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400050" indent="-400050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dirty="0">
                <a:solidFill>
                  <a:schemeClr val="tx2"/>
                </a:solidFill>
                <a:latin typeface="+mj-lt"/>
              </a:rPr>
              <a:t>Коррупция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ҳуқуқбузарликлари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тушунчалариг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милли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қонунчиликк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мувофиқ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тариф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беринг</a:t>
            </a:r>
            <a:endParaRPr lang="ru-RU" sz="1400" dirty="0">
              <a:solidFill>
                <a:schemeClr val="tx2"/>
              </a:solidFill>
              <a:latin typeface="+mj-lt"/>
            </a:endParaRPr>
          </a:p>
          <a:p>
            <a:pPr marL="400050" indent="-400050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dirty="0" err="1">
                <a:solidFill>
                  <a:schemeClr val="tx2"/>
                </a:solidFill>
                <a:latin typeface="+mj-lt"/>
              </a:rPr>
              <a:t>Коррупциянинг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асоси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омиллари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ҳақид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гапириб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беринг</a:t>
            </a:r>
            <a:endParaRPr lang="ru-RU" sz="1400" dirty="0">
              <a:solidFill>
                <a:schemeClr val="tx2"/>
              </a:solidFill>
              <a:latin typeface="+mj-lt"/>
            </a:endParaRPr>
          </a:p>
          <a:p>
            <a:pPr marL="400050" indent="-400050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dirty="0" err="1">
                <a:solidFill>
                  <a:schemeClr val="tx2"/>
                </a:solidFill>
                <a:latin typeface="+mj-lt"/>
              </a:rPr>
              <a:t>Коррупциянинг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иқтисоди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/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сиёси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/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ижтимои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оқибатлари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қанда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?</a:t>
            </a:r>
          </a:p>
          <a:p>
            <a:pPr marL="400050" indent="-400050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dirty="0">
                <a:solidFill>
                  <a:schemeClr val="tx2"/>
                </a:solidFill>
                <a:latin typeface="+mj-lt"/>
              </a:rPr>
              <a:t>Коррупция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хатти-ҳаракатлар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бунда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хатти-ҳаракатларнинг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оқибатлариг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мисол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келтиринг</a:t>
            </a:r>
            <a:endParaRPr lang="ru-RU" sz="1400" dirty="0">
              <a:solidFill>
                <a:schemeClr val="tx2"/>
              </a:solidFill>
              <a:latin typeface="+mj-lt"/>
            </a:endParaRPr>
          </a:p>
          <a:p>
            <a:pPr marL="400050" indent="-400050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dirty="0" err="1">
                <a:solidFill>
                  <a:schemeClr val="tx2"/>
                </a:solidFill>
                <a:latin typeface="+mj-lt"/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оид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ҳуқуқбузарликларнинг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асоси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турлари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қанда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?</a:t>
            </a:r>
          </a:p>
          <a:p>
            <a:pPr marL="400050" indent="-400050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dirty="0">
                <a:solidFill>
                  <a:schemeClr val="tx2"/>
                </a:solidFill>
                <a:latin typeface="+mj-lt"/>
              </a:rPr>
              <a:t>Непотизм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манфаатлар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тўқнашуви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билан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қанда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боғлиқ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?</a:t>
            </a:r>
          </a:p>
          <a:p>
            <a:pPr marL="400050" indent="-400050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dirty="0">
                <a:solidFill>
                  <a:schemeClr val="tx2"/>
                </a:solidFill>
                <a:latin typeface="+mj-lt"/>
              </a:rPr>
              <a:t>Коррупция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қанда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шаклларг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эг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бўлиши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мумкин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?</a:t>
            </a:r>
          </a:p>
          <a:p>
            <a:pPr marL="400050" indent="-400050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dirty="0" err="1">
                <a:solidFill>
                  <a:schemeClr val="tx2"/>
                </a:solidFill>
                <a:latin typeface="+mj-lt"/>
              </a:rPr>
              <a:t>Қанда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назариялар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хатти-ҳаракатини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тушунтиради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?</a:t>
            </a:r>
          </a:p>
          <a:p>
            <a:pPr marL="400050" indent="-400050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dirty="0" err="1">
                <a:solidFill>
                  <a:schemeClr val="tx2"/>
                </a:solidFill>
                <a:latin typeface="+mj-lt"/>
              </a:rPr>
              <a:t>Фирибгарлик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учбурчаги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ҳар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доим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ҳам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ноқонуний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хатти-ҳаракатни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тушунтир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оладими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?</a:t>
            </a:r>
          </a:p>
          <a:p>
            <a:pPr marL="400050" indent="-400050">
              <a:spcBef>
                <a:spcPts val="3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400" dirty="0" err="1">
                <a:solidFill>
                  <a:schemeClr val="tx2"/>
                </a:solidFill>
                <a:latin typeface="+mj-lt"/>
              </a:rPr>
              <a:t>Маърузад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танишган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коррупция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бўйич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халқаро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тадқиқотлар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ҳақида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гапириб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беринг</a:t>
            </a:r>
            <a:endParaRPr lang="ru-RU" sz="1400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322235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Ўзбекист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Республик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ону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ужжатла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алаблари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увофиқ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порахўрл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у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авобга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г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субъект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ўрсатинг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вч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увч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вч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ра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увч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еч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им</a:t>
            </a:r>
            <a:endParaRPr lang="en-US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828C01D-9F8A-4D7D-82D6-3B943179EF12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2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3652373"/>
            <a:ext cx="10206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пора </a:t>
            </a:r>
            <a:r>
              <a:rPr lang="ru-RU" b="1" dirty="0" err="1">
                <a:solidFill>
                  <a:srgbClr val="004BD2"/>
                </a:solidFill>
              </a:rPr>
              <a:t>предмет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иш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умкин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4369098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з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чир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пул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мирлаш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лар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тиёзл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редит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дагилар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ммас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357275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4689692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C9DF8-ABB7-4E01-91B4-16CB0D08D0C6}"/>
              </a:ext>
            </a:extLst>
          </p:cNvPr>
          <p:cNvSpPr/>
          <p:nvPr/>
        </p:nvSpPr>
        <p:spPr>
          <a:xfrm>
            <a:off x="1644268" y="502210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616D39-21C2-4D87-94B2-90E4C5A80B2C}"/>
              </a:ext>
            </a:extLst>
          </p:cNvPr>
          <p:cNvSpPr/>
          <p:nvPr/>
        </p:nvSpPr>
        <p:spPr>
          <a:xfrm>
            <a:off x="1644268" y="533265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18584005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Ўзбекист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Республик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ону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ужжатла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алаблари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увофиқ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порахўрл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у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авобга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г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субъект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ўрсатинг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вч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увч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вчи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ра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увчи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еч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им</a:t>
            </a:r>
            <a:endParaRPr lang="en-US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828C01D-9F8A-4D7D-82D6-3B943179EF12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2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3652373"/>
            <a:ext cx="10206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пора </a:t>
            </a:r>
            <a:r>
              <a:rPr lang="ru-RU" b="1" dirty="0" err="1">
                <a:solidFill>
                  <a:srgbClr val="004BD2"/>
                </a:solidFill>
              </a:rPr>
              <a:t>предмет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иш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умкин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4369098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з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чир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пул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мирлаш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лар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тиёзл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редит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дагиларнинг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ммаси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357275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4689692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C9DF8-ABB7-4E01-91B4-16CB0D08D0C6}"/>
              </a:ext>
            </a:extLst>
          </p:cNvPr>
          <p:cNvSpPr/>
          <p:nvPr/>
        </p:nvSpPr>
        <p:spPr>
          <a:xfrm>
            <a:off x="1644268" y="502210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616D39-21C2-4D87-94B2-90E4C5A80B2C}"/>
              </a:ext>
            </a:extLst>
          </p:cNvPr>
          <p:cNvSpPr/>
          <p:nvPr/>
        </p:nvSpPr>
        <p:spPr>
          <a:xfrm>
            <a:off x="1644268" y="5332659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86773655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3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ай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ррупция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хосдир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ндалик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лард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райд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йлард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жбуриятлари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араётга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чилар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ражасид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о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ад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инч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лар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б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ибатларг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б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маслиг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мкин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дагилар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час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828C01D-9F8A-4D7D-82D6-3B943179EF12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4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3561796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ррупция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иқтисодий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қибатла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саналади</a:t>
            </a:r>
            <a:r>
              <a:rPr lang="ru-RU" b="1" dirty="0">
                <a:solidFill>
                  <a:srgbClr val="004BD2"/>
                </a:solidFill>
              </a:rPr>
              <a:t> (</a:t>
            </a:r>
            <a:r>
              <a:rPr lang="ru-RU" b="1" dirty="0" err="1">
                <a:solidFill>
                  <a:srgbClr val="004BD2"/>
                </a:solidFill>
              </a:rPr>
              <a:t>битт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авоб</a:t>
            </a:r>
            <a:r>
              <a:rPr lang="ru-RU" b="1" dirty="0">
                <a:solidFill>
                  <a:srgbClr val="004BD2"/>
                </a:solidFill>
              </a:rPr>
              <a:t>)?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4377166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лар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арасиз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симлаш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тижад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ромадлар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олатсиз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симла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қаролар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кимият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лариг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ончи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айиш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миятд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хлоқ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улқ-атвор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кк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лам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и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клланиш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ғр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36534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4697760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C9DF8-ABB7-4E01-91B4-16CB0D08D0C6}"/>
              </a:ext>
            </a:extLst>
          </p:cNvPr>
          <p:cNvSpPr/>
          <p:nvPr/>
        </p:nvSpPr>
        <p:spPr>
          <a:xfrm>
            <a:off x="1644268" y="5030177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616D39-21C2-4D87-94B2-90E4C5A80B2C}"/>
              </a:ext>
            </a:extLst>
          </p:cNvPr>
          <p:cNvSpPr/>
          <p:nvPr/>
        </p:nvSpPr>
        <p:spPr>
          <a:xfrm>
            <a:off x="1644268" y="5340727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9547267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3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ай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ррупция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хосдир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828C01D-9F8A-4D7D-82D6-3B943179EF12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4</a:t>
            </a:r>
            <a:endParaRPr sz="2800" b="1" dirty="0">
              <a:solidFill>
                <a:schemeClr val="tx2"/>
              </a:solidFill>
            </a:endParaRP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354461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4686878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C9DF8-ABB7-4E01-91B4-16CB0D08D0C6}"/>
              </a:ext>
            </a:extLst>
          </p:cNvPr>
          <p:cNvSpPr/>
          <p:nvPr/>
        </p:nvSpPr>
        <p:spPr>
          <a:xfrm>
            <a:off x="1644268" y="5019295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616D39-21C2-4D87-94B2-90E4C5A80B2C}"/>
              </a:ext>
            </a:extLst>
          </p:cNvPr>
          <p:cNvSpPr/>
          <p:nvPr/>
        </p:nvSpPr>
        <p:spPr>
          <a:xfrm>
            <a:off x="1644268" y="5329845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4F0DE34-0106-4797-8BBB-B649FB85A8F3}"/>
              </a:ext>
            </a:extLst>
          </p:cNvPr>
          <p:cNvSpPr/>
          <p:nvPr/>
        </p:nvSpPr>
        <p:spPr>
          <a:xfrm>
            <a:off x="2067098" y="2100888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ндалик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лард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райд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йлард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жбуриятлари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араётга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чилар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ражасид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о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ад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инч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лар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б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ибатларг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б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маслиг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мкин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дагилар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час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BA27FAB-256D-464A-B38C-C38CC20506DF}"/>
              </a:ext>
            </a:extLst>
          </p:cNvPr>
          <p:cNvSpPr/>
          <p:nvPr/>
        </p:nvSpPr>
        <p:spPr>
          <a:xfrm>
            <a:off x="1543014" y="3561796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ррупция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иқтисодий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қибатла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саналади</a:t>
            </a:r>
            <a:r>
              <a:rPr lang="ru-RU" b="1" dirty="0">
                <a:solidFill>
                  <a:srgbClr val="004BD2"/>
                </a:solidFill>
              </a:rPr>
              <a:t> (</a:t>
            </a:r>
            <a:r>
              <a:rPr lang="ru-RU" b="1" dirty="0" err="1">
                <a:solidFill>
                  <a:srgbClr val="004BD2"/>
                </a:solidFill>
              </a:rPr>
              <a:t>битт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авоб</a:t>
            </a:r>
            <a:r>
              <a:rPr lang="ru-RU" b="1" dirty="0">
                <a:solidFill>
                  <a:srgbClr val="004BD2"/>
                </a:solidFill>
              </a:rPr>
              <a:t>)?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6FFDF516-C978-4C46-96F3-F426D8CC5B25}"/>
              </a:ext>
            </a:extLst>
          </p:cNvPr>
          <p:cNvSpPr/>
          <p:nvPr/>
        </p:nvSpPr>
        <p:spPr>
          <a:xfrm>
            <a:off x="2067098" y="4377166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лар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арасиз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симлаш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тижад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ромадлар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олатсиз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қсимла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қаролар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кимият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лариг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ончи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айиш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миятд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хлоқ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улқ-атвор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кк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лам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и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клланиш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ғр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323619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5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rgbClr val="004BD2"/>
                </a:solidFill>
              </a:rPr>
              <a:t>Ушбу </a:t>
            </a:r>
            <a:r>
              <a:rPr lang="ru-RU" b="1" dirty="0" err="1">
                <a:solidFill>
                  <a:srgbClr val="004BD2"/>
                </a:solidFill>
              </a:rPr>
              <a:t>омил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ирибгарл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бурчаг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элементлари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исобланмайди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ла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ак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коният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ҳтиёж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828C01D-9F8A-4D7D-82D6-3B943179EF12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6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3561796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rgbClr val="004BD2"/>
                </a:solidFill>
              </a:rPr>
              <a:t>Принципал-агент </a:t>
            </a:r>
            <a:r>
              <a:rPr lang="ru-RU" b="1" dirty="0" err="1">
                <a:solidFill>
                  <a:srgbClr val="004BD2"/>
                </a:solidFill>
              </a:rPr>
              <a:t>модели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ўра</a:t>
            </a:r>
            <a:r>
              <a:rPr lang="ru-RU" b="1" dirty="0">
                <a:solidFill>
                  <a:srgbClr val="004BD2"/>
                </a:solidFill>
              </a:rPr>
              <a:t>, </a:t>
            </a:r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ррупция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драйве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исобланади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4389646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моатчилик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кр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хборот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иметрияс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жтимо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ул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нципал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ларидаг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увофиқлик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37782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4710240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C9DF8-ABB7-4E01-91B4-16CB0D08D0C6}"/>
              </a:ext>
            </a:extLst>
          </p:cNvPr>
          <p:cNvSpPr/>
          <p:nvPr/>
        </p:nvSpPr>
        <p:spPr>
          <a:xfrm>
            <a:off x="1644268" y="5042657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616D39-21C2-4D87-94B2-90E4C5A80B2C}"/>
              </a:ext>
            </a:extLst>
          </p:cNvPr>
          <p:cNvSpPr/>
          <p:nvPr/>
        </p:nvSpPr>
        <p:spPr>
          <a:xfrm>
            <a:off x="1644268" y="5353207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7453580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5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rgbClr val="004BD2"/>
                </a:solidFill>
              </a:rPr>
              <a:t>Ушбу </a:t>
            </a:r>
            <a:r>
              <a:rPr lang="ru-RU" b="1" dirty="0" err="1">
                <a:solidFill>
                  <a:srgbClr val="004BD2"/>
                </a:solidFill>
              </a:rPr>
              <a:t>омил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ирибгарл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бурчаг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элементлари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исобланмайди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ла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ак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коният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ҳтиёж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828C01D-9F8A-4D7D-82D6-3B943179EF12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6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3561796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rgbClr val="004BD2"/>
                </a:solidFill>
              </a:rPr>
              <a:t>Принципал-агент </a:t>
            </a:r>
            <a:r>
              <a:rPr lang="ru-RU" b="1" dirty="0" err="1">
                <a:solidFill>
                  <a:srgbClr val="004BD2"/>
                </a:solidFill>
              </a:rPr>
              <a:t>модели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ўра</a:t>
            </a:r>
            <a:r>
              <a:rPr lang="ru-RU" b="1" dirty="0">
                <a:solidFill>
                  <a:srgbClr val="004BD2"/>
                </a:solidFill>
              </a:rPr>
              <a:t>, </a:t>
            </a:r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ррупция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драйве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исобланади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4389646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моатчилик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кр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хборот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иметрияси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жтимо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ул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нципал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ларидаг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увофиқлик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37782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4710240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C9DF8-ABB7-4E01-91B4-16CB0D08D0C6}"/>
              </a:ext>
            </a:extLst>
          </p:cNvPr>
          <p:cNvSpPr/>
          <p:nvPr/>
        </p:nvSpPr>
        <p:spPr>
          <a:xfrm>
            <a:off x="1644268" y="5042657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616D39-21C2-4D87-94B2-90E4C5A80B2C}"/>
              </a:ext>
            </a:extLst>
          </p:cNvPr>
          <p:cNvSpPr/>
          <p:nvPr/>
        </p:nvSpPr>
        <p:spPr>
          <a:xfrm>
            <a:off x="1644268" y="5353207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405210756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7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непотизм </a:t>
            </a:r>
            <a:r>
              <a:rPr lang="ru-RU" b="1" dirty="0" err="1">
                <a:solidFill>
                  <a:srgbClr val="004BD2"/>
                </a:solidFill>
              </a:rPr>
              <a:t>кўрсаткичлари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исобланмайди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индошлар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ўстлар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г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қеида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йдалан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лар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қнашуви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жудлиг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лк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содар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828C01D-9F8A-4D7D-82D6-3B943179EF12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8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3561796"/>
            <a:ext cx="10206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rgbClr val="004BD2"/>
                </a:solidFill>
              </a:rPr>
              <a:t>Ушбу </a:t>
            </a:r>
            <a:r>
              <a:rPr lang="ru-RU" b="1" dirty="0" err="1">
                <a:solidFill>
                  <a:srgbClr val="004BD2"/>
                </a:solidFill>
              </a:rPr>
              <a:t>фик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ўғрими</a:t>
            </a:r>
            <a:r>
              <a:rPr lang="ru-RU" b="1" dirty="0">
                <a:solidFill>
                  <a:srgbClr val="004BD2"/>
                </a:solidFill>
              </a:rPr>
              <a:t>: Коррупция </a:t>
            </a:r>
            <a:r>
              <a:rPr lang="ru-RU" b="1" dirty="0" err="1">
                <a:solidFill>
                  <a:srgbClr val="004BD2"/>
                </a:solidFill>
              </a:rPr>
              <a:t>фақат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давлат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сектори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авжуд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4389646"/>
            <a:ext cx="9681990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37782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4710240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6162630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2A20E35-A5D5-48BC-A1C4-95F4C0DC4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тушунчаси</a:t>
            </a:r>
            <a:r>
              <a:rPr lang="ru-RU" dirty="0"/>
              <a:t> тал</a:t>
            </a:r>
            <a:r>
              <a:rPr lang="uz-Cyrl-UZ" dirty="0"/>
              <a:t>қини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365B485-80F4-4306-ACFB-6729AA121CE8}"/>
              </a:ext>
            </a:extLst>
          </p:cNvPr>
          <p:cNvGrpSpPr/>
          <p:nvPr/>
        </p:nvGrpSpPr>
        <p:grpSpPr>
          <a:xfrm>
            <a:off x="397165" y="949317"/>
            <a:ext cx="481622" cy="599694"/>
            <a:chOff x="431999" y="1123489"/>
            <a:chExt cx="481622" cy="599694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98FFE5A4-A620-4447-A846-3575104347D2}"/>
                </a:ext>
              </a:extLst>
            </p:cNvPr>
            <p:cNvSpPr/>
            <p:nvPr/>
          </p:nvSpPr>
          <p:spPr>
            <a:xfrm>
              <a:off x="481821" y="1158033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solidFill>
                    <a:schemeClr val="bg1">
                      <a:lumMod val="85000"/>
                    </a:schemeClr>
                  </a:solidFill>
                </a:rPr>
                <a:t>“</a:t>
              </a:r>
              <a:endParaRPr lang="ru-RU" sz="66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DC0B3881-E014-4EFC-886D-45192C764022}"/>
                </a:ext>
              </a:extLst>
            </p:cNvPr>
            <p:cNvSpPr/>
            <p:nvPr/>
          </p:nvSpPr>
          <p:spPr>
            <a:xfrm>
              <a:off x="431999" y="1123489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ln>
                    <a:solidFill>
                      <a:srgbClr val="2112AE"/>
                    </a:solidFill>
                  </a:ln>
                  <a:solidFill>
                    <a:srgbClr val="1BD7D3"/>
                  </a:solidFill>
                </a:rPr>
                <a:t>“</a:t>
              </a:r>
              <a:endParaRPr lang="ru-RU" sz="6600" dirty="0">
                <a:ln>
                  <a:solidFill>
                    <a:srgbClr val="2112AE"/>
                  </a:solidFill>
                </a:ln>
                <a:solidFill>
                  <a:srgbClr val="1BD7D3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90CF3DB-16AC-454E-A0FF-B3C33AB91C40}"/>
              </a:ext>
            </a:extLst>
          </p:cNvPr>
          <p:cNvGrpSpPr/>
          <p:nvPr/>
        </p:nvGrpSpPr>
        <p:grpSpPr>
          <a:xfrm>
            <a:off x="9705829" y="1496444"/>
            <a:ext cx="481622" cy="599694"/>
            <a:chOff x="2959589" y="4930589"/>
            <a:chExt cx="481622" cy="59969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4B110211-CE7B-4F94-8B82-E56E45B8B9ED}"/>
                </a:ext>
              </a:extLst>
            </p:cNvPr>
            <p:cNvSpPr/>
            <p:nvPr/>
          </p:nvSpPr>
          <p:spPr>
            <a:xfrm flipV="1">
              <a:off x="3009411" y="4965133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solidFill>
                    <a:schemeClr val="bg1">
                      <a:lumMod val="85000"/>
                    </a:schemeClr>
                  </a:solidFill>
                </a:rPr>
                <a:t>“</a:t>
              </a:r>
              <a:endParaRPr lang="ru-RU" sz="66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551FD1E9-5287-432B-AAD9-A52A517A5BAE}"/>
                </a:ext>
              </a:extLst>
            </p:cNvPr>
            <p:cNvSpPr/>
            <p:nvPr/>
          </p:nvSpPr>
          <p:spPr>
            <a:xfrm flipV="1">
              <a:off x="2959589" y="4930589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ln>
                    <a:solidFill>
                      <a:srgbClr val="2112AE"/>
                    </a:solidFill>
                  </a:ln>
                  <a:solidFill>
                    <a:srgbClr val="1BD7D3"/>
                  </a:solidFill>
                </a:rPr>
                <a:t>“</a:t>
              </a:r>
              <a:endParaRPr lang="ru-RU" sz="6600" dirty="0">
                <a:ln>
                  <a:solidFill>
                    <a:srgbClr val="2112AE"/>
                  </a:solidFill>
                </a:ln>
                <a:solidFill>
                  <a:srgbClr val="1BD7D3"/>
                </a:solidFill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410D2FAF-26D7-4796-812A-7ED016FE80B0}"/>
              </a:ext>
            </a:extLst>
          </p:cNvPr>
          <p:cNvSpPr/>
          <p:nvPr/>
        </p:nvSpPr>
        <p:spPr>
          <a:xfrm>
            <a:off x="446987" y="1205231"/>
            <a:ext cx="112980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fontAlgn="base"/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Қонунчилик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даражасида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коррупциянинг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ягона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таърифи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мавжуд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эмаслиги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сабабли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ушбу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тушунча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коррупция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деб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эътироф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этилган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ҳаракатлар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рўйхати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сифатида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bg2">
                    <a:lumMod val="25000"/>
                  </a:schemeClr>
                </a:solidFill>
              </a:rPr>
              <a:t>белгиланади</a:t>
            </a:r>
            <a:r>
              <a:rPr lang="ru-RU" i="1" dirty="0">
                <a:solidFill>
                  <a:schemeClr val="bg2">
                    <a:lumMod val="25000"/>
                  </a:schemeClr>
                </a:solidFill>
              </a:rPr>
              <a:t>:</a:t>
            </a:r>
            <a:endParaRPr lang="en-US" i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2" name="object 12">
            <a:extLst>
              <a:ext uri="{FF2B5EF4-FFF2-40B4-BE49-F238E27FC236}">
                <a16:creationId xmlns:a16="http://schemas.microsoft.com/office/drawing/2014/main" id="{C5E2B14C-10A6-41C8-8E3D-EDB2E679B3BD}"/>
              </a:ext>
            </a:extLst>
          </p:cNvPr>
          <p:cNvSpPr/>
          <p:nvPr/>
        </p:nvSpPr>
        <p:spPr>
          <a:xfrm>
            <a:off x="431999" y="215140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A1B037-7936-4A54-9D32-0E42436DEF30}"/>
              </a:ext>
            </a:extLst>
          </p:cNvPr>
          <p:cNvSpPr/>
          <p:nvPr/>
        </p:nvSpPr>
        <p:spPr>
          <a:xfrm>
            <a:off x="1259288" y="2170711"/>
            <a:ext cx="42096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1600" b="1" dirty="0">
                <a:solidFill>
                  <a:srgbClr val="49A9F6"/>
                </a:solidFill>
              </a:rPr>
              <a:t>2003 </a:t>
            </a:r>
            <a:r>
              <a:rPr lang="ru-RU" sz="1600" b="1" dirty="0" err="1">
                <a:solidFill>
                  <a:srgbClr val="49A9F6"/>
                </a:solidFill>
              </a:rPr>
              <a:t>йил</a:t>
            </a:r>
            <a:r>
              <a:rPr lang="ru-RU" sz="1600" b="1" dirty="0">
                <a:solidFill>
                  <a:srgbClr val="49A9F6"/>
                </a:solidFill>
              </a:rPr>
              <a:t> </a:t>
            </a:r>
            <a:r>
              <a:rPr lang="ru-RU" sz="1600" b="1" dirty="0" err="1">
                <a:solidFill>
                  <a:srgbClr val="49A9F6"/>
                </a:solidFill>
              </a:rPr>
              <a:t>БМТнинг</a:t>
            </a:r>
            <a:r>
              <a:rPr lang="ru-RU" sz="1600" b="1" dirty="0">
                <a:solidFill>
                  <a:srgbClr val="49A9F6"/>
                </a:solidFill>
              </a:rPr>
              <a:t> </a:t>
            </a:r>
            <a:r>
              <a:rPr lang="ru-RU" sz="1600" b="1" dirty="0" err="1">
                <a:solidFill>
                  <a:srgbClr val="49A9F6"/>
                </a:solidFill>
              </a:rPr>
              <a:t>Коррупцияга</a:t>
            </a:r>
            <a:r>
              <a:rPr lang="ru-RU" sz="1600" b="1" dirty="0">
                <a:solidFill>
                  <a:srgbClr val="49A9F6"/>
                </a:solidFill>
              </a:rPr>
              <a:t> </a:t>
            </a:r>
            <a:r>
              <a:rPr lang="ru-RU" sz="1600" b="1" dirty="0" err="1">
                <a:solidFill>
                  <a:srgbClr val="49A9F6"/>
                </a:solidFill>
              </a:rPr>
              <a:t>қарши</a:t>
            </a:r>
            <a:r>
              <a:rPr lang="ru-RU" sz="1600" b="1" dirty="0">
                <a:solidFill>
                  <a:srgbClr val="49A9F6"/>
                </a:solidFill>
              </a:rPr>
              <a:t> </a:t>
            </a:r>
            <a:r>
              <a:rPr lang="ru-RU" sz="1600" b="1" dirty="0" err="1">
                <a:solidFill>
                  <a:srgbClr val="49A9F6"/>
                </a:solidFill>
              </a:rPr>
              <a:t>конвенцияси</a:t>
            </a:r>
            <a:r>
              <a:rPr lang="ru-RU" sz="1600" b="1" dirty="0">
                <a:solidFill>
                  <a:srgbClr val="49A9F6"/>
                </a:solidFill>
              </a:rPr>
              <a:t>: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B1AC59-6AF7-4F8E-AECC-72BD81E6A5C0}"/>
              </a:ext>
            </a:extLst>
          </p:cNvPr>
          <p:cNvSpPr/>
          <p:nvPr/>
        </p:nvSpPr>
        <p:spPr>
          <a:xfrm>
            <a:off x="438150" y="2981880"/>
            <a:ext cx="5586413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/>
            <a:r>
              <a:rPr lang="ru-RU" sz="1400" i="1" dirty="0">
                <a:solidFill>
                  <a:schemeClr val="tx2"/>
                </a:solidFill>
              </a:rPr>
              <a:t>“</a:t>
            </a:r>
            <a:r>
              <a:rPr lang="ru-RU" sz="1400" i="1" dirty="0" err="1">
                <a:solidFill>
                  <a:schemeClr val="tx2"/>
                </a:solidFill>
              </a:rPr>
              <a:t>миллий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давлат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амалдорларига</a:t>
            </a:r>
            <a:r>
              <a:rPr lang="ru-RU" sz="1400" i="1" dirty="0">
                <a:solidFill>
                  <a:schemeClr val="tx2"/>
                </a:solidFill>
              </a:rPr>
              <a:t> пора </a:t>
            </a:r>
            <a:r>
              <a:rPr lang="ru-RU" sz="1400" i="1" dirty="0" err="1">
                <a:solidFill>
                  <a:schemeClr val="tx2"/>
                </a:solidFill>
              </a:rPr>
              <a:t>бериш</a:t>
            </a:r>
            <a:r>
              <a:rPr lang="ru-RU" sz="1400" i="1" dirty="0">
                <a:solidFill>
                  <a:schemeClr val="tx2"/>
                </a:solidFill>
              </a:rPr>
              <a:t>; </a:t>
            </a:r>
            <a:r>
              <a:rPr lang="ru-RU" sz="1400" i="1" dirty="0" err="1">
                <a:solidFill>
                  <a:schemeClr val="tx2"/>
                </a:solidFill>
              </a:rPr>
              <a:t>хорижий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давлат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мансабдор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шахслар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в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халқаро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жамоат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ташкилотлар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мансабдор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шахсларига</a:t>
            </a:r>
            <a:r>
              <a:rPr lang="ru-RU" sz="1400" i="1" dirty="0">
                <a:solidFill>
                  <a:schemeClr val="tx2"/>
                </a:solidFill>
              </a:rPr>
              <a:t> пора </a:t>
            </a:r>
            <a:r>
              <a:rPr lang="ru-RU" sz="1400" i="1" dirty="0" err="1">
                <a:solidFill>
                  <a:schemeClr val="tx2"/>
                </a:solidFill>
              </a:rPr>
              <a:t>бериш</a:t>
            </a:r>
            <a:r>
              <a:rPr lang="ru-RU" sz="1400" i="1" dirty="0">
                <a:solidFill>
                  <a:schemeClr val="tx2"/>
                </a:solidFill>
              </a:rPr>
              <a:t>; </a:t>
            </a:r>
            <a:r>
              <a:rPr lang="ru-RU" sz="1400" i="1" dirty="0" err="1">
                <a:solidFill>
                  <a:schemeClr val="tx2"/>
                </a:solidFill>
              </a:rPr>
              <a:t>давлат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мансабдор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шахс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томонидан</a:t>
            </a:r>
            <a:r>
              <a:rPr lang="ru-RU" sz="1400" i="1" dirty="0">
                <a:solidFill>
                  <a:schemeClr val="tx2"/>
                </a:solidFill>
              </a:rPr>
              <a:t> мол-</a:t>
            </a:r>
            <a:r>
              <a:rPr lang="ru-RU" sz="1400" i="1" dirty="0" err="1">
                <a:solidFill>
                  <a:schemeClr val="tx2"/>
                </a:solidFill>
              </a:rPr>
              <a:t>мулкн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ўғирлаш</a:t>
            </a:r>
            <a:r>
              <a:rPr lang="ru-RU" sz="1400" i="1" dirty="0">
                <a:solidFill>
                  <a:schemeClr val="tx2"/>
                </a:solidFill>
              </a:rPr>
              <a:t>, </a:t>
            </a:r>
            <a:r>
              <a:rPr lang="ru-RU" sz="1400" i="1" dirty="0" err="1">
                <a:solidFill>
                  <a:schemeClr val="tx2"/>
                </a:solidFill>
              </a:rPr>
              <a:t>ўзлаштириш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бошқач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тарзд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йўналтириш</a:t>
            </a:r>
            <a:r>
              <a:rPr lang="ru-RU" sz="1400" i="1" dirty="0">
                <a:solidFill>
                  <a:schemeClr val="tx2"/>
                </a:solidFill>
              </a:rPr>
              <a:t>; </a:t>
            </a:r>
            <a:r>
              <a:rPr lang="ru-RU" sz="1400" i="1" dirty="0" err="1">
                <a:solidFill>
                  <a:schemeClr val="tx2"/>
                </a:solidFill>
              </a:rPr>
              <a:t>шахсий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манфаатлар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учун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таъсирн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суиистеъмол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илиш</a:t>
            </a:r>
            <a:r>
              <a:rPr lang="ru-RU" sz="1400" i="1" dirty="0">
                <a:solidFill>
                  <a:schemeClr val="tx2"/>
                </a:solidFill>
              </a:rPr>
              <a:t>; </a:t>
            </a:r>
            <a:r>
              <a:rPr lang="ru-RU" sz="1400" i="1" dirty="0" err="1">
                <a:solidFill>
                  <a:schemeClr val="tx2"/>
                </a:solidFill>
              </a:rPr>
              <a:t>мансаб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ваколатларин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суиистеъмол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илиш</a:t>
            </a:r>
            <a:r>
              <a:rPr lang="ru-RU" sz="1400" i="1" dirty="0">
                <a:solidFill>
                  <a:schemeClr val="tx2"/>
                </a:solidFill>
              </a:rPr>
              <a:t>".</a:t>
            </a: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09708C9B-592E-4569-B24F-58E5232C2B7A}"/>
              </a:ext>
            </a:extLst>
          </p:cNvPr>
          <p:cNvSpPr/>
          <p:nvPr/>
        </p:nvSpPr>
        <p:spPr>
          <a:xfrm>
            <a:off x="6169089" y="215140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122837-07D1-496D-AC95-880BFEDFEA48}"/>
              </a:ext>
            </a:extLst>
          </p:cNvPr>
          <p:cNvSpPr/>
          <p:nvPr/>
        </p:nvSpPr>
        <p:spPr>
          <a:xfrm>
            <a:off x="6988575" y="2007125"/>
            <a:ext cx="476527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1400" b="1" dirty="0" err="1">
                <a:solidFill>
                  <a:srgbClr val="49A9F6"/>
                </a:solidFill>
              </a:rPr>
              <a:t>Бирлашган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Миллатлар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Ташкилоти</a:t>
            </a:r>
            <a:r>
              <a:rPr lang="ru-RU" sz="1400" b="1" dirty="0">
                <a:solidFill>
                  <a:srgbClr val="49A9F6"/>
                </a:solidFill>
              </a:rPr>
              <a:t> Бош </a:t>
            </a:r>
            <a:r>
              <a:rPr lang="ru-RU" sz="1400" b="1" dirty="0" err="1">
                <a:solidFill>
                  <a:srgbClr val="49A9F6"/>
                </a:solidFill>
              </a:rPr>
              <a:t>Ассамблеясининг</a:t>
            </a:r>
            <a:r>
              <a:rPr lang="ru-RU" sz="1400" b="1" dirty="0">
                <a:solidFill>
                  <a:srgbClr val="49A9F6"/>
                </a:solidFill>
              </a:rPr>
              <a:t> 17.12.1979 </a:t>
            </a:r>
            <a:r>
              <a:rPr lang="ru-RU" sz="1400" b="1" dirty="0" err="1">
                <a:solidFill>
                  <a:srgbClr val="49A9F6"/>
                </a:solidFill>
              </a:rPr>
              <a:t>йилдаги</a:t>
            </a:r>
            <a:r>
              <a:rPr lang="ru-RU" sz="1400" b="1" dirty="0">
                <a:solidFill>
                  <a:srgbClr val="49A9F6"/>
                </a:solidFill>
              </a:rPr>
              <a:t> 34/169-сонли </a:t>
            </a:r>
            <a:r>
              <a:rPr lang="ru-RU" sz="1400" b="1" dirty="0" err="1">
                <a:solidFill>
                  <a:srgbClr val="49A9F6"/>
                </a:solidFill>
              </a:rPr>
              <a:t>резолюцияси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билан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қабул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қилинган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ҳуқуқни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муҳофаза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қилиш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органлари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ходимларининг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хулқ-атвор</a:t>
            </a:r>
            <a:r>
              <a:rPr lang="ru-RU" sz="1400" b="1" dirty="0">
                <a:solidFill>
                  <a:srgbClr val="49A9F6"/>
                </a:solidFill>
              </a:rPr>
              <a:t> </a:t>
            </a:r>
            <a:r>
              <a:rPr lang="ru-RU" sz="1400" b="1" dirty="0" err="1">
                <a:solidFill>
                  <a:srgbClr val="49A9F6"/>
                </a:solidFill>
              </a:rPr>
              <a:t>кодекси</a:t>
            </a:r>
            <a:r>
              <a:rPr lang="ru-RU" sz="1400" b="1" dirty="0">
                <a:solidFill>
                  <a:srgbClr val="49A9F6"/>
                </a:solidFill>
              </a:rPr>
              <a:t>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9FEBEA-B57C-433F-908F-1482E79DF1D1}"/>
              </a:ext>
            </a:extLst>
          </p:cNvPr>
          <p:cNvSpPr/>
          <p:nvPr/>
        </p:nvSpPr>
        <p:spPr>
          <a:xfrm>
            <a:off x="6167439" y="3235049"/>
            <a:ext cx="5586413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/>
            <a:r>
              <a:rPr lang="ru-RU" sz="1400" i="1" dirty="0">
                <a:solidFill>
                  <a:schemeClr val="tx2"/>
                </a:solidFill>
              </a:rPr>
              <a:t>"</a:t>
            </a:r>
            <a:r>
              <a:rPr lang="ru-RU" sz="1400" i="1" dirty="0" err="1">
                <a:solidFill>
                  <a:schemeClr val="tx2"/>
                </a:solidFill>
              </a:rPr>
              <a:t>Ҳар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андай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ҳаракат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ҳаракатсизлик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содир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бўлганда</a:t>
            </a:r>
            <a:r>
              <a:rPr lang="ru-RU" sz="1400" i="1" dirty="0">
                <a:solidFill>
                  <a:schemeClr val="tx2"/>
                </a:solidFill>
              </a:rPr>
              <a:t>, </a:t>
            </a:r>
            <a:r>
              <a:rPr lang="ru-RU" sz="1400" i="1" dirty="0" err="1">
                <a:solidFill>
                  <a:schemeClr val="tx2"/>
                </a:solidFill>
              </a:rPr>
              <a:t>талаб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илинган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абул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илинган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онунг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хилоф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равишд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олинган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совғалар</a:t>
            </a:r>
            <a:r>
              <a:rPr lang="ru-RU" sz="1400" i="1" dirty="0">
                <a:solidFill>
                  <a:schemeClr val="tx2"/>
                </a:solidFill>
              </a:rPr>
              <a:t>, </a:t>
            </a:r>
            <a:r>
              <a:rPr lang="ru-RU" sz="1400" i="1" dirty="0" err="1">
                <a:solidFill>
                  <a:schemeClr val="tx2"/>
                </a:solidFill>
              </a:rPr>
              <a:t>ваъдалар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рағбатлантиришлар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натижасид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ушбу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вазифаларн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бажаришд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улар </a:t>
            </a:r>
            <a:r>
              <a:rPr lang="ru-RU" sz="1400" i="1" dirty="0" err="1">
                <a:solidFill>
                  <a:schemeClr val="tx2"/>
                </a:solidFill>
              </a:rPr>
              <a:t>билан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боғлиқ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ҳолд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бирон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бир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ҳаракат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илиш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илмаслик</a:t>
            </a:r>
            <a:r>
              <a:rPr lang="ru-RU" sz="1400" i="1" dirty="0">
                <a:solidFill>
                  <a:schemeClr val="tx2"/>
                </a:solidFill>
              </a:rPr>
              <a:t>".</a:t>
            </a:r>
          </a:p>
        </p:txBody>
      </p:sp>
      <p:sp>
        <p:nvSpPr>
          <p:cNvPr id="18" name="object 12">
            <a:extLst>
              <a:ext uri="{FF2B5EF4-FFF2-40B4-BE49-F238E27FC236}">
                <a16:creationId xmlns:a16="http://schemas.microsoft.com/office/drawing/2014/main" id="{760EAFA6-7EBD-4C6A-9343-1DA6CE747674}"/>
              </a:ext>
            </a:extLst>
          </p:cNvPr>
          <p:cNvSpPr/>
          <p:nvPr/>
        </p:nvSpPr>
        <p:spPr>
          <a:xfrm>
            <a:off x="439929" y="479010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62984FC-105F-4521-937A-88DD716AB14A}"/>
              </a:ext>
            </a:extLst>
          </p:cNvPr>
          <p:cNvSpPr/>
          <p:nvPr/>
        </p:nvSpPr>
        <p:spPr>
          <a:xfrm>
            <a:off x="1267218" y="4809408"/>
            <a:ext cx="652695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1600" b="1" dirty="0">
                <a:solidFill>
                  <a:srgbClr val="49A9F6"/>
                </a:solidFill>
              </a:rPr>
              <a:t>1999 </a:t>
            </a:r>
            <a:r>
              <a:rPr lang="ru-RU" sz="1600" b="1" dirty="0" err="1">
                <a:solidFill>
                  <a:srgbClr val="49A9F6"/>
                </a:solidFill>
              </a:rPr>
              <a:t>йилда</a:t>
            </a:r>
            <a:r>
              <a:rPr lang="ru-RU" sz="1600" b="1" dirty="0">
                <a:solidFill>
                  <a:srgbClr val="49A9F6"/>
                </a:solidFill>
              </a:rPr>
              <a:t> Европа </a:t>
            </a:r>
            <a:r>
              <a:rPr lang="ru-RU" sz="1600" b="1" dirty="0" err="1">
                <a:solidFill>
                  <a:srgbClr val="49A9F6"/>
                </a:solidFill>
              </a:rPr>
              <a:t>Кенгаши</a:t>
            </a:r>
            <a:r>
              <a:rPr lang="ru-RU" sz="1600" b="1" dirty="0">
                <a:solidFill>
                  <a:srgbClr val="49A9F6"/>
                </a:solidFill>
              </a:rPr>
              <a:t> </a:t>
            </a:r>
            <a:r>
              <a:rPr lang="ru-RU" sz="1600" b="1" dirty="0" err="1">
                <a:solidFill>
                  <a:srgbClr val="49A9F6"/>
                </a:solidFill>
              </a:rPr>
              <a:t>томонидан</a:t>
            </a:r>
            <a:r>
              <a:rPr lang="ru-RU" sz="1600" b="1" dirty="0">
                <a:solidFill>
                  <a:srgbClr val="49A9F6"/>
                </a:solidFill>
              </a:rPr>
              <a:t> </a:t>
            </a:r>
            <a:r>
              <a:rPr lang="ru-RU" sz="1600" b="1" dirty="0" err="1">
                <a:solidFill>
                  <a:srgbClr val="49A9F6"/>
                </a:solidFill>
              </a:rPr>
              <a:t>қабул</a:t>
            </a:r>
            <a:r>
              <a:rPr lang="ru-RU" sz="1600" b="1" dirty="0">
                <a:solidFill>
                  <a:srgbClr val="49A9F6"/>
                </a:solidFill>
              </a:rPr>
              <a:t> </a:t>
            </a:r>
            <a:r>
              <a:rPr lang="ru-RU" sz="1600" b="1" dirty="0" err="1">
                <a:solidFill>
                  <a:srgbClr val="49A9F6"/>
                </a:solidFill>
              </a:rPr>
              <a:t>қилинган</a:t>
            </a:r>
            <a:r>
              <a:rPr lang="ru-RU" sz="1600" b="1" dirty="0">
                <a:solidFill>
                  <a:srgbClr val="49A9F6"/>
                </a:solidFill>
              </a:rPr>
              <a:t> </a:t>
            </a:r>
            <a:r>
              <a:rPr lang="ru-RU" sz="1600" b="1" dirty="0" err="1">
                <a:solidFill>
                  <a:srgbClr val="49A9F6"/>
                </a:solidFill>
              </a:rPr>
              <a:t>коррупцияга</a:t>
            </a:r>
            <a:r>
              <a:rPr lang="ru-RU" sz="1600" b="1" dirty="0">
                <a:solidFill>
                  <a:srgbClr val="49A9F6"/>
                </a:solidFill>
              </a:rPr>
              <a:t> </a:t>
            </a:r>
            <a:r>
              <a:rPr lang="ru-RU" sz="1600" b="1" dirty="0" err="1">
                <a:solidFill>
                  <a:srgbClr val="49A9F6"/>
                </a:solidFill>
              </a:rPr>
              <a:t>оид</a:t>
            </a:r>
            <a:r>
              <a:rPr lang="ru-RU" sz="1600" b="1" dirty="0">
                <a:solidFill>
                  <a:srgbClr val="49A9F6"/>
                </a:solidFill>
              </a:rPr>
              <a:t> </a:t>
            </a:r>
            <a:r>
              <a:rPr lang="ru-RU" sz="1600" b="1" dirty="0" err="1">
                <a:solidFill>
                  <a:srgbClr val="49A9F6"/>
                </a:solidFill>
              </a:rPr>
              <a:t>фуқаролик-ҳуқуқий</a:t>
            </a:r>
            <a:r>
              <a:rPr lang="ru-RU" sz="1600" b="1" dirty="0">
                <a:solidFill>
                  <a:srgbClr val="49A9F6"/>
                </a:solidFill>
              </a:rPr>
              <a:t> </a:t>
            </a:r>
            <a:r>
              <a:rPr lang="ru-RU" sz="1600" b="1" dirty="0" err="1">
                <a:solidFill>
                  <a:srgbClr val="49A9F6"/>
                </a:solidFill>
              </a:rPr>
              <a:t>конвенцияси</a:t>
            </a:r>
            <a:r>
              <a:rPr lang="ru-RU" sz="1600" b="1" dirty="0">
                <a:solidFill>
                  <a:srgbClr val="49A9F6"/>
                </a:solidFill>
              </a:rPr>
              <a:t>: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4776691-1E76-484F-9A93-C0D7D24C4BEC}"/>
              </a:ext>
            </a:extLst>
          </p:cNvPr>
          <p:cNvSpPr/>
          <p:nvPr/>
        </p:nvSpPr>
        <p:spPr>
          <a:xfrm>
            <a:off x="446080" y="5620577"/>
            <a:ext cx="11298933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/>
            <a:r>
              <a:rPr lang="ru-RU" sz="1400" i="1" dirty="0">
                <a:solidFill>
                  <a:schemeClr val="tx2"/>
                </a:solidFill>
              </a:rPr>
              <a:t>"пора </a:t>
            </a:r>
            <a:r>
              <a:rPr lang="ru-RU" sz="1400" i="1" dirty="0" err="1">
                <a:solidFill>
                  <a:schemeClr val="tx2"/>
                </a:solidFill>
              </a:rPr>
              <a:t>олувчидан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талаб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илинадиган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ҳар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андай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мажбурият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хатти-ҳаракатларнинг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нормал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бажарилишин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бузадиган</a:t>
            </a:r>
            <a:r>
              <a:rPr lang="ru-RU" sz="1400" i="1" dirty="0">
                <a:solidFill>
                  <a:schemeClr val="tx2"/>
                </a:solidFill>
              </a:rPr>
              <a:t> пора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бошқ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ҳар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андай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ноўрин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устунлик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истиқболн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тўғридан-тўғр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воситачилик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билан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сўраш</a:t>
            </a:r>
            <a:r>
              <a:rPr lang="ru-RU" sz="1400" i="1" dirty="0">
                <a:solidFill>
                  <a:schemeClr val="tx2"/>
                </a:solidFill>
              </a:rPr>
              <a:t>, </a:t>
            </a:r>
            <a:r>
              <a:rPr lang="ru-RU" sz="1400" i="1" dirty="0" err="1">
                <a:solidFill>
                  <a:schemeClr val="tx2"/>
                </a:solidFill>
              </a:rPr>
              <a:t>таклиф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қилиш</a:t>
            </a:r>
            <a:r>
              <a:rPr lang="ru-RU" sz="1400" i="1" dirty="0">
                <a:solidFill>
                  <a:schemeClr val="tx2"/>
                </a:solidFill>
              </a:rPr>
              <a:t>, </a:t>
            </a:r>
            <a:r>
              <a:rPr lang="ru-RU" sz="1400" i="1" dirty="0" err="1">
                <a:solidFill>
                  <a:schemeClr val="tx2"/>
                </a:solidFill>
              </a:rPr>
              <a:t>бериш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ва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олиш</a:t>
            </a:r>
            <a:r>
              <a:rPr lang="ru-RU" sz="1400" i="1" dirty="0">
                <a:solidFill>
                  <a:schemeClr val="tx2"/>
                </a:solidFill>
              </a:rPr>
              <a:t>, </a:t>
            </a:r>
            <a:r>
              <a:rPr lang="ru-RU" sz="1400" i="1" dirty="0" err="1">
                <a:solidFill>
                  <a:schemeClr val="tx2"/>
                </a:solidFill>
              </a:rPr>
              <a:t>ноўрин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устунлик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ёки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бундай</a:t>
            </a:r>
            <a:r>
              <a:rPr lang="ru-RU" sz="1400" i="1" dirty="0">
                <a:solidFill>
                  <a:schemeClr val="tx2"/>
                </a:solidFill>
              </a:rPr>
              <a:t> </a:t>
            </a:r>
            <a:r>
              <a:rPr lang="ru-RU" sz="1400" i="1" dirty="0" err="1">
                <a:solidFill>
                  <a:schemeClr val="tx2"/>
                </a:solidFill>
              </a:rPr>
              <a:t>истиқболлар</a:t>
            </a:r>
            <a:r>
              <a:rPr lang="ru-RU" sz="1400" i="1" dirty="0">
                <a:solidFill>
                  <a:schemeClr val="tx2"/>
                </a:solidFill>
              </a:rPr>
              <a:t>."</a:t>
            </a:r>
          </a:p>
        </p:txBody>
      </p:sp>
      <p:grpSp>
        <p:nvGrpSpPr>
          <p:cNvPr id="22" name="Graphic 20">
            <a:extLst>
              <a:ext uri="{FF2B5EF4-FFF2-40B4-BE49-F238E27FC236}">
                <a16:creationId xmlns:a16="http://schemas.microsoft.com/office/drawing/2014/main" id="{B0594701-8684-4F12-828F-17CB83019677}"/>
              </a:ext>
            </a:extLst>
          </p:cNvPr>
          <p:cNvGrpSpPr/>
          <p:nvPr/>
        </p:nvGrpSpPr>
        <p:grpSpPr>
          <a:xfrm>
            <a:off x="446987" y="2198514"/>
            <a:ext cx="584299" cy="584775"/>
            <a:chOff x="2831972" y="669860"/>
            <a:chExt cx="2079010" cy="2080704"/>
          </a:xfrm>
          <a:solidFill>
            <a:schemeClr val="bg2">
              <a:lumMod val="25000"/>
            </a:schemeClr>
          </a:solidFill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FAE7D70-B7E5-4062-868F-7951F807D607}"/>
                </a:ext>
              </a:extLst>
            </p:cNvPr>
            <p:cNvSpPr/>
            <p:nvPr/>
          </p:nvSpPr>
          <p:spPr>
            <a:xfrm>
              <a:off x="2831972" y="669860"/>
              <a:ext cx="1723780" cy="2080704"/>
            </a:xfrm>
            <a:custGeom>
              <a:avLst/>
              <a:gdLst>
                <a:gd name="connsiteX0" fmla="*/ 1682207 w 1723780"/>
                <a:gd name="connsiteY0" fmla="*/ 606365 h 2080703"/>
                <a:gd name="connsiteX1" fmla="*/ 1722766 w 1723780"/>
                <a:gd name="connsiteY1" fmla="*/ 565805 h 2080703"/>
                <a:gd name="connsiteX2" fmla="*/ 1722766 w 1723780"/>
                <a:gd name="connsiteY2" fmla="*/ 124721 h 2080703"/>
                <a:gd name="connsiteX3" fmla="*/ 1601088 w 1723780"/>
                <a:gd name="connsiteY3" fmla="*/ 3042 h 2080703"/>
                <a:gd name="connsiteX4" fmla="*/ 124721 w 1723780"/>
                <a:gd name="connsiteY4" fmla="*/ 3042 h 2080703"/>
                <a:gd name="connsiteX5" fmla="*/ 3042 w 1723780"/>
                <a:gd name="connsiteY5" fmla="*/ 124721 h 2080703"/>
                <a:gd name="connsiteX6" fmla="*/ 3042 w 1723780"/>
                <a:gd name="connsiteY6" fmla="*/ 1958011 h 2080703"/>
                <a:gd name="connsiteX7" fmla="*/ 124721 w 1723780"/>
                <a:gd name="connsiteY7" fmla="*/ 2079690 h 2080703"/>
                <a:gd name="connsiteX8" fmla="*/ 1601088 w 1723780"/>
                <a:gd name="connsiteY8" fmla="*/ 2079690 h 2080703"/>
                <a:gd name="connsiteX9" fmla="*/ 1722766 w 1723780"/>
                <a:gd name="connsiteY9" fmla="*/ 1958011 h 2080703"/>
                <a:gd name="connsiteX10" fmla="*/ 1722766 w 1723780"/>
                <a:gd name="connsiteY10" fmla="*/ 1659201 h 2080703"/>
                <a:gd name="connsiteX11" fmla="*/ 1682207 w 1723780"/>
                <a:gd name="connsiteY11" fmla="*/ 1618642 h 2080703"/>
                <a:gd name="connsiteX12" fmla="*/ 1641647 w 1723780"/>
                <a:gd name="connsiteY12" fmla="*/ 1659201 h 2080703"/>
                <a:gd name="connsiteX13" fmla="*/ 1641647 w 1723780"/>
                <a:gd name="connsiteY13" fmla="*/ 1958011 h 2080703"/>
                <a:gd name="connsiteX14" fmla="*/ 1601088 w 1723780"/>
                <a:gd name="connsiteY14" fmla="*/ 1998571 h 2080703"/>
                <a:gd name="connsiteX15" fmla="*/ 124721 w 1723780"/>
                <a:gd name="connsiteY15" fmla="*/ 1998571 h 2080703"/>
                <a:gd name="connsiteX16" fmla="*/ 84161 w 1723780"/>
                <a:gd name="connsiteY16" fmla="*/ 1958011 h 2080703"/>
                <a:gd name="connsiteX17" fmla="*/ 84161 w 1723780"/>
                <a:gd name="connsiteY17" fmla="*/ 124721 h 2080703"/>
                <a:gd name="connsiteX18" fmla="*/ 124721 w 1723780"/>
                <a:gd name="connsiteY18" fmla="*/ 84161 h 2080703"/>
                <a:gd name="connsiteX19" fmla="*/ 1601088 w 1723780"/>
                <a:gd name="connsiteY19" fmla="*/ 84161 h 2080703"/>
                <a:gd name="connsiteX20" fmla="*/ 1641647 w 1723780"/>
                <a:gd name="connsiteY20" fmla="*/ 124721 h 2080703"/>
                <a:gd name="connsiteX21" fmla="*/ 1641647 w 1723780"/>
                <a:gd name="connsiteY21" fmla="*/ 565805 h 2080703"/>
                <a:gd name="connsiteX22" fmla="*/ 1682207 w 1723780"/>
                <a:gd name="connsiteY22" fmla="*/ 606365 h 2080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23780" h="2080703">
                  <a:moveTo>
                    <a:pt x="1682207" y="606365"/>
                  </a:moveTo>
                  <a:cubicBezTo>
                    <a:pt x="1704604" y="606365"/>
                    <a:pt x="1722766" y="588207"/>
                    <a:pt x="1722766" y="565805"/>
                  </a:cubicBezTo>
                  <a:lnTo>
                    <a:pt x="1722766" y="124721"/>
                  </a:lnTo>
                  <a:cubicBezTo>
                    <a:pt x="1722766" y="57627"/>
                    <a:pt x="1668181" y="3042"/>
                    <a:pt x="1601088" y="3042"/>
                  </a:cubicBezTo>
                  <a:lnTo>
                    <a:pt x="124721" y="3042"/>
                  </a:lnTo>
                  <a:cubicBezTo>
                    <a:pt x="57627" y="3042"/>
                    <a:pt x="3042" y="57627"/>
                    <a:pt x="3042" y="124721"/>
                  </a:cubicBezTo>
                  <a:lnTo>
                    <a:pt x="3042" y="1958011"/>
                  </a:lnTo>
                  <a:cubicBezTo>
                    <a:pt x="3042" y="2025105"/>
                    <a:pt x="57627" y="2079690"/>
                    <a:pt x="124721" y="2079690"/>
                  </a:cubicBezTo>
                  <a:lnTo>
                    <a:pt x="1601088" y="2079690"/>
                  </a:lnTo>
                  <a:cubicBezTo>
                    <a:pt x="1668181" y="2079690"/>
                    <a:pt x="1722766" y="2025105"/>
                    <a:pt x="1722766" y="1958011"/>
                  </a:cubicBezTo>
                  <a:lnTo>
                    <a:pt x="1722766" y="1659201"/>
                  </a:lnTo>
                  <a:cubicBezTo>
                    <a:pt x="1722766" y="1636800"/>
                    <a:pt x="1704604" y="1618642"/>
                    <a:pt x="1682207" y="1618642"/>
                  </a:cubicBezTo>
                  <a:cubicBezTo>
                    <a:pt x="1659810" y="1618642"/>
                    <a:pt x="1641647" y="1636800"/>
                    <a:pt x="1641647" y="1659201"/>
                  </a:cubicBezTo>
                  <a:lnTo>
                    <a:pt x="1641647" y="1958011"/>
                  </a:lnTo>
                  <a:cubicBezTo>
                    <a:pt x="1641647" y="1980376"/>
                    <a:pt x="1623452" y="1998571"/>
                    <a:pt x="1601088" y="1998571"/>
                  </a:cubicBezTo>
                  <a:lnTo>
                    <a:pt x="124721" y="1998571"/>
                  </a:lnTo>
                  <a:cubicBezTo>
                    <a:pt x="102356" y="1998571"/>
                    <a:pt x="84161" y="1980376"/>
                    <a:pt x="84161" y="1958011"/>
                  </a:cubicBezTo>
                  <a:lnTo>
                    <a:pt x="84161" y="124721"/>
                  </a:lnTo>
                  <a:cubicBezTo>
                    <a:pt x="84161" y="102356"/>
                    <a:pt x="102356" y="84161"/>
                    <a:pt x="124721" y="84161"/>
                  </a:cubicBezTo>
                  <a:lnTo>
                    <a:pt x="1601088" y="84161"/>
                  </a:lnTo>
                  <a:cubicBezTo>
                    <a:pt x="1623452" y="84161"/>
                    <a:pt x="1641647" y="102356"/>
                    <a:pt x="1641647" y="124721"/>
                  </a:cubicBezTo>
                  <a:lnTo>
                    <a:pt x="1641647" y="565805"/>
                  </a:lnTo>
                  <a:cubicBezTo>
                    <a:pt x="1641647" y="588207"/>
                    <a:pt x="1659810" y="606365"/>
                    <a:pt x="1682207" y="60636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23EDE48-7019-435E-B0A9-2AAC2B6DCD49}"/>
                </a:ext>
              </a:extLst>
            </p:cNvPr>
            <p:cNvSpPr/>
            <p:nvPr/>
          </p:nvSpPr>
          <p:spPr>
            <a:xfrm>
              <a:off x="3651275" y="2446368"/>
              <a:ext cx="304196" cy="85175"/>
            </a:xfrm>
            <a:custGeom>
              <a:avLst/>
              <a:gdLst>
                <a:gd name="connsiteX0" fmla="*/ 262623 w 304196"/>
                <a:gd name="connsiteY0" fmla="*/ 3042 h 85175"/>
                <a:gd name="connsiteX1" fmla="*/ 43601 w 304196"/>
                <a:gd name="connsiteY1" fmla="*/ 3042 h 85175"/>
                <a:gd name="connsiteX2" fmla="*/ 3042 w 304196"/>
                <a:gd name="connsiteY2" fmla="*/ 43601 h 85175"/>
                <a:gd name="connsiteX3" fmla="*/ 43601 w 304196"/>
                <a:gd name="connsiteY3" fmla="*/ 84161 h 85175"/>
                <a:gd name="connsiteX4" fmla="*/ 262623 w 304196"/>
                <a:gd name="connsiteY4" fmla="*/ 84161 h 85175"/>
                <a:gd name="connsiteX5" fmla="*/ 303182 w 304196"/>
                <a:gd name="connsiteY5" fmla="*/ 43601 h 85175"/>
                <a:gd name="connsiteX6" fmla="*/ 262623 w 304196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196" h="85175">
                  <a:moveTo>
                    <a:pt x="262623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262623" y="84161"/>
                  </a:lnTo>
                  <a:cubicBezTo>
                    <a:pt x="285020" y="84161"/>
                    <a:pt x="303182" y="66003"/>
                    <a:pt x="303182" y="43601"/>
                  </a:cubicBezTo>
                  <a:cubicBezTo>
                    <a:pt x="303182" y="21200"/>
                    <a:pt x="285020" y="3042"/>
                    <a:pt x="262623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D84E8CC-D00D-411C-9709-0F9F8451BDC8}"/>
                </a:ext>
              </a:extLst>
            </p:cNvPr>
            <p:cNvSpPr/>
            <p:nvPr/>
          </p:nvSpPr>
          <p:spPr>
            <a:xfrm>
              <a:off x="3294351" y="2219234"/>
              <a:ext cx="661120" cy="85175"/>
            </a:xfrm>
            <a:custGeom>
              <a:avLst/>
              <a:gdLst>
                <a:gd name="connsiteX0" fmla="*/ 619547 w 661120"/>
                <a:gd name="connsiteY0" fmla="*/ 3042 h 85175"/>
                <a:gd name="connsiteX1" fmla="*/ 43601 w 661120"/>
                <a:gd name="connsiteY1" fmla="*/ 3042 h 85175"/>
                <a:gd name="connsiteX2" fmla="*/ 3042 w 661120"/>
                <a:gd name="connsiteY2" fmla="*/ 43601 h 85175"/>
                <a:gd name="connsiteX3" fmla="*/ 43601 w 661120"/>
                <a:gd name="connsiteY3" fmla="*/ 84161 h 85175"/>
                <a:gd name="connsiteX4" fmla="*/ 619547 w 661120"/>
                <a:gd name="connsiteY4" fmla="*/ 84161 h 85175"/>
                <a:gd name="connsiteX5" fmla="*/ 660106 w 661120"/>
                <a:gd name="connsiteY5" fmla="*/ 43601 h 85175"/>
                <a:gd name="connsiteX6" fmla="*/ 619547 w 661120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1120" h="85175">
                  <a:moveTo>
                    <a:pt x="619547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619547" y="84161"/>
                  </a:lnTo>
                  <a:cubicBezTo>
                    <a:pt x="641944" y="84161"/>
                    <a:pt x="660106" y="66003"/>
                    <a:pt x="660106" y="43601"/>
                  </a:cubicBezTo>
                  <a:cubicBezTo>
                    <a:pt x="660106" y="21200"/>
                    <a:pt x="641944" y="3042"/>
                    <a:pt x="619547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B8814A-1B6E-4359-89A8-8EC0C493EC69}"/>
                </a:ext>
              </a:extLst>
            </p:cNvPr>
            <p:cNvSpPr/>
            <p:nvPr/>
          </p:nvSpPr>
          <p:spPr>
            <a:xfrm>
              <a:off x="3294351" y="1992101"/>
              <a:ext cx="661120" cy="85175"/>
            </a:xfrm>
            <a:custGeom>
              <a:avLst/>
              <a:gdLst>
                <a:gd name="connsiteX0" fmla="*/ 619547 w 661120"/>
                <a:gd name="connsiteY0" fmla="*/ 3042 h 85175"/>
                <a:gd name="connsiteX1" fmla="*/ 43601 w 661120"/>
                <a:gd name="connsiteY1" fmla="*/ 3042 h 85175"/>
                <a:gd name="connsiteX2" fmla="*/ 3042 w 661120"/>
                <a:gd name="connsiteY2" fmla="*/ 43601 h 85175"/>
                <a:gd name="connsiteX3" fmla="*/ 43601 w 661120"/>
                <a:gd name="connsiteY3" fmla="*/ 84161 h 85175"/>
                <a:gd name="connsiteX4" fmla="*/ 619547 w 661120"/>
                <a:gd name="connsiteY4" fmla="*/ 84161 h 85175"/>
                <a:gd name="connsiteX5" fmla="*/ 660106 w 661120"/>
                <a:gd name="connsiteY5" fmla="*/ 43601 h 85175"/>
                <a:gd name="connsiteX6" fmla="*/ 619547 w 661120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1120" h="85175">
                  <a:moveTo>
                    <a:pt x="619547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619547" y="84161"/>
                  </a:lnTo>
                  <a:cubicBezTo>
                    <a:pt x="641944" y="84161"/>
                    <a:pt x="660106" y="66003"/>
                    <a:pt x="660106" y="43601"/>
                  </a:cubicBezTo>
                  <a:cubicBezTo>
                    <a:pt x="660106" y="21200"/>
                    <a:pt x="641944" y="3042"/>
                    <a:pt x="619547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F9FAED2-4FFD-4CFF-9660-3648F1C91312}"/>
                </a:ext>
              </a:extLst>
            </p:cNvPr>
            <p:cNvSpPr/>
            <p:nvPr/>
          </p:nvSpPr>
          <p:spPr>
            <a:xfrm>
              <a:off x="3121081" y="1764967"/>
              <a:ext cx="85175" cy="85175"/>
            </a:xfrm>
            <a:custGeom>
              <a:avLst/>
              <a:gdLst>
                <a:gd name="connsiteX0" fmla="*/ 72314 w 85175"/>
                <a:gd name="connsiteY0" fmla="*/ 14926 h 85175"/>
                <a:gd name="connsiteX1" fmla="*/ 43601 w 85175"/>
                <a:gd name="connsiteY1" fmla="*/ 3042 h 85175"/>
                <a:gd name="connsiteX2" fmla="*/ 14926 w 85175"/>
                <a:gd name="connsiteY2" fmla="*/ 14926 h 85175"/>
                <a:gd name="connsiteX3" fmla="*/ 3042 w 85175"/>
                <a:gd name="connsiteY3" fmla="*/ 43601 h 85175"/>
                <a:gd name="connsiteX4" fmla="*/ 14926 w 85175"/>
                <a:gd name="connsiteY4" fmla="*/ 72277 h 85175"/>
                <a:gd name="connsiteX5" fmla="*/ 43601 w 85175"/>
                <a:gd name="connsiteY5" fmla="*/ 84161 h 85175"/>
                <a:gd name="connsiteX6" fmla="*/ 72314 w 85175"/>
                <a:gd name="connsiteY6" fmla="*/ 72277 h 85175"/>
                <a:gd name="connsiteX7" fmla="*/ 84202 w 85175"/>
                <a:gd name="connsiteY7" fmla="*/ 43601 h 85175"/>
                <a:gd name="connsiteX8" fmla="*/ 72314 w 85175"/>
                <a:gd name="connsiteY8" fmla="*/ 14926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75" h="85175">
                  <a:moveTo>
                    <a:pt x="72314" y="14926"/>
                  </a:moveTo>
                  <a:cubicBezTo>
                    <a:pt x="64774" y="7382"/>
                    <a:pt x="54309" y="3042"/>
                    <a:pt x="43601" y="3042"/>
                  </a:cubicBezTo>
                  <a:cubicBezTo>
                    <a:pt x="32930" y="3042"/>
                    <a:pt x="22466" y="7382"/>
                    <a:pt x="14926" y="14926"/>
                  </a:cubicBezTo>
                  <a:cubicBezTo>
                    <a:pt x="7382" y="22470"/>
                    <a:pt x="3042" y="32934"/>
                    <a:pt x="3042" y="43601"/>
                  </a:cubicBezTo>
                  <a:cubicBezTo>
                    <a:pt x="3042" y="54269"/>
                    <a:pt x="7378" y="64733"/>
                    <a:pt x="14926" y="72277"/>
                  </a:cubicBezTo>
                  <a:cubicBezTo>
                    <a:pt x="22511" y="79821"/>
                    <a:pt x="32930" y="84161"/>
                    <a:pt x="43601" y="84161"/>
                  </a:cubicBezTo>
                  <a:cubicBezTo>
                    <a:pt x="54309" y="84161"/>
                    <a:pt x="64733" y="79821"/>
                    <a:pt x="72314" y="72277"/>
                  </a:cubicBezTo>
                  <a:cubicBezTo>
                    <a:pt x="79858" y="64733"/>
                    <a:pt x="84202" y="54269"/>
                    <a:pt x="84202" y="43601"/>
                  </a:cubicBezTo>
                  <a:cubicBezTo>
                    <a:pt x="84202" y="32934"/>
                    <a:pt x="79862" y="22470"/>
                    <a:pt x="72314" y="149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8F1A382-0C07-4115-BEC4-83028EBFFF3C}"/>
                </a:ext>
              </a:extLst>
            </p:cNvPr>
            <p:cNvSpPr/>
            <p:nvPr/>
          </p:nvSpPr>
          <p:spPr>
            <a:xfrm>
              <a:off x="3121081" y="1992101"/>
              <a:ext cx="85175" cy="85175"/>
            </a:xfrm>
            <a:custGeom>
              <a:avLst/>
              <a:gdLst>
                <a:gd name="connsiteX0" fmla="*/ 72314 w 85175"/>
                <a:gd name="connsiteY0" fmla="*/ 14926 h 85175"/>
                <a:gd name="connsiteX1" fmla="*/ 43601 w 85175"/>
                <a:gd name="connsiteY1" fmla="*/ 3042 h 85175"/>
                <a:gd name="connsiteX2" fmla="*/ 14926 w 85175"/>
                <a:gd name="connsiteY2" fmla="*/ 14926 h 85175"/>
                <a:gd name="connsiteX3" fmla="*/ 3042 w 85175"/>
                <a:gd name="connsiteY3" fmla="*/ 43601 h 85175"/>
                <a:gd name="connsiteX4" fmla="*/ 14926 w 85175"/>
                <a:gd name="connsiteY4" fmla="*/ 72277 h 85175"/>
                <a:gd name="connsiteX5" fmla="*/ 43601 w 85175"/>
                <a:gd name="connsiteY5" fmla="*/ 84161 h 85175"/>
                <a:gd name="connsiteX6" fmla="*/ 72314 w 85175"/>
                <a:gd name="connsiteY6" fmla="*/ 72277 h 85175"/>
                <a:gd name="connsiteX7" fmla="*/ 84202 w 85175"/>
                <a:gd name="connsiteY7" fmla="*/ 43601 h 85175"/>
                <a:gd name="connsiteX8" fmla="*/ 72314 w 85175"/>
                <a:gd name="connsiteY8" fmla="*/ 14926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75" h="85175">
                  <a:moveTo>
                    <a:pt x="72314" y="14926"/>
                  </a:moveTo>
                  <a:cubicBezTo>
                    <a:pt x="64733" y="7382"/>
                    <a:pt x="54309" y="3042"/>
                    <a:pt x="43601" y="3042"/>
                  </a:cubicBezTo>
                  <a:cubicBezTo>
                    <a:pt x="32930" y="3042"/>
                    <a:pt x="22511" y="7382"/>
                    <a:pt x="14926" y="14926"/>
                  </a:cubicBezTo>
                  <a:cubicBezTo>
                    <a:pt x="7382" y="22470"/>
                    <a:pt x="3042" y="32934"/>
                    <a:pt x="3042" y="43601"/>
                  </a:cubicBezTo>
                  <a:cubicBezTo>
                    <a:pt x="3042" y="54269"/>
                    <a:pt x="7378" y="64733"/>
                    <a:pt x="14926" y="72277"/>
                  </a:cubicBezTo>
                  <a:cubicBezTo>
                    <a:pt x="22511" y="79821"/>
                    <a:pt x="32930" y="84161"/>
                    <a:pt x="43601" y="84161"/>
                  </a:cubicBezTo>
                  <a:cubicBezTo>
                    <a:pt x="54309" y="84161"/>
                    <a:pt x="64733" y="79821"/>
                    <a:pt x="72314" y="72277"/>
                  </a:cubicBezTo>
                  <a:cubicBezTo>
                    <a:pt x="79858" y="64733"/>
                    <a:pt x="84202" y="54269"/>
                    <a:pt x="84202" y="43601"/>
                  </a:cubicBezTo>
                  <a:cubicBezTo>
                    <a:pt x="84202" y="32934"/>
                    <a:pt x="79862" y="22470"/>
                    <a:pt x="72314" y="149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AB46C0CC-7775-4023-83D5-9E2B723A8185}"/>
                </a:ext>
              </a:extLst>
            </p:cNvPr>
            <p:cNvSpPr/>
            <p:nvPr/>
          </p:nvSpPr>
          <p:spPr>
            <a:xfrm>
              <a:off x="3121081" y="2219234"/>
              <a:ext cx="85175" cy="85175"/>
            </a:xfrm>
            <a:custGeom>
              <a:avLst/>
              <a:gdLst>
                <a:gd name="connsiteX0" fmla="*/ 72314 w 85175"/>
                <a:gd name="connsiteY0" fmla="*/ 14926 h 85175"/>
                <a:gd name="connsiteX1" fmla="*/ 43601 w 85175"/>
                <a:gd name="connsiteY1" fmla="*/ 3042 h 85175"/>
                <a:gd name="connsiteX2" fmla="*/ 14926 w 85175"/>
                <a:gd name="connsiteY2" fmla="*/ 14926 h 85175"/>
                <a:gd name="connsiteX3" fmla="*/ 3042 w 85175"/>
                <a:gd name="connsiteY3" fmla="*/ 43601 h 85175"/>
                <a:gd name="connsiteX4" fmla="*/ 14926 w 85175"/>
                <a:gd name="connsiteY4" fmla="*/ 72277 h 85175"/>
                <a:gd name="connsiteX5" fmla="*/ 43601 w 85175"/>
                <a:gd name="connsiteY5" fmla="*/ 84161 h 85175"/>
                <a:gd name="connsiteX6" fmla="*/ 72314 w 85175"/>
                <a:gd name="connsiteY6" fmla="*/ 72277 h 85175"/>
                <a:gd name="connsiteX7" fmla="*/ 84202 w 85175"/>
                <a:gd name="connsiteY7" fmla="*/ 43601 h 85175"/>
                <a:gd name="connsiteX8" fmla="*/ 72314 w 85175"/>
                <a:gd name="connsiteY8" fmla="*/ 14926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75" h="85175">
                  <a:moveTo>
                    <a:pt x="72314" y="14926"/>
                  </a:moveTo>
                  <a:cubicBezTo>
                    <a:pt x="64733" y="7382"/>
                    <a:pt x="54309" y="3042"/>
                    <a:pt x="43601" y="3042"/>
                  </a:cubicBezTo>
                  <a:cubicBezTo>
                    <a:pt x="32930" y="3042"/>
                    <a:pt x="22511" y="7382"/>
                    <a:pt x="14926" y="14926"/>
                  </a:cubicBezTo>
                  <a:cubicBezTo>
                    <a:pt x="7382" y="22470"/>
                    <a:pt x="3042" y="32934"/>
                    <a:pt x="3042" y="43601"/>
                  </a:cubicBezTo>
                  <a:cubicBezTo>
                    <a:pt x="3042" y="54269"/>
                    <a:pt x="7378" y="64733"/>
                    <a:pt x="14926" y="72277"/>
                  </a:cubicBezTo>
                  <a:cubicBezTo>
                    <a:pt x="22466" y="79821"/>
                    <a:pt x="32930" y="84161"/>
                    <a:pt x="43601" y="84161"/>
                  </a:cubicBezTo>
                  <a:cubicBezTo>
                    <a:pt x="54309" y="84161"/>
                    <a:pt x="64774" y="79821"/>
                    <a:pt x="72314" y="72277"/>
                  </a:cubicBezTo>
                  <a:cubicBezTo>
                    <a:pt x="79858" y="64733"/>
                    <a:pt x="84202" y="54269"/>
                    <a:pt x="84202" y="43601"/>
                  </a:cubicBezTo>
                  <a:cubicBezTo>
                    <a:pt x="84202" y="32934"/>
                    <a:pt x="79862" y="22470"/>
                    <a:pt x="72314" y="149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23B5EF2-F34D-4859-B13A-2C92C3A370FF}"/>
                </a:ext>
              </a:extLst>
            </p:cNvPr>
            <p:cNvSpPr/>
            <p:nvPr/>
          </p:nvSpPr>
          <p:spPr>
            <a:xfrm>
              <a:off x="3294351" y="1764967"/>
              <a:ext cx="661120" cy="85175"/>
            </a:xfrm>
            <a:custGeom>
              <a:avLst/>
              <a:gdLst>
                <a:gd name="connsiteX0" fmla="*/ 619547 w 661120"/>
                <a:gd name="connsiteY0" fmla="*/ 3042 h 85175"/>
                <a:gd name="connsiteX1" fmla="*/ 43601 w 661120"/>
                <a:gd name="connsiteY1" fmla="*/ 3042 h 85175"/>
                <a:gd name="connsiteX2" fmla="*/ 3042 w 661120"/>
                <a:gd name="connsiteY2" fmla="*/ 43601 h 85175"/>
                <a:gd name="connsiteX3" fmla="*/ 43601 w 661120"/>
                <a:gd name="connsiteY3" fmla="*/ 84161 h 85175"/>
                <a:gd name="connsiteX4" fmla="*/ 619547 w 661120"/>
                <a:gd name="connsiteY4" fmla="*/ 84161 h 85175"/>
                <a:gd name="connsiteX5" fmla="*/ 660106 w 661120"/>
                <a:gd name="connsiteY5" fmla="*/ 43601 h 85175"/>
                <a:gd name="connsiteX6" fmla="*/ 619547 w 661120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1120" h="85175">
                  <a:moveTo>
                    <a:pt x="619547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619547" y="84161"/>
                  </a:lnTo>
                  <a:cubicBezTo>
                    <a:pt x="641944" y="84161"/>
                    <a:pt x="660106" y="66003"/>
                    <a:pt x="660106" y="43601"/>
                  </a:cubicBezTo>
                  <a:cubicBezTo>
                    <a:pt x="660106" y="21200"/>
                    <a:pt x="641944" y="3042"/>
                    <a:pt x="619547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9C97E93-6A10-437C-9DED-4859D1573DF1}"/>
                </a:ext>
              </a:extLst>
            </p:cNvPr>
            <p:cNvSpPr/>
            <p:nvPr/>
          </p:nvSpPr>
          <p:spPr>
            <a:xfrm>
              <a:off x="4038952" y="1175537"/>
              <a:ext cx="872030" cy="1354688"/>
            </a:xfrm>
            <a:custGeom>
              <a:avLst/>
              <a:gdLst>
                <a:gd name="connsiteX0" fmla="*/ 787515 w 872029"/>
                <a:gd name="connsiteY0" fmla="*/ 25937 h 1354688"/>
                <a:gd name="connsiteX1" fmla="*/ 658248 w 872029"/>
                <a:gd name="connsiteY1" fmla="*/ 8918 h 1354688"/>
                <a:gd name="connsiteX2" fmla="*/ 554813 w 872029"/>
                <a:gd name="connsiteY2" fmla="*/ 88289 h 1354688"/>
                <a:gd name="connsiteX3" fmla="*/ 44404 w 872029"/>
                <a:gd name="connsiteY3" fmla="*/ 972337 h 1354688"/>
                <a:gd name="connsiteX4" fmla="*/ 39220 w 872029"/>
                <a:gd name="connsiteY4" fmla="*/ 988119 h 1354688"/>
                <a:gd name="connsiteX5" fmla="*/ 3293 w 872029"/>
                <a:gd name="connsiteY5" fmla="*/ 1309934 h 1354688"/>
                <a:gd name="connsiteX6" fmla="*/ 23321 w 872029"/>
                <a:gd name="connsiteY6" fmla="*/ 1349561 h 1354688"/>
                <a:gd name="connsiteX7" fmla="*/ 43597 w 872029"/>
                <a:gd name="connsiteY7" fmla="*/ 1354996 h 1354688"/>
                <a:gd name="connsiteX8" fmla="*/ 67652 w 872029"/>
                <a:gd name="connsiteY8" fmla="*/ 1347095 h 1354688"/>
                <a:gd name="connsiteX9" fmla="*/ 328385 w 872029"/>
                <a:gd name="connsiteY9" fmla="*/ 1155070 h 1354688"/>
                <a:gd name="connsiteX10" fmla="*/ 339458 w 872029"/>
                <a:gd name="connsiteY10" fmla="*/ 1142691 h 1354688"/>
                <a:gd name="connsiteX11" fmla="*/ 849863 w 872029"/>
                <a:gd name="connsiteY11" fmla="*/ 258643 h 1354688"/>
                <a:gd name="connsiteX12" fmla="*/ 787515 w 872029"/>
                <a:gd name="connsiteY12" fmla="*/ 25937 h 1354688"/>
                <a:gd name="connsiteX13" fmla="*/ 94194 w 872029"/>
                <a:gd name="connsiteY13" fmla="*/ 1226799 h 1354688"/>
                <a:gd name="connsiteX14" fmla="*/ 112957 w 872029"/>
                <a:gd name="connsiteY14" fmla="*/ 1058753 h 1354688"/>
                <a:gd name="connsiteX15" fmla="*/ 230345 w 872029"/>
                <a:gd name="connsiteY15" fmla="*/ 1126528 h 1354688"/>
                <a:gd name="connsiteX16" fmla="*/ 94194 w 872029"/>
                <a:gd name="connsiteY16" fmla="*/ 1226799 h 1354688"/>
                <a:gd name="connsiteX17" fmla="*/ 289489 w 872029"/>
                <a:gd name="connsiteY17" fmla="*/ 1067003 h 1354688"/>
                <a:gd name="connsiteX18" fmla="*/ 134937 w 872029"/>
                <a:gd name="connsiteY18" fmla="*/ 977772 h 1354688"/>
                <a:gd name="connsiteX19" fmla="*/ 544527 w 872029"/>
                <a:gd name="connsiteY19" fmla="*/ 268345 h 1354688"/>
                <a:gd name="connsiteX20" fmla="*/ 699079 w 872029"/>
                <a:gd name="connsiteY20" fmla="*/ 357576 h 1354688"/>
                <a:gd name="connsiteX21" fmla="*/ 289489 w 872029"/>
                <a:gd name="connsiteY21" fmla="*/ 1067003 h 1354688"/>
                <a:gd name="connsiteX22" fmla="*/ 779614 w 872029"/>
                <a:gd name="connsiteY22" fmla="*/ 218080 h 1354688"/>
                <a:gd name="connsiteX23" fmla="*/ 739635 w 872029"/>
                <a:gd name="connsiteY23" fmla="*/ 287327 h 1354688"/>
                <a:gd name="connsiteX24" fmla="*/ 585083 w 872029"/>
                <a:gd name="connsiteY24" fmla="*/ 198096 h 1354688"/>
                <a:gd name="connsiteX25" fmla="*/ 625062 w 872029"/>
                <a:gd name="connsiteY25" fmla="*/ 128849 h 1354688"/>
                <a:gd name="connsiteX26" fmla="*/ 679241 w 872029"/>
                <a:gd name="connsiteY26" fmla="*/ 87275 h 1354688"/>
                <a:gd name="connsiteX27" fmla="*/ 746952 w 872029"/>
                <a:gd name="connsiteY27" fmla="*/ 96190 h 1354688"/>
                <a:gd name="connsiteX28" fmla="*/ 788525 w 872029"/>
                <a:gd name="connsiteY28" fmla="*/ 150370 h 1354688"/>
                <a:gd name="connsiteX29" fmla="*/ 779614 w 872029"/>
                <a:gd name="connsiteY29" fmla="*/ 218080 h 135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72029" h="1354688">
                  <a:moveTo>
                    <a:pt x="787515" y="25937"/>
                  </a:moveTo>
                  <a:cubicBezTo>
                    <a:pt x="748111" y="3187"/>
                    <a:pt x="702206" y="-2856"/>
                    <a:pt x="658248" y="8918"/>
                  </a:cubicBezTo>
                  <a:cubicBezTo>
                    <a:pt x="614298" y="20697"/>
                    <a:pt x="577559" y="48886"/>
                    <a:pt x="554813" y="88289"/>
                  </a:cubicBezTo>
                  <a:lnTo>
                    <a:pt x="44404" y="972337"/>
                  </a:lnTo>
                  <a:cubicBezTo>
                    <a:pt x="41609" y="977184"/>
                    <a:pt x="39841" y="982558"/>
                    <a:pt x="39220" y="988119"/>
                  </a:cubicBezTo>
                  <a:lnTo>
                    <a:pt x="3293" y="1309934"/>
                  </a:lnTo>
                  <a:cubicBezTo>
                    <a:pt x="1508" y="1325947"/>
                    <a:pt x="9368" y="1341502"/>
                    <a:pt x="23321" y="1349561"/>
                  </a:cubicBezTo>
                  <a:cubicBezTo>
                    <a:pt x="29620" y="1353195"/>
                    <a:pt x="36616" y="1354996"/>
                    <a:pt x="43597" y="1354996"/>
                  </a:cubicBezTo>
                  <a:cubicBezTo>
                    <a:pt x="52082" y="1354996"/>
                    <a:pt x="60534" y="1352339"/>
                    <a:pt x="67652" y="1347095"/>
                  </a:cubicBezTo>
                  <a:lnTo>
                    <a:pt x="328385" y="1155070"/>
                  </a:lnTo>
                  <a:cubicBezTo>
                    <a:pt x="332891" y="1151752"/>
                    <a:pt x="336663" y="1147538"/>
                    <a:pt x="339458" y="1142691"/>
                  </a:cubicBezTo>
                  <a:lnTo>
                    <a:pt x="849863" y="258643"/>
                  </a:lnTo>
                  <a:cubicBezTo>
                    <a:pt x="896831" y="177297"/>
                    <a:pt x="868861" y="72905"/>
                    <a:pt x="787515" y="25937"/>
                  </a:cubicBezTo>
                  <a:close/>
                  <a:moveTo>
                    <a:pt x="94194" y="1226799"/>
                  </a:moveTo>
                  <a:lnTo>
                    <a:pt x="112957" y="1058753"/>
                  </a:lnTo>
                  <a:lnTo>
                    <a:pt x="230345" y="1126528"/>
                  </a:lnTo>
                  <a:lnTo>
                    <a:pt x="94194" y="1226799"/>
                  </a:lnTo>
                  <a:close/>
                  <a:moveTo>
                    <a:pt x="289489" y="1067003"/>
                  </a:moveTo>
                  <a:lnTo>
                    <a:pt x="134937" y="977772"/>
                  </a:lnTo>
                  <a:lnTo>
                    <a:pt x="544527" y="268345"/>
                  </a:lnTo>
                  <a:lnTo>
                    <a:pt x="699079" y="357576"/>
                  </a:lnTo>
                  <a:lnTo>
                    <a:pt x="289489" y="1067003"/>
                  </a:lnTo>
                  <a:close/>
                  <a:moveTo>
                    <a:pt x="779614" y="218080"/>
                  </a:moveTo>
                  <a:lnTo>
                    <a:pt x="739635" y="287327"/>
                  </a:lnTo>
                  <a:lnTo>
                    <a:pt x="585083" y="198096"/>
                  </a:lnTo>
                  <a:lnTo>
                    <a:pt x="625062" y="128849"/>
                  </a:lnTo>
                  <a:cubicBezTo>
                    <a:pt x="636978" y="108208"/>
                    <a:pt x="656220" y="93444"/>
                    <a:pt x="679241" y="87275"/>
                  </a:cubicBezTo>
                  <a:cubicBezTo>
                    <a:pt x="702271" y="81102"/>
                    <a:pt x="726315" y="84274"/>
                    <a:pt x="746952" y="96190"/>
                  </a:cubicBezTo>
                  <a:cubicBezTo>
                    <a:pt x="767592" y="108107"/>
                    <a:pt x="782356" y="127348"/>
                    <a:pt x="788525" y="150370"/>
                  </a:cubicBezTo>
                  <a:cubicBezTo>
                    <a:pt x="794694" y="173391"/>
                    <a:pt x="791531" y="197439"/>
                    <a:pt x="779614" y="218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3" name="Graphic 20">
            <a:extLst>
              <a:ext uri="{FF2B5EF4-FFF2-40B4-BE49-F238E27FC236}">
                <a16:creationId xmlns:a16="http://schemas.microsoft.com/office/drawing/2014/main" id="{E40C1AA4-65E5-4FA2-B98D-9D21AAFAF48F}"/>
              </a:ext>
            </a:extLst>
          </p:cNvPr>
          <p:cNvGrpSpPr/>
          <p:nvPr/>
        </p:nvGrpSpPr>
        <p:grpSpPr>
          <a:xfrm>
            <a:off x="431999" y="4840631"/>
            <a:ext cx="584299" cy="584775"/>
            <a:chOff x="2831972" y="669860"/>
            <a:chExt cx="2079010" cy="2080704"/>
          </a:xfrm>
          <a:solidFill>
            <a:schemeClr val="bg2">
              <a:lumMod val="25000"/>
            </a:schemeClr>
          </a:solidFill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1C9A7FB5-8708-4811-B0D0-550784B18387}"/>
                </a:ext>
              </a:extLst>
            </p:cNvPr>
            <p:cNvSpPr/>
            <p:nvPr/>
          </p:nvSpPr>
          <p:spPr>
            <a:xfrm>
              <a:off x="2831972" y="669860"/>
              <a:ext cx="1723780" cy="2080704"/>
            </a:xfrm>
            <a:custGeom>
              <a:avLst/>
              <a:gdLst>
                <a:gd name="connsiteX0" fmla="*/ 1682207 w 1723780"/>
                <a:gd name="connsiteY0" fmla="*/ 606365 h 2080703"/>
                <a:gd name="connsiteX1" fmla="*/ 1722766 w 1723780"/>
                <a:gd name="connsiteY1" fmla="*/ 565805 h 2080703"/>
                <a:gd name="connsiteX2" fmla="*/ 1722766 w 1723780"/>
                <a:gd name="connsiteY2" fmla="*/ 124721 h 2080703"/>
                <a:gd name="connsiteX3" fmla="*/ 1601088 w 1723780"/>
                <a:gd name="connsiteY3" fmla="*/ 3042 h 2080703"/>
                <a:gd name="connsiteX4" fmla="*/ 124721 w 1723780"/>
                <a:gd name="connsiteY4" fmla="*/ 3042 h 2080703"/>
                <a:gd name="connsiteX5" fmla="*/ 3042 w 1723780"/>
                <a:gd name="connsiteY5" fmla="*/ 124721 h 2080703"/>
                <a:gd name="connsiteX6" fmla="*/ 3042 w 1723780"/>
                <a:gd name="connsiteY6" fmla="*/ 1958011 h 2080703"/>
                <a:gd name="connsiteX7" fmla="*/ 124721 w 1723780"/>
                <a:gd name="connsiteY7" fmla="*/ 2079690 h 2080703"/>
                <a:gd name="connsiteX8" fmla="*/ 1601088 w 1723780"/>
                <a:gd name="connsiteY8" fmla="*/ 2079690 h 2080703"/>
                <a:gd name="connsiteX9" fmla="*/ 1722766 w 1723780"/>
                <a:gd name="connsiteY9" fmla="*/ 1958011 h 2080703"/>
                <a:gd name="connsiteX10" fmla="*/ 1722766 w 1723780"/>
                <a:gd name="connsiteY10" fmla="*/ 1659201 h 2080703"/>
                <a:gd name="connsiteX11" fmla="*/ 1682207 w 1723780"/>
                <a:gd name="connsiteY11" fmla="*/ 1618642 h 2080703"/>
                <a:gd name="connsiteX12" fmla="*/ 1641647 w 1723780"/>
                <a:gd name="connsiteY12" fmla="*/ 1659201 h 2080703"/>
                <a:gd name="connsiteX13" fmla="*/ 1641647 w 1723780"/>
                <a:gd name="connsiteY13" fmla="*/ 1958011 h 2080703"/>
                <a:gd name="connsiteX14" fmla="*/ 1601088 w 1723780"/>
                <a:gd name="connsiteY14" fmla="*/ 1998571 h 2080703"/>
                <a:gd name="connsiteX15" fmla="*/ 124721 w 1723780"/>
                <a:gd name="connsiteY15" fmla="*/ 1998571 h 2080703"/>
                <a:gd name="connsiteX16" fmla="*/ 84161 w 1723780"/>
                <a:gd name="connsiteY16" fmla="*/ 1958011 h 2080703"/>
                <a:gd name="connsiteX17" fmla="*/ 84161 w 1723780"/>
                <a:gd name="connsiteY17" fmla="*/ 124721 h 2080703"/>
                <a:gd name="connsiteX18" fmla="*/ 124721 w 1723780"/>
                <a:gd name="connsiteY18" fmla="*/ 84161 h 2080703"/>
                <a:gd name="connsiteX19" fmla="*/ 1601088 w 1723780"/>
                <a:gd name="connsiteY19" fmla="*/ 84161 h 2080703"/>
                <a:gd name="connsiteX20" fmla="*/ 1641647 w 1723780"/>
                <a:gd name="connsiteY20" fmla="*/ 124721 h 2080703"/>
                <a:gd name="connsiteX21" fmla="*/ 1641647 w 1723780"/>
                <a:gd name="connsiteY21" fmla="*/ 565805 h 2080703"/>
                <a:gd name="connsiteX22" fmla="*/ 1682207 w 1723780"/>
                <a:gd name="connsiteY22" fmla="*/ 606365 h 2080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23780" h="2080703">
                  <a:moveTo>
                    <a:pt x="1682207" y="606365"/>
                  </a:moveTo>
                  <a:cubicBezTo>
                    <a:pt x="1704604" y="606365"/>
                    <a:pt x="1722766" y="588207"/>
                    <a:pt x="1722766" y="565805"/>
                  </a:cubicBezTo>
                  <a:lnTo>
                    <a:pt x="1722766" y="124721"/>
                  </a:lnTo>
                  <a:cubicBezTo>
                    <a:pt x="1722766" y="57627"/>
                    <a:pt x="1668181" y="3042"/>
                    <a:pt x="1601088" y="3042"/>
                  </a:cubicBezTo>
                  <a:lnTo>
                    <a:pt x="124721" y="3042"/>
                  </a:lnTo>
                  <a:cubicBezTo>
                    <a:pt x="57627" y="3042"/>
                    <a:pt x="3042" y="57627"/>
                    <a:pt x="3042" y="124721"/>
                  </a:cubicBezTo>
                  <a:lnTo>
                    <a:pt x="3042" y="1958011"/>
                  </a:lnTo>
                  <a:cubicBezTo>
                    <a:pt x="3042" y="2025105"/>
                    <a:pt x="57627" y="2079690"/>
                    <a:pt x="124721" y="2079690"/>
                  </a:cubicBezTo>
                  <a:lnTo>
                    <a:pt x="1601088" y="2079690"/>
                  </a:lnTo>
                  <a:cubicBezTo>
                    <a:pt x="1668181" y="2079690"/>
                    <a:pt x="1722766" y="2025105"/>
                    <a:pt x="1722766" y="1958011"/>
                  </a:cubicBezTo>
                  <a:lnTo>
                    <a:pt x="1722766" y="1659201"/>
                  </a:lnTo>
                  <a:cubicBezTo>
                    <a:pt x="1722766" y="1636800"/>
                    <a:pt x="1704604" y="1618642"/>
                    <a:pt x="1682207" y="1618642"/>
                  </a:cubicBezTo>
                  <a:cubicBezTo>
                    <a:pt x="1659810" y="1618642"/>
                    <a:pt x="1641647" y="1636800"/>
                    <a:pt x="1641647" y="1659201"/>
                  </a:cubicBezTo>
                  <a:lnTo>
                    <a:pt x="1641647" y="1958011"/>
                  </a:lnTo>
                  <a:cubicBezTo>
                    <a:pt x="1641647" y="1980376"/>
                    <a:pt x="1623452" y="1998571"/>
                    <a:pt x="1601088" y="1998571"/>
                  </a:cubicBezTo>
                  <a:lnTo>
                    <a:pt x="124721" y="1998571"/>
                  </a:lnTo>
                  <a:cubicBezTo>
                    <a:pt x="102356" y="1998571"/>
                    <a:pt x="84161" y="1980376"/>
                    <a:pt x="84161" y="1958011"/>
                  </a:cubicBezTo>
                  <a:lnTo>
                    <a:pt x="84161" y="124721"/>
                  </a:lnTo>
                  <a:cubicBezTo>
                    <a:pt x="84161" y="102356"/>
                    <a:pt x="102356" y="84161"/>
                    <a:pt x="124721" y="84161"/>
                  </a:cubicBezTo>
                  <a:lnTo>
                    <a:pt x="1601088" y="84161"/>
                  </a:lnTo>
                  <a:cubicBezTo>
                    <a:pt x="1623452" y="84161"/>
                    <a:pt x="1641647" y="102356"/>
                    <a:pt x="1641647" y="124721"/>
                  </a:cubicBezTo>
                  <a:lnTo>
                    <a:pt x="1641647" y="565805"/>
                  </a:lnTo>
                  <a:cubicBezTo>
                    <a:pt x="1641647" y="588207"/>
                    <a:pt x="1659810" y="606365"/>
                    <a:pt x="1682207" y="60636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9358FCD-3B8C-4AA1-B9FF-19BFF02052E7}"/>
                </a:ext>
              </a:extLst>
            </p:cNvPr>
            <p:cNvSpPr/>
            <p:nvPr/>
          </p:nvSpPr>
          <p:spPr>
            <a:xfrm>
              <a:off x="3651275" y="2446368"/>
              <a:ext cx="304196" cy="85175"/>
            </a:xfrm>
            <a:custGeom>
              <a:avLst/>
              <a:gdLst>
                <a:gd name="connsiteX0" fmla="*/ 262623 w 304196"/>
                <a:gd name="connsiteY0" fmla="*/ 3042 h 85175"/>
                <a:gd name="connsiteX1" fmla="*/ 43601 w 304196"/>
                <a:gd name="connsiteY1" fmla="*/ 3042 h 85175"/>
                <a:gd name="connsiteX2" fmla="*/ 3042 w 304196"/>
                <a:gd name="connsiteY2" fmla="*/ 43601 h 85175"/>
                <a:gd name="connsiteX3" fmla="*/ 43601 w 304196"/>
                <a:gd name="connsiteY3" fmla="*/ 84161 h 85175"/>
                <a:gd name="connsiteX4" fmla="*/ 262623 w 304196"/>
                <a:gd name="connsiteY4" fmla="*/ 84161 h 85175"/>
                <a:gd name="connsiteX5" fmla="*/ 303182 w 304196"/>
                <a:gd name="connsiteY5" fmla="*/ 43601 h 85175"/>
                <a:gd name="connsiteX6" fmla="*/ 262623 w 304196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4196" h="85175">
                  <a:moveTo>
                    <a:pt x="262623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262623" y="84161"/>
                  </a:lnTo>
                  <a:cubicBezTo>
                    <a:pt x="285020" y="84161"/>
                    <a:pt x="303182" y="66003"/>
                    <a:pt x="303182" y="43601"/>
                  </a:cubicBezTo>
                  <a:cubicBezTo>
                    <a:pt x="303182" y="21200"/>
                    <a:pt x="285020" y="3042"/>
                    <a:pt x="262623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77E3C33-F4BF-4689-BBF3-DCCCAD6E35CB}"/>
                </a:ext>
              </a:extLst>
            </p:cNvPr>
            <p:cNvSpPr/>
            <p:nvPr/>
          </p:nvSpPr>
          <p:spPr>
            <a:xfrm>
              <a:off x="3294351" y="2219234"/>
              <a:ext cx="661120" cy="85175"/>
            </a:xfrm>
            <a:custGeom>
              <a:avLst/>
              <a:gdLst>
                <a:gd name="connsiteX0" fmla="*/ 619547 w 661120"/>
                <a:gd name="connsiteY0" fmla="*/ 3042 h 85175"/>
                <a:gd name="connsiteX1" fmla="*/ 43601 w 661120"/>
                <a:gd name="connsiteY1" fmla="*/ 3042 h 85175"/>
                <a:gd name="connsiteX2" fmla="*/ 3042 w 661120"/>
                <a:gd name="connsiteY2" fmla="*/ 43601 h 85175"/>
                <a:gd name="connsiteX3" fmla="*/ 43601 w 661120"/>
                <a:gd name="connsiteY3" fmla="*/ 84161 h 85175"/>
                <a:gd name="connsiteX4" fmla="*/ 619547 w 661120"/>
                <a:gd name="connsiteY4" fmla="*/ 84161 h 85175"/>
                <a:gd name="connsiteX5" fmla="*/ 660106 w 661120"/>
                <a:gd name="connsiteY5" fmla="*/ 43601 h 85175"/>
                <a:gd name="connsiteX6" fmla="*/ 619547 w 661120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1120" h="85175">
                  <a:moveTo>
                    <a:pt x="619547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619547" y="84161"/>
                  </a:lnTo>
                  <a:cubicBezTo>
                    <a:pt x="641944" y="84161"/>
                    <a:pt x="660106" y="66003"/>
                    <a:pt x="660106" y="43601"/>
                  </a:cubicBezTo>
                  <a:cubicBezTo>
                    <a:pt x="660106" y="21200"/>
                    <a:pt x="641944" y="3042"/>
                    <a:pt x="619547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6C98A87-2BE2-47C2-8EF1-6369E2A51848}"/>
                </a:ext>
              </a:extLst>
            </p:cNvPr>
            <p:cNvSpPr/>
            <p:nvPr/>
          </p:nvSpPr>
          <p:spPr>
            <a:xfrm>
              <a:off x="3294351" y="1992101"/>
              <a:ext cx="661120" cy="85175"/>
            </a:xfrm>
            <a:custGeom>
              <a:avLst/>
              <a:gdLst>
                <a:gd name="connsiteX0" fmla="*/ 619547 w 661120"/>
                <a:gd name="connsiteY0" fmla="*/ 3042 h 85175"/>
                <a:gd name="connsiteX1" fmla="*/ 43601 w 661120"/>
                <a:gd name="connsiteY1" fmla="*/ 3042 h 85175"/>
                <a:gd name="connsiteX2" fmla="*/ 3042 w 661120"/>
                <a:gd name="connsiteY2" fmla="*/ 43601 h 85175"/>
                <a:gd name="connsiteX3" fmla="*/ 43601 w 661120"/>
                <a:gd name="connsiteY3" fmla="*/ 84161 h 85175"/>
                <a:gd name="connsiteX4" fmla="*/ 619547 w 661120"/>
                <a:gd name="connsiteY4" fmla="*/ 84161 h 85175"/>
                <a:gd name="connsiteX5" fmla="*/ 660106 w 661120"/>
                <a:gd name="connsiteY5" fmla="*/ 43601 h 85175"/>
                <a:gd name="connsiteX6" fmla="*/ 619547 w 661120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1120" h="85175">
                  <a:moveTo>
                    <a:pt x="619547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619547" y="84161"/>
                  </a:lnTo>
                  <a:cubicBezTo>
                    <a:pt x="641944" y="84161"/>
                    <a:pt x="660106" y="66003"/>
                    <a:pt x="660106" y="43601"/>
                  </a:cubicBezTo>
                  <a:cubicBezTo>
                    <a:pt x="660106" y="21200"/>
                    <a:pt x="641944" y="3042"/>
                    <a:pt x="619547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DCB71E8-D0F0-464E-A11F-DE97D09B3D40}"/>
                </a:ext>
              </a:extLst>
            </p:cNvPr>
            <p:cNvSpPr/>
            <p:nvPr/>
          </p:nvSpPr>
          <p:spPr>
            <a:xfrm>
              <a:off x="3121081" y="1764967"/>
              <a:ext cx="85175" cy="85175"/>
            </a:xfrm>
            <a:custGeom>
              <a:avLst/>
              <a:gdLst>
                <a:gd name="connsiteX0" fmla="*/ 72314 w 85175"/>
                <a:gd name="connsiteY0" fmla="*/ 14926 h 85175"/>
                <a:gd name="connsiteX1" fmla="*/ 43601 w 85175"/>
                <a:gd name="connsiteY1" fmla="*/ 3042 h 85175"/>
                <a:gd name="connsiteX2" fmla="*/ 14926 w 85175"/>
                <a:gd name="connsiteY2" fmla="*/ 14926 h 85175"/>
                <a:gd name="connsiteX3" fmla="*/ 3042 w 85175"/>
                <a:gd name="connsiteY3" fmla="*/ 43601 h 85175"/>
                <a:gd name="connsiteX4" fmla="*/ 14926 w 85175"/>
                <a:gd name="connsiteY4" fmla="*/ 72277 h 85175"/>
                <a:gd name="connsiteX5" fmla="*/ 43601 w 85175"/>
                <a:gd name="connsiteY5" fmla="*/ 84161 h 85175"/>
                <a:gd name="connsiteX6" fmla="*/ 72314 w 85175"/>
                <a:gd name="connsiteY6" fmla="*/ 72277 h 85175"/>
                <a:gd name="connsiteX7" fmla="*/ 84202 w 85175"/>
                <a:gd name="connsiteY7" fmla="*/ 43601 h 85175"/>
                <a:gd name="connsiteX8" fmla="*/ 72314 w 85175"/>
                <a:gd name="connsiteY8" fmla="*/ 14926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75" h="85175">
                  <a:moveTo>
                    <a:pt x="72314" y="14926"/>
                  </a:moveTo>
                  <a:cubicBezTo>
                    <a:pt x="64774" y="7382"/>
                    <a:pt x="54309" y="3042"/>
                    <a:pt x="43601" y="3042"/>
                  </a:cubicBezTo>
                  <a:cubicBezTo>
                    <a:pt x="32930" y="3042"/>
                    <a:pt x="22466" y="7382"/>
                    <a:pt x="14926" y="14926"/>
                  </a:cubicBezTo>
                  <a:cubicBezTo>
                    <a:pt x="7382" y="22470"/>
                    <a:pt x="3042" y="32934"/>
                    <a:pt x="3042" y="43601"/>
                  </a:cubicBezTo>
                  <a:cubicBezTo>
                    <a:pt x="3042" y="54269"/>
                    <a:pt x="7378" y="64733"/>
                    <a:pt x="14926" y="72277"/>
                  </a:cubicBezTo>
                  <a:cubicBezTo>
                    <a:pt x="22511" y="79821"/>
                    <a:pt x="32930" y="84161"/>
                    <a:pt x="43601" y="84161"/>
                  </a:cubicBezTo>
                  <a:cubicBezTo>
                    <a:pt x="54309" y="84161"/>
                    <a:pt x="64733" y="79821"/>
                    <a:pt x="72314" y="72277"/>
                  </a:cubicBezTo>
                  <a:cubicBezTo>
                    <a:pt x="79858" y="64733"/>
                    <a:pt x="84202" y="54269"/>
                    <a:pt x="84202" y="43601"/>
                  </a:cubicBezTo>
                  <a:cubicBezTo>
                    <a:pt x="84202" y="32934"/>
                    <a:pt x="79862" y="22470"/>
                    <a:pt x="72314" y="149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77955B9-C1E1-46A6-B57C-C972E36CDFCC}"/>
                </a:ext>
              </a:extLst>
            </p:cNvPr>
            <p:cNvSpPr/>
            <p:nvPr/>
          </p:nvSpPr>
          <p:spPr>
            <a:xfrm>
              <a:off x="3121081" y="1992101"/>
              <a:ext cx="85175" cy="85175"/>
            </a:xfrm>
            <a:custGeom>
              <a:avLst/>
              <a:gdLst>
                <a:gd name="connsiteX0" fmla="*/ 72314 w 85175"/>
                <a:gd name="connsiteY0" fmla="*/ 14926 h 85175"/>
                <a:gd name="connsiteX1" fmla="*/ 43601 w 85175"/>
                <a:gd name="connsiteY1" fmla="*/ 3042 h 85175"/>
                <a:gd name="connsiteX2" fmla="*/ 14926 w 85175"/>
                <a:gd name="connsiteY2" fmla="*/ 14926 h 85175"/>
                <a:gd name="connsiteX3" fmla="*/ 3042 w 85175"/>
                <a:gd name="connsiteY3" fmla="*/ 43601 h 85175"/>
                <a:gd name="connsiteX4" fmla="*/ 14926 w 85175"/>
                <a:gd name="connsiteY4" fmla="*/ 72277 h 85175"/>
                <a:gd name="connsiteX5" fmla="*/ 43601 w 85175"/>
                <a:gd name="connsiteY5" fmla="*/ 84161 h 85175"/>
                <a:gd name="connsiteX6" fmla="*/ 72314 w 85175"/>
                <a:gd name="connsiteY6" fmla="*/ 72277 h 85175"/>
                <a:gd name="connsiteX7" fmla="*/ 84202 w 85175"/>
                <a:gd name="connsiteY7" fmla="*/ 43601 h 85175"/>
                <a:gd name="connsiteX8" fmla="*/ 72314 w 85175"/>
                <a:gd name="connsiteY8" fmla="*/ 14926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75" h="85175">
                  <a:moveTo>
                    <a:pt x="72314" y="14926"/>
                  </a:moveTo>
                  <a:cubicBezTo>
                    <a:pt x="64733" y="7382"/>
                    <a:pt x="54309" y="3042"/>
                    <a:pt x="43601" y="3042"/>
                  </a:cubicBezTo>
                  <a:cubicBezTo>
                    <a:pt x="32930" y="3042"/>
                    <a:pt x="22511" y="7382"/>
                    <a:pt x="14926" y="14926"/>
                  </a:cubicBezTo>
                  <a:cubicBezTo>
                    <a:pt x="7382" y="22470"/>
                    <a:pt x="3042" y="32934"/>
                    <a:pt x="3042" y="43601"/>
                  </a:cubicBezTo>
                  <a:cubicBezTo>
                    <a:pt x="3042" y="54269"/>
                    <a:pt x="7378" y="64733"/>
                    <a:pt x="14926" y="72277"/>
                  </a:cubicBezTo>
                  <a:cubicBezTo>
                    <a:pt x="22511" y="79821"/>
                    <a:pt x="32930" y="84161"/>
                    <a:pt x="43601" y="84161"/>
                  </a:cubicBezTo>
                  <a:cubicBezTo>
                    <a:pt x="54309" y="84161"/>
                    <a:pt x="64733" y="79821"/>
                    <a:pt x="72314" y="72277"/>
                  </a:cubicBezTo>
                  <a:cubicBezTo>
                    <a:pt x="79858" y="64733"/>
                    <a:pt x="84202" y="54269"/>
                    <a:pt x="84202" y="43601"/>
                  </a:cubicBezTo>
                  <a:cubicBezTo>
                    <a:pt x="84202" y="32934"/>
                    <a:pt x="79862" y="22470"/>
                    <a:pt x="72314" y="149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A1F7BE23-74F0-41FB-B97F-6DC73462F7B8}"/>
                </a:ext>
              </a:extLst>
            </p:cNvPr>
            <p:cNvSpPr/>
            <p:nvPr/>
          </p:nvSpPr>
          <p:spPr>
            <a:xfrm>
              <a:off x="3121081" y="2219234"/>
              <a:ext cx="85175" cy="85175"/>
            </a:xfrm>
            <a:custGeom>
              <a:avLst/>
              <a:gdLst>
                <a:gd name="connsiteX0" fmla="*/ 72314 w 85175"/>
                <a:gd name="connsiteY0" fmla="*/ 14926 h 85175"/>
                <a:gd name="connsiteX1" fmla="*/ 43601 w 85175"/>
                <a:gd name="connsiteY1" fmla="*/ 3042 h 85175"/>
                <a:gd name="connsiteX2" fmla="*/ 14926 w 85175"/>
                <a:gd name="connsiteY2" fmla="*/ 14926 h 85175"/>
                <a:gd name="connsiteX3" fmla="*/ 3042 w 85175"/>
                <a:gd name="connsiteY3" fmla="*/ 43601 h 85175"/>
                <a:gd name="connsiteX4" fmla="*/ 14926 w 85175"/>
                <a:gd name="connsiteY4" fmla="*/ 72277 h 85175"/>
                <a:gd name="connsiteX5" fmla="*/ 43601 w 85175"/>
                <a:gd name="connsiteY5" fmla="*/ 84161 h 85175"/>
                <a:gd name="connsiteX6" fmla="*/ 72314 w 85175"/>
                <a:gd name="connsiteY6" fmla="*/ 72277 h 85175"/>
                <a:gd name="connsiteX7" fmla="*/ 84202 w 85175"/>
                <a:gd name="connsiteY7" fmla="*/ 43601 h 85175"/>
                <a:gd name="connsiteX8" fmla="*/ 72314 w 85175"/>
                <a:gd name="connsiteY8" fmla="*/ 14926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5175" h="85175">
                  <a:moveTo>
                    <a:pt x="72314" y="14926"/>
                  </a:moveTo>
                  <a:cubicBezTo>
                    <a:pt x="64733" y="7382"/>
                    <a:pt x="54309" y="3042"/>
                    <a:pt x="43601" y="3042"/>
                  </a:cubicBezTo>
                  <a:cubicBezTo>
                    <a:pt x="32930" y="3042"/>
                    <a:pt x="22511" y="7382"/>
                    <a:pt x="14926" y="14926"/>
                  </a:cubicBezTo>
                  <a:cubicBezTo>
                    <a:pt x="7382" y="22470"/>
                    <a:pt x="3042" y="32934"/>
                    <a:pt x="3042" y="43601"/>
                  </a:cubicBezTo>
                  <a:cubicBezTo>
                    <a:pt x="3042" y="54269"/>
                    <a:pt x="7378" y="64733"/>
                    <a:pt x="14926" y="72277"/>
                  </a:cubicBezTo>
                  <a:cubicBezTo>
                    <a:pt x="22466" y="79821"/>
                    <a:pt x="32930" y="84161"/>
                    <a:pt x="43601" y="84161"/>
                  </a:cubicBezTo>
                  <a:cubicBezTo>
                    <a:pt x="54309" y="84161"/>
                    <a:pt x="64774" y="79821"/>
                    <a:pt x="72314" y="72277"/>
                  </a:cubicBezTo>
                  <a:cubicBezTo>
                    <a:pt x="79858" y="64733"/>
                    <a:pt x="84202" y="54269"/>
                    <a:pt x="84202" y="43601"/>
                  </a:cubicBezTo>
                  <a:cubicBezTo>
                    <a:pt x="84202" y="32934"/>
                    <a:pt x="79862" y="22470"/>
                    <a:pt x="72314" y="149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67A6BC0-7FDC-4D06-B035-4571D3C46242}"/>
                </a:ext>
              </a:extLst>
            </p:cNvPr>
            <p:cNvSpPr/>
            <p:nvPr/>
          </p:nvSpPr>
          <p:spPr>
            <a:xfrm>
              <a:off x="3294351" y="1764967"/>
              <a:ext cx="661120" cy="85175"/>
            </a:xfrm>
            <a:custGeom>
              <a:avLst/>
              <a:gdLst>
                <a:gd name="connsiteX0" fmla="*/ 619547 w 661120"/>
                <a:gd name="connsiteY0" fmla="*/ 3042 h 85175"/>
                <a:gd name="connsiteX1" fmla="*/ 43601 w 661120"/>
                <a:gd name="connsiteY1" fmla="*/ 3042 h 85175"/>
                <a:gd name="connsiteX2" fmla="*/ 3042 w 661120"/>
                <a:gd name="connsiteY2" fmla="*/ 43601 h 85175"/>
                <a:gd name="connsiteX3" fmla="*/ 43601 w 661120"/>
                <a:gd name="connsiteY3" fmla="*/ 84161 h 85175"/>
                <a:gd name="connsiteX4" fmla="*/ 619547 w 661120"/>
                <a:gd name="connsiteY4" fmla="*/ 84161 h 85175"/>
                <a:gd name="connsiteX5" fmla="*/ 660106 w 661120"/>
                <a:gd name="connsiteY5" fmla="*/ 43601 h 85175"/>
                <a:gd name="connsiteX6" fmla="*/ 619547 w 661120"/>
                <a:gd name="connsiteY6" fmla="*/ 3042 h 85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1120" h="85175">
                  <a:moveTo>
                    <a:pt x="619547" y="3042"/>
                  </a:moveTo>
                  <a:lnTo>
                    <a:pt x="43601" y="3042"/>
                  </a:lnTo>
                  <a:cubicBezTo>
                    <a:pt x="21205" y="3042"/>
                    <a:pt x="3042" y="21200"/>
                    <a:pt x="3042" y="43601"/>
                  </a:cubicBezTo>
                  <a:cubicBezTo>
                    <a:pt x="3042" y="66003"/>
                    <a:pt x="21205" y="84161"/>
                    <a:pt x="43601" y="84161"/>
                  </a:cubicBezTo>
                  <a:lnTo>
                    <a:pt x="619547" y="84161"/>
                  </a:lnTo>
                  <a:cubicBezTo>
                    <a:pt x="641944" y="84161"/>
                    <a:pt x="660106" y="66003"/>
                    <a:pt x="660106" y="43601"/>
                  </a:cubicBezTo>
                  <a:cubicBezTo>
                    <a:pt x="660106" y="21200"/>
                    <a:pt x="641944" y="3042"/>
                    <a:pt x="619547" y="304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CD5A691-1E63-4278-BD3A-9731D8F84CD5}"/>
                </a:ext>
              </a:extLst>
            </p:cNvPr>
            <p:cNvSpPr/>
            <p:nvPr/>
          </p:nvSpPr>
          <p:spPr>
            <a:xfrm>
              <a:off x="4038952" y="1175537"/>
              <a:ext cx="872030" cy="1354688"/>
            </a:xfrm>
            <a:custGeom>
              <a:avLst/>
              <a:gdLst>
                <a:gd name="connsiteX0" fmla="*/ 787515 w 872029"/>
                <a:gd name="connsiteY0" fmla="*/ 25937 h 1354688"/>
                <a:gd name="connsiteX1" fmla="*/ 658248 w 872029"/>
                <a:gd name="connsiteY1" fmla="*/ 8918 h 1354688"/>
                <a:gd name="connsiteX2" fmla="*/ 554813 w 872029"/>
                <a:gd name="connsiteY2" fmla="*/ 88289 h 1354688"/>
                <a:gd name="connsiteX3" fmla="*/ 44404 w 872029"/>
                <a:gd name="connsiteY3" fmla="*/ 972337 h 1354688"/>
                <a:gd name="connsiteX4" fmla="*/ 39220 w 872029"/>
                <a:gd name="connsiteY4" fmla="*/ 988119 h 1354688"/>
                <a:gd name="connsiteX5" fmla="*/ 3293 w 872029"/>
                <a:gd name="connsiteY5" fmla="*/ 1309934 h 1354688"/>
                <a:gd name="connsiteX6" fmla="*/ 23321 w 872029"/>
                <a:gd name="connsiteY6" fmla="*/ 1349561 h 1354688"/>
                <a:gd name="connsiteX7" fmla="*/ 43597 w 872029"/>
                <a:gd name="connsiteY7" fmla="*/ 1354996 h 1354688"/>
                <a:gd name="connsiteX8" fmla="*/ 67652 w 872029"/>
                <a:gd name="connsiteY8" fmla="*/ 1347095 h 1354688"/>
                <a:gd name="connsiteX9" fmla="*/ 328385 w 872029"/>
                <a:gd name="connsiteY9" fmla="*/ 1155070 h 1354688"/>
                <a:gd name="connsiteX10" fmla="*/ 339458 w 872029"/>
                <a:gd name="connsiteY10" fmla="*/ 1142691 h 1354688"/>
                <a:gd name="connsiteX11" fmla="*/ 849863 w 872029"/>
                <a:gd name="connsiteY11" fmla="*/ 258643 h 1354688"/>
                <a:gd name="connsiteX12" fmla="*/ 787515 w 872029"/>
                <a:gd name="connsiteY12" fmla="*/ 25937 h 1354688"/>
                <a:gd name="connsiteX13" fmla="*/ 94194 w 872029"/>
                <a:gd name="connsiteY13" fmla="*/ 1226799 h 1354688"/>
                <a:gd name="connsiteX14" fmla="*/ 112957 w 872029"/>
                <a:gd name="connsiteY14" fmla="*/ 1058753 h 1354688"/>
                <a:gd name="connsiteX15" fmla="*/ 230345 w 872029"/>
                <a:gd name="connsiteY15" fmla="*/ 1126528 h 1354688"/>
                <a:gd name="connsiteX16" fmla="*/ 94194 w 872029"/>
                <a:gd name="connsiteY16" fmla="*/ 1226799 h 1354688"/>
                <a:gd name="connsiteX17" fmla="*/ 289489 w 872029"/>
                <a:gd name="connsiteY17" fmla="*/ 1067003 h 1354688"/>
                <a:gd name="connsiteX18" fmla="*/ 134937 w 872029"/>
                <a:gd name="connsiteY18" fmla="*/ 977772 h 1354688"/>
                <a:gd name="connsiteX19" fmla="*/ 544527 w 872029"/>
                <a:gd name="connsiteY19" fmla="*/ 268345 h 1354688"/>
                <a:gd name="connsiteX20" fmla="*/ 699079 w 872029"/>
                <a:gd name="connsiteY20" fmla="*/ 357576 h 1354688"/>
                <a:gd name="connsiteX21" fmla="*/ 289489 w 872029"/>
                <a:gd name="connsiteY21" fmla="*/ 1067003 h 1354688"/>
                <a:gd name="connsiteX22" fmla="*/ 779614 w 872029"/>
                <a:gd name="connsiteY22" fmla="*/ 218080 h 1354688"/>
                <a:gd name="connsiteX23" fmla="*/ 739635 w 872029"/>
                <a:gd name="connsiteY23" fmla="*/ 287327 h 1354688"/>
                <a:gd name="connsiteX24" fmla="*/ 585083 w 872029"/>
                <a:gd name="connsiteY24" fmla="*/ 198096 h 1354688"/>
                <a:gd name="connsiteX25" fmla="*/ 625062 w 872029"/>
                <a:gd name="connsiteY25" fmla="*/ 128849 h 1354688"/>
                <a:gd name="connsiteX26" fmla="*/ 679241 w 872029"/>
                <a:gd name="connsiteY26" fmla="*/ 87275 h 1354688"/>
                <a:gd name="connsiteX27" fmla="*/ 746952 w 872029"/>
                <a:gd name="connsiteY27" fmla="*/ 96190 h 1354688"/>
                <a:gd name="connsiteX28" fmla="*/ 788525 w 872029"/>
                <a:gd name="connsiteY28" fmla="*/ 150370 h 1354688"/>
                <a:gd name="connsiteX29" fmla="*/ 779614 w 872029"/>
                <a:gd name="connsiteY29" fmla="*/ 218080 h 135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72029" h="1354688">
                  <a:moveTo>
                    <a:pt x="787515" y="25937"/>
                  </a:moveTo>
                  <a:cubicBezTo>
                    <a:pt x="748111" y="3187"/>
                    <a:pt x="702206" y="-2856"/>
                    <a:pt x="658248" y="8918"/>
                  </a:cubicBezTo>
                  <a:cubicBezTo>
                    <a:pt x="614298" y="20697"/>
                    <a:pt x="577559" y="48886"/>
                    <a:pt x="554813" y="88289"/>
                  </a:cubicBezTo>
                  <a:lnTo>
                    <a:pt x="44404" y="972337"/>
                  </a:lnTo>
                  <a:cubicBezTo>
                    <a:pt x="41609" y="977184"/>
                    <a:pt x="39841" y="982558"/>
                    <a:pt x="39220" y="988119"/>
                  </a:cubicBezTo>
                  <a:lnTo>
                    <a:pt x="3293" y="1309934"/>
                  </a:lnTo>
                  <a:cubicBezTo>
                    <a:pt x="1508" y="1325947"/>
                    <a:pt x="9368" y="1341502"/>
                    <a:pt x="23321" y="1349561"/>
                  </a:cubicBezTo>
                  <a:cubicBezTo>
                    <a:pt x="29620" y="1353195"/>
                    <a:pt x="36616" y="1354996"/>
                    <a:pt x="43597" y="1354996"/>
                  </a:cubicBezTo>
                  <a:cubicBezTo>
                    <a:pt x="52082" y="1354996"/>
                    <a:pt x="60534" y="1352339"/>
                    <a:pt x="67652" y="1347095"/>
                  </a:cubicBezTo>
                  <a:lnTo>
                    <a:pt x="328385" y="1155070"/>
                  </a:lnTo>
                  <a:cubicBezTo>
                    <a:pt x="332891" y="1151752"/>
                    <a:pt x="336663" y="1147538"/>
                    <a:pt x="339458" y="1142691"/>
                  </a:cubicBezTo>
                  <a:lnTo>
                    <a:pt x="849863" y="258643"/>
                  </a:lnTo>
                  <a:cubicBezTo>
                    <a:pt x="896831" y="177297"/>
                    <a:pt x="868861" y="72905"/>
                    <a:pt x="787515" y="25937"/>
                  </a:cubicBezTo>
                  <a:close/>
                  <a:moveTo>
                    <a:pt x="94194" y="1226799"/>
                  </a:moveTo>
                  <a:lnTo>
                    <a:pt x="112957" y="1058753"/>
                  </a:lnTo>
                  <a:lnTo>
                    <a:pt x="230345" y="1126528"/>
                  </a:lnTo>
                  <a:lnTo>
                    <a:pt x="94194" y="1226799"/>
                  </a:lnTo>
                  <a:close/>
                  <a:moveTo>
                    <a:pt x="289489" y="1067003"/>
                  </a:moveTo>
                  <a:lnTo>
                    <a:pt x="134937" y="977772"/>
                  </a:lnTo>
                  <a:lnTo>
                    <a:pt x="544527" y="268345"/>
                  </a:lnTo>
                  <a:lnTo>
                    <a:pt x="699079" y="357576"/>
                  </a:lnTo>
                  <a:lnTo>
                    <a:pt x="289489" y="1067003"/>
                  </a:lnTo>
                  <a:close/>
                  <a:moveTo>
                    <a:pt x="779614" y="218080"/>
                  </a:moveTo>
                  <a:lnTo>
                    <a:pt x="739635" y="287327"/>
                  </a:lnTo>
                  <a:lnTo>
                    <a:pt x="585083" y="198096"/>
                  </a:lnTo>
                  <a:lnTo>
                    <a:pt x="625062" y="128849"/>
                  </a:lnTo>
                  <a:cubicBezTo>
                    <a:pt x="636978" y="108208"/>
                    <a:pt x="656220" y="93444"/>
                    <a:pt x="679241" y="87275"/>
                  </a:cubicBezTo>
                  <a:cubicBezTo>
                    <a:pt x="702271" y="81102"/>
                    <a:pt x="726315" y="84274"/>
                    <a:pt x="746952" y="96190"/>
                  </a:cubicBezTo>
                  <a:cubicBezTo>
                    <a:pt x="767592" y="108107"/>
                    <a:pt x="782356" y="127348"/>
                    <a:pt x="788525" y="150370"/>
                  </a:cubicBezTo>
                  <a:cubicBezTo>
                    <a:pt x="794694" y="173391"/>
                    <a:pt x="791531" y="197439"/>
                    <a:pt x="779614" y="218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43" name="Graphic 42">
            <a:extLst>
              <a:ext uri="{FF2B5EF4-FFF2-40B4-BE49-F238E27FC236}">
                <a16:creationId xmlns:a16="http://schemas.microsoft.com/office/drawing/2014/main" id="{3C22313B-ACBA-48A7-864B-E9D3BFA5B8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24456" y="2163133"/>
            <a:ext cx="592353" cy="59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05600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7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непотизм </a:t>
            </a:r>
            <a:r>
              <a:rPr lang="ru-RU" b="1" dirty="0" err="1">
                <a:solidFill>
                  <a:srgbClr val="004BD2"/>
                </a:solidFill>
              </a:rPr>
              <a:t>кўрсаткичлари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исобланмайди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индошлар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ўстлар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г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қеида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у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йдалан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лар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қнашуви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жудлиг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ий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лкни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содара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828C01D-9F8A-4D7D-82D6-3B943179EF12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8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3561796"/>
            <a:ext cx="10206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Бу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ик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ўғрими</a:t>
            </a:r>
            <a:r>
              <a:rPr lang="ru-RU" b="1" dirty="0">
                <a:solidFill>
                  <a:srgbClr val="004BD2"/>
                </a:solidFill>
              </a:rPr>
              <a:t>: Коррупция </a:t>
            </a:r>
            <a:r>
              <a:rPr lang="ru-RU" b="1" dirty="0" err="1">
                <a:solidFill>
                  <a:srgbClr val="004BD2"/>
                </a:solidFill>
              </a:rPr>
              <a:t>фақат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давлат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сектори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авжуд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4389646"/>
            <a:ext cx="9681990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37782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4710240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273333837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9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коррупция </a:t>
            </a:r>
            <a:r>
              <a:rPr lang="ru-RU" b="1" dirty="0" err="1">
                <a:solidFill>
                  <a:srgbClr val="004BD2"/>
                </a:solidFill>
              </a:rPr>
              <a:t>оқибат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исобланмайди</a:t>
            </a:r>
            <a:endParaRPr lang="ru-RU" b="1" dirty="0">
              <a:solidFill>
                <a:srgbClr val="004BD2"/>
              </a:solidFill>
            </a:endParaRP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о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қиб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отизм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қтисод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ққиёт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инлашув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қуқлари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зилиш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828C01D-9F8A-4D7D-82D6-3B943179EF12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0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3561796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ик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ўғрими</a:t>
            </a:r>
            <a:r>
              <a:rPr lang="ru-RU" b="1" dirty="0">
                <a:solidFill>
                  <a:srgbClr val="004BD2"/>
                </a:solidFill>
              </a:rPr>
              <a:t>: </a:t>
            </a:r>
            <a:r>
              <a:rPr lang="ru-RU" b="1" dirty="0" err="1">
                <a:solidFill>
                  <a:srgbClr val="004BD2"/>
                </a:solidFill>
              </a:rPr>
              <a:t>Коррупция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қибатлари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сифати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ноёб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айвонлар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йўқ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иб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етиш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умкин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4389646"/>
            <a:ext cx="9681990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37782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4710240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352543421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9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коррупция </a:t>
            </a:r>
            <a:r>
              <a:rPr lang="ru-RU" b="1" dirty="0" err="1">
                <a:solidFill>
                  <a:srgbClr val="004BD2"/>
                </a:solidFill>
              </a:rPr>
              <a:t>оқибат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исобланмайди</a:t>
            </a:r>
            <a:endParaRPr lang="ru-RU" b="1" dirty="0">
              <a:solidFill>
                <a:srgbClr val="004BD2"/>
              </a:solidFill>
            </a:endParaRP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о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қиб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отизм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қтисод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ққиёт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кинлашув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қуқлари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зилиш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828C01D-9F8A-4D7D-82D6-3B943179EF12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0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3561796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ик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ўғрими</a:t>
            </a:r>
            <a:r>
              <a:rPr lang="ru-RU" b="1" dirty="0">
                <a:solidFill>
                  <a:srgbClr val="004BD2"/>
                </a:solidFill>
              </a:rPr>
              <a:t>: </a:t>
            </a:r>
            <a:r>
              <a:rPr lang="ru-RU" b="1" dirty="0" err="1">
                <a:solidFill>
                  <a:srgbClr val="004BD2"/>
                </a:solidFill>
              </a:rPr>
              <a:t>Коррупция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қибатлари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сифати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ноёб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айвонлар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йўқ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иб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етиш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умкин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4389646"/>
            <a:ext cx="9681990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377823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4710240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393683512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1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ррупция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ид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уқуқбузарлик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елги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исобланади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раз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ишув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хфийлиг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ғридан-тўғр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мо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ят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дагилар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час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828C01D-9F8A-4D7D-82D6-3B943179EF12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2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3561796"/>
            <a:ext cx="1020607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rgbClr val="004BD2"/>
                </a:solidFill>
              </a:rPr>
              <a:t>Энергетика </a:t>
            </a:r>
            <a:r>
              <a:rPr lang="ru-RU" b="1" dirty="0" err="1">
                <a:solidFill>
                  <a:srgbClr val="004BD2"/>
                </a:solidFill>
              </a:rPr>
              <a:t>корхон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ходим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акаси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янг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элект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подстансияси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уриш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йич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пудрат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ишлари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ажариш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у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иш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лди</a:t>
            </a:r>
            <a:r>
              <a:rPr lang="ru-RU" b="1" dirty="0">
                <a:solidFill>
                  <a:srgbClr val="004BD2"/>
                </a:solidFill>
              </a:rPr>
              <a:t>, </a:t>
            </a:r>
            <a:r>
              <a:rPr lang="ru-RU" b="1" dirty="0" err="1">
                <a:solidFill>
                  <a:srgbClr val="004BD2"/>
                </a:solidFill>
              </a:rPr>
              <a:t>иш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давоми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то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оидабузарликлар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ё‘л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ўйилган</a:t>
            </a:r>
            <a:r>
              <a:rPr lang="ru-RU" b="1" dirty="0">
                <a:solidFill>
                  <a:srgbClr val="004BD2"/>
                </a:solidFill>
              </a:rPr>
              <a:t>, </a:t>
            </a:r>
            <a:r>
              <a:rPr lang="ru-RU" b="1" dirty="0" err="1">
                <a:solidFill>
                  <a:srgbClr val="004BD2"/>
                </a:solidFill>
              </a:rPr>
              <a:t>бу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эс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иддий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амчиликлар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либ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елган</a:t>
            </a:r>
            <a:r>
              <a:rPr lang="ru-RU" b="1" dirty="0">
                <a:solidFill>
                  <a:srgbClr val="004BD2"/>
                </a:solidFill>
              </a:rPr>
              <a:t>. </a:t>
            </a:r>
            <a:r>
              <a:rPr lang="ru-RU" b="1" dirty="0" err="1">
                <a:solidFill>
                  <a:srgbClr val="004BD2"/>
                </a:solidFill>
              </a:rPr>
              <a:t>Камчиликла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авжудлиги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яшириш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ун</a:t>
            </a:r>
            <a:r>
              <a:rPr lang="ru-RU" b="1" dirty="0">
                <a:solidFill>
                  <a:srgbClr val="004BD2"/>
                </a:solidFill>
              </a:rPr>
              <a:t> ходим </a:t>
            </a:r>
            <a:r>
              <a:rPr lang="ru-RU" b="1" dirty="0" err="1">
                <a:solidFill>
                  <a:srgbClr val="004BD2"/>
                </a:solidFill>
              </a:rPr>
              <a:t>қабул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миссия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аъзоларига</a:t>
            </a:r>
            <a:r>
              <a:rPr lang="ru-RU" b="1" dirty="0">
                <a:solidFill>
                  <a:srgbClr val="004BD2"/>
                </a:solidFill>
              </a:rPr>
              <a:t> пора </a:t>
            </a:r>
            <a:r>
              <a:rPr lang="ru-RU" b="1" dirty="0" err="1">
                <a:solidFill>
                  <a:srgbClr val="004BD2"/>
                </a:solidFill>
              </a:rPr>
              <a:t>берган</a:t>
            </a:r>
            <a:r>
              <a:rPr lang="ru-RU" b="1" dirty="0">
                <a:solidFill>
                  <a:srgbClr val="004BD2"/>
                </a:solidFill>
              </a:rPr>
              <a:t>. Агар </a:t>
            </a:r>
            <a:r>
              <a:rPr lang="ru-RU" b="1" dirty="0" err="1">
                <a:solidFill>
                  <a:srgbClr val="004BD2"/>
                </a:solidFill>
              </a:rPr>
              <a:t>порахўрл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акт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аниқланг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са</a:t>
            </a:r>
            <a:r>
              <a:rPr lang="ru-RU" b="1" dirty="0">
                <a:solidFill>
                  <a:srgbClr val="004BD2"/>
                </a:solidFill>
              </a:rPr>
              <a:t>, энергия </a:t>
            </a:r>
            <a:r>
              <a:rPr lang="ru-RU" b="1" dirty="0" err="1">
                <a:solidFill>
                  <a:srgbClr val="004BD2"/>
                </a:solidFill>
              </a:rPr>
              <a:t>подстансия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ходим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ндай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авобгарликк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ортилиш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умкин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5458156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о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гарлик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қаролик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гарлиг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изом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гарлик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дагилар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час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544633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5778750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C9DF8-ABB7-4E01-91B4-16CB0D08D0C6}"/>
              </a:ext>
            </a:extLst>
          </p:cNvPr>
          <p:cNvSpPr/>
          <p:nvPr/>
        </p:nvSpPr>
        <p:spPr>
          <a:xfrm>
            <a:off x="1644268" y="6111167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616D39-21C2-4D87-94B2-90E4C5A80B2C}"/>
              </a:ext>
            </a:extLst>
          </p:cNvPr>
          <p:cNvSpPr/>
          <p:nvPr/>
        </p:nvSpPr>
        <p:spPr>
          <a:xfrm>
            <a:off x="1644268" y="6421717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128610733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1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Қуйидаги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ррупция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ид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уқуқбузарлик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елги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исобланади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раз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ишув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хфийлиг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ўғридан-тўғр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мо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ят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дагиларнинг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часи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6AED69DB-F7ED-4B2E-B8B7-AB057EE60B8A}"/>
              </a:ext>
            </a:extLst>
          </p:cNvPr>
          <p:cNvSpPr/>
          <p:nvPr/>
        </p:nvSpPr>
        <p:spPr>
          <a:xfrm>
            <a:off x="1644268" y="274301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3561796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2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3561796"/>
            <a:ext cx="1020607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rgbClr val="004BD2"/>
                </a:solidFill>
              </a:rPr>
              <a:t>Энергетика </a:t>
            </a:r>
            <a:r>
              <a:rPr lang="ru-RU" b="1" dirty="0" err="1">
                <a:solidFill>
                  <a:srgbClr val="004BD2"/>
                </a:solidFill>
              </a:rPr>
              <a:t>корхон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ходим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акаси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янг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элект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подстансияси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уриш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йич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пудрат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ишлари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ажариш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у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иш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лди</a:t>
            </a:r>
            <a:r>
              <a:rPr lang="ru-RU" b="1" dirty="0">
                <a:solidFill>
                  <a:srgbClr val="004BD2"/>
                </a:solidFill>
              </a:rPr>
              <a:t>, </a:t>
            </a:r>
            <a:r>
              <a:rPr lang="ru-RU" b="1" dirty="0" err="1">
                <a:solidFill>
                  <a:srgbClr val="004BD2"/>
                </a:solidFill>
              </a:rPr>
              <a:t>иш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давоми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то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оидабузарликлар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ё‘л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ўйилган</a:t>
            </a:r>
            <a:r>
              <a:rPr lang="ru-RU" b="1" dirty="0">
                <a:solidFill>
                  <a:srgbClr val="004BD2"/>
                </a:solidFill>
              </a:rPr>
              <a:t>, </a:t>
            </a:r>
            <a:r>
              <a:rPr lang="ru-RU" b="1" dirty="0" err="1">
                <a:solidFill>
                  <a:srgbClr val="004BD2"/>
                </a:solidFill>
              </a:rPr>
              <a:t>бу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эс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иддий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амчиликлар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либ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елган</a:t>
            </a:r>
            <a:r>
              <a:rPr lang="ru-RU" b="1" dirty="0">
                <a:solidFill>
                  <a:srgbClr val="004BD2"/>
                </a:solidFill>
              </a:rPr>
              <a:t>. </a:t>
            </a:r>
            <a:r>
              <a:rPr lang="ru-RU" b="1" dirty="0" err="1">
                <a:solidFill>
                  <a:srgbClr val="004BD2"/>
                </a:solidFill>
              </a:rPr>
              <a:t>Камчиликла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авжудлиги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яшириш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ун</a:t>
            </a:r>
            <a:r>
              <a:rPr lang="ru-RU" b="1" dirty="0">
                <a:solidFill>
                  <a:srgbClr val="004BD2"/>
                </a:solidFill>
              </a:rPr>
              <a:t> ходим </a:t>
            </a:r>
            <a:r>
              <a:rPr lang="ru-RU" b="1" dirty="0" err="1">
                <a:solidFill>
                  <a:srgbClr val="004BD2"/>
                </a:solidFill>
              </a:rPr>
              <a:t>қабул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миссия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аъзоларига</a:t>
            </a:r>
            <a:r>
              <a:rPr lang="ru-RU" b="1" dirty="0">
                <a:solidFill>
                  <a:srgbClr val="004BD2"/>
                </a:solidFill>
              </a:rPr>
              <a:t> пора </a:t>
            </a:r>
            <a:r>
              <a:rPr lang="ru-RU" b="1" dirty="0" err="1">
                <a:solidFill>
                  <a:srgbClr val="004BD2"/>
                </a:solidFill>
              </a:rPr>
              <a:t>берган</a:t>
            </a:r>
            <a:r>
              <a:rPr lang="ru-RU" b="1" dirty="0">
                <a:solidFill>
                  <a:srgbClr val="004BD2"/>
                </a:solidFill>
              </a:rPr>
              <a:t>. </a:t>
            </a:r>
            <a:r>
              <a:rPr lang="ru-RU" b="1" dirty="0" err="1">
                <a:solidFill>
                  <a:srgbClr val="004BD2"/>
                </a:solidFill>
              </a:rPr>
              <a:t>Ага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порахўрл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акт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аниқланг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са</a:t>
            </a:r>
            <a:r>
              <a:rPr lang="ru-RU" b="1" dirty="0">
                <a:solidFill>
                  <a:srgbClr val="004BD2"/>
                </a:solidFill>
              </a:rPr>
              <a:t>, энергия </a:t>
            </a:r>
            <a:r>
              <a:rPr lang="ru-RU" b="1" dirty="0" err="1">
                <a:solidFill>
                  <a:srgbClr val="004BD2"/>
                </a:solidFill>
              </a:rPr>
              <a:t>подстансия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ходим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ндай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авобгарликк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ортилиш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умкин</a:t>
            </a:r>
            <a:r>
              <a:rPr lang="ru-RU" b="1" dirty="0">
                <a:solidFill>
                  <a:srgbClr val="004BD2"/>
                </a:solidFill>
              </a:rPr>
              <a:t>?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3599506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5458156"/>
            <a:ext cx="9681990" cy="12157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о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гарлик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қаролик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гарлиг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изом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гарлик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дагиларнинг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часи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544633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5778750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C9DF8-ABB7-4E01-91B4-16CB0D08D0C6}"/>
              </a:ext>
            </a:extLst>
          </p:cNvPr>
          <p:cNvSpPr/>
          <p:nvPr/>
        </p:nvSpPr>
        <p:spPr>
          <a:xfrm>
            <a:off x="1644268" y="6111167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616D39-21C2-4D87-94B2-90E4C5A80B2C}"/>
              </a:ext>
            </a:extLst>
          </p:cNvPr>
          <p:cNvSpPr/>
          <p:nvPr/>
        </p:nvSpPr>
        <p:spPr>
          <a:xfrm>
            <a:off x="1644268" y="6421717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194946F-B87A-4D6E-AD9F-FD3F0412F88A}"/>
              </a:ext>
            </a:extLst>
          </p:cNvPr>
          <p:cNvSpPr/>
          <p:nvPr/>
        </p:nvSpPr>
        <p:spPr>
          <a:xfrm>
            <a:off x="1644268" y="3053563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AEC8E27-9AF2-46AA-8877-B6AD8495781B}"/>
              </a:ext>
            </a:extLst>
          </p:cNvPr>
          <p:cNvSpPr/>
          <p:nvPr/>
        </p:nvSpPr>
        <p:spPr>
          <a:xfrm>
            <a:off x="1644268" y="208431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1121175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3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Мазку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ик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ўғрими</a:t>
            </a:r>
            <a:r>
              <a:rPr lang="ru-RU" b="1" dirty="0">
                <a:solidFill>
                  <a:srgbClr val="004BD2"/>
                </a:solidFill>
              </a:rPr>
              <a:t>? </a:t>
            </a:r>
            <a:r>
              <a:rPr lang="ru-RU" b="1" dirty="0" err="1">
                <a:solidFill>
                  <a:srgbClr val="004BD2"/>
                </a:solidFill>
              </a:rPr>
              <a:t>Порахўрлик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воситачил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илганингиз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у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моққ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ушмайсиз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2914525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4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2914525"/>
            <a:ext cx="1020607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Ўзбекист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Республик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ниверситетлари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алаб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ажа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имтиҳон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айёргарл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ўриш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лгурмади</a:t>
            </a:r>
            <a:r>
              <a:rPr lang="ru-RU" b="1" dirty="0">
                <a:solidFill>
                  <a:srgbClr val="004BD2"/>
                </a:solidFill>
              </a:rPr>
              <a:t>, </a:t>
            </a:r>
            <a:r>
              <a:rPr lang="ru-RU" b="1" dirty="0" err="1">
                <a:solidFill>
                  <a:srgbClr val="004BD2"/>
                </a:solidFill>
              </a:rPr>
              <a:t>лекин</a:t>
            </a:r>
            <a:r>
              <a:rPr lang="ru-RU" b="1" dirty="0">
                <a:solidFill>
                  <a:srgbClr val="004BD2"/>
                </a:solidFill>
              </a:rPr>
              <a:t> у </a:t>
            </a:r>
            <a:r>
              <a:rPr lang="ru-RU" b="1" dirty="0" err="1">
                <a:solidFill>
                  <a:srgbClr val="004BD2"/>
                </a:solidFill>
              </a:rPr>
              <a:t>профессо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л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у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яхш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уносабат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иб</a:t>
            </a:r>
            <a:r>
              <a:rPr lang="ru-RU" b="1" dirty="0">
                <a:solidFill>
                  <a:srgbClr val="004BD2"/>
                </a:solidFill>
              </a:rPr>
              <a:t>, </a:t>
            </a:r>
            <a:r>
              <a:rPr lang="ru-RU" b="1" dirty="0" err="1">
                <a:solidFill>
                  <a:srgbClr val="004BD2"/>
                </a:solidFill>
              </a:rPr>
              <a:t>имтиҳ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у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н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ути</a:t>
            </a:r>
            <a:r>
              <a:rPr lang="ru-RU" b="1" dirty="0">
                <a:solidFill>
                  <a:srgbClr val="004BD2"/>
                </a:solidFill>
              </a:rPr>
              <a:t> шоколад </a:t>
            </a:r>
            <a:r>
              <a:rPr lang="ru-RU" b="1" dirty="0" err="1">
                <a:solidFill>
                  <a:srgbClr val="004BD2"/>
                </a:solidFill>
              </a:rPr>
              <a:t>олиб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елиш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ро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илади</a:t>
            </a:r>
            <a:r>
              <a:rPr lang="ru-RU" b="1" dirty="0">
                <a:solidFill>
                  <a:srgbClr val="004BD2"/>
                </a:solidFill>
              </a:rPr>
              <a:t>. </a:t>
            </a:r>
            <a:r>
              <a:rPr lang="ru-RU" b="1" dirty="0" err="1">
                <a:solidFill>
                  <a:srgbClr val="004BD2"/>
                </a:solidFill>
              </a:rPr>
              <a:t>Талаб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ун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ейи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ошқ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гуру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л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имтиҳ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опшириш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ерак</a:t>
            </a:r>
            <a:r>
              <a:rPr lang="ru-RU" b="1" dirty="0">
                <a:solidFill>
                  <a:srgbClr val="004BD2"/>
                </a:solidFill>
              </a:rPr>
              <a:t>. </a:t>
            </a:r>
            <a:r>
              <a:rPr lang="ru-RU" b="1" dirty="0" err="1">
                <a:solidFill>
                  <a:srgbClr val="004BD2"/>
                </a:solidFill>
              </a:rPr>
              <a:t>Қуйидаг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икр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ўғри</a:t>
            </a:r>
            <a:r>
              <a:rPr lang="ru-RU" b="1" dirty="0">
                <a:solidFill>
                  <a:srgbClr val="004BD2"/>
                </a:solidFill>
              </a:rPr>
              <a:t>? </a:t>
            </a:r>
            <a:r>
              <a:rPr lang="ru-RU" b="1" dirty="0" err="1">
                <a:solidFill>
                  <a:srgbClr val="004BD2"/>
                </a:solidFill>
              </a:rPr>
              <a:t>Б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ёк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нечт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авоб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анланг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2952235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4615679"/>
            <a:ext cx="968199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б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ор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носабат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хш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а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лат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хўрлик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б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майд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б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изомий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гарликк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тилиш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мкин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тиҳон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қтг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чириш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вазиг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фет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иш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ра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над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дагилар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час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60385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517257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C9DF8-ABB7-4E01-91B4-16CB0D08D0C6}"/>
              </a:ext>
            </a:extLst>
          </p:cNvPr>
          <p:cNvSpPr/>
          <p:nvPr/>
        </p:nvSpPr>
        <p:spPr>
          <a:xfrm>
            <a:off x="1644268" y="550499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616D39-21C2-4D87-94B2-90E4C5A80B2C}"/>
              </a:ext>
            </a:extLst>
          </p:cNvPr>
          <p:cNvSpPr/>
          <p:nvPr/>
        </p:nvSpPr>
        <p:spPr>
          <a:xfrm>
            <a:off x="1644268" y="581554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368732705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3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Мазку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ик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ўғрими</a:t>
            </a:r>
            <a:r>
              <a:rPr lang="ru-RU" b="1" dirty="0">
                <a:solidFill>
                  <a:srgbClr val="004BD2"/>
                </a:solidFill>
              </a:rPr>
              <a:t>? </a:t>
            </a:r>
            <a:r>
              <a:rPr lang="ru-RU" b="1" dirty="0" err="1">
                <a:solidFill>
                  <a:srgbClr val="004BD2"/>
                </a:solidFill>
              </a:rPr>
              <a:t>Порахўрлик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воситачил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илганингиз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у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моққ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ушмайсиз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090002"/>
            <a:ext cx="9681990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07817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410596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A3154132-2C21-4169-98F7-884A3026B97B}"/>
              </a:ext>
            </a:extLst>
          </p:cNvPr>
          <p:cNvSpPr/>
          <p:nvPr/>
        </p:nvSpPr>
        <p:spPr>
          <a:xfrm>
            <a:off x="440353" y="2914525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4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FB3D6D7-9787-46CD-A5E3-654C82482DE5}"/>
              </a:ext>
            </a:extLst>
          </p:cNvPr>
          <p:cNvSpPr/>
          <p:nvPr/>
        </p:nvSpPr>
        <p:spPr>
          <a:xfrm>
            <a:off x="1543014" y="2914525"/>
            <a:ext cx="1020607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Ўзбекист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Республик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ниверситетлари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нин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алаб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ажа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имтиҳон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айёргарл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ўриш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лгурмади</a:t>
            </a:r>
            <a:r>
              <a:rPr lang="ru-RU" b="1" dirty="0">
                <a:solidFill>
                  <a:srgbClr val="004BD2"/>
                </a:solidFill>
              </a:rPr>
              <a:t>, </a:t>
            </a:r>
            <a:r>
              <a:rPr lang="ru-RU" b="1" dirty="0" err="1">
                <a:solidFill>
                  <a:srgbClr val="004BD2"/>
                </a:solidFill>
              </a:rPr>
              <a:t>лекин</a:t>
            </a:r>
            <a:r>
              <a:rPr lang="ru-RU" b="1" dirty="0">
                <a:solidFill>
                  <a:srgbClr val="004BD2"/>
                </a:solidFill>
              </a:rPr>
              <a:t> у </a:t>
            </a:r>
            <a:r>
              <a:rPr lang="ru-RU" b="1" dirty="0" err="1">
                <a:solidFill>
                  <a:srgbClr val="004BD2"/>
                </a:solidFill>
              </a:rPr>
              <a:t>профессо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л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у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яхш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муносабат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ўлиб</a:t>
            </a:r>
            <a:r>
              <a:rPr lang="ru-RU" b="1" dirty="0">
                <a:solidFill>
                  <a:srgbClr val="004BD2"/>
                </a:solidFill>
              </a:rPr>
              <a:t>, </a:t>
            </a:r>
            <a:r>
              <a:rPr lang="ru-RU" b="1" dirty="0" err="1">
                <a:solidFill>
                  <a:srgbClr val="004BD2"/>
                </a:solidFill>
              </a:rPr>
              <a:t>имтиҳ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у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н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ути</a:t>
            </a:r>
            <a:r>
              <a:rPr lang="ru-RU" b="1" dirty="0">
                <a:solidFill>
                  <a:srgbClr val="004BD2"/>
                </a:solidFill>
              </a:rPr>
              <a:t> шоколад </a:t>
            </a:r>
            <a:r>
              <a:rPr lang="ru-RU" b="1" dirty="0" err="1">
                <a:solidFill>
                  <a:srgbClr val="004BD2"/>
                </a:solidFill>
              </a:rPr>
              <a:t>олиб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елиш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ро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илади</a:t>
            </a:r>
            <a:r>
              <a:rPr lang="ru-RU" b="1" dirty="0">
                <a:solidFill>
                  <a:srgbClr val="004BD2"/>
                </a:solidFill>
              </a:rPr>
              <a:t>. </a:t>
            </a:r>
            <a:r>
              <a:rPr lang="ru-RU" b="1" dirty="0" err="1">
                <a:solidFill>
                  <a:srgbClr val="004BD2"/>
                </a:solidFill>
              </a:rPr>
              <a:t>Талаб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ун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ейи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ошқ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гуруҳ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л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имтиҳ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опшириш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ерак</a:t>
            </a:r>
            <a:r>
              <a:rPr lang="ru-RU" b="1" dirty="0">
                <a:solidFill>
                  <a:srgbClr val="004BD2"/>
                </a:solidFill>
              </a:rPr>
              <a:t>. </a:t>
            </a:r>
            <a:r>
              <a:rPr lang="ru-RU" b="1" dirty="0" err="1">
                <a:solidFill>
                  <a:srgbClr val="004BD2"/>
                </a:solidFill>
              </a:rPr>
              <a:t>Қуйидаг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икрлард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қай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ўғри</a:t>
            </a:r>
            <a:r>
              <a:rPr lang="ru-RU" b="1" dirty="0">
                <a:solidFill>
                  <a:srgbClr val="004BD2"/>
                </a:solidFill>
              </a:rPr>
              <a:t>? </a:t>
            </a:r>
            <a:r>
              <a:rPr lang="ru-RU" b="1" dirty="0" err="1">
                <a:solidFill>
                  <a:srgbClr val="004BD2"/>
                </a:solidFill>
              </a:rPr>
              <a:t>Б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ёк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нечт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авоб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анланг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24" name="Group 775">
            <a:extLst>
              <a:ext uri="{FF2B5EF4-FFF2-40B4-BE49-F238E27FC236}">
                <a16:creationId xmlns:a16="http://schemas.microsoft.com/office/drawing/2014/main" id="{64BE5369-00BF-452F-9748-B23F97E5CC3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2952235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25" name="Freeform 776">
              <a:extLst>
                <a:ext uri="{FF2B5EF4-FFF2-40B4-BE49-F238E27FC236}">
                  <a16:creationId xmlns:a16="http://schemas.microsoft.com/office/drawing/2014/main" id="{8577BDEA-E871-4750-93BC-0CC1F1C510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777">
              <a:extLst>
                <a:ext uri="{FF2B5EF4-FFF2-40B4-BE49-F238E27FC236}">
                  <a16:creationId xmlns:a16="http://schemas.microsoft.com/office/drawing/2014/main" id="{3203402E-5D01-4A5B-971B-B0B2F2F17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778">
              <a:extLst>
                <a:ext uri="{FF2B5EF4-FFF2-40B4-BE49-F238E27FC236}">
                  <a16:creationId xmlns:a16="http://schemas.microsoft.com/office/drawing/2014/main" id="{D6CCD23A-6121-4070-A28F-F0FA81A8A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779">
              <a:extLst>
                <a:ext uri="{FF2B5EF4-FFF2-40B4-BE49-F238E27FC236}">
                  <a16:creationId xmlns:a16="http://schemas.microsoft.com/office/drawing/2014/main" id="{258BE4BD-DE4D-4514-A4DC-6725142CF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780">
              <a:extLst>
                <a:ext uri="{FF2B5EF4-FFF2-40B4-BE49-F238E27FC236}">
                  <a16:creationId xmlns:a16="http://schemas.microsoft.com/office/drawing/2014/main" id="{0440D109-56D2-45C8-ADB8-11BA1E960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81">
              <a:extLst>
                <a:ext uri="{FF2B5EF4-FFF2-40B4-BE49-F238E27FC236}">
                  <a16:creationId xmlns:a16="http://schemas.microsoft.com/office/drawing/2014/main" id="{8EFDD438-9B91-4A33-9807-7326A0DCA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A275141-2476-49F8-A033-65F020D7381A}"/>
              </a:ext>
            </a:extLst>
          </p:cNvPr>
          <p:cNvSpPr/>
          <p:nvPr/>
        </p:nvSpPr>
        <p:spPr>
          <a:xfrm>
            <a:off x="2067098" y="4615679"/>
            <a:ext cx="9681990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б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ор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носабат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хш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ан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латн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хўрлик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б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майди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ба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изомий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вобгарликка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тилиши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мкин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тиҳонни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қтга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чириш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вазига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фет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иш</a:t>
            </a:r>
            <a:r>
              <a:rPr lang="ru-RU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ра </a:t>
            </a:r>
            <a:r>
              <a:rPr lang="ru-RU" altLang="en-US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нади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қоридагиларнинг</a:t>
            </a:r>
            <a:r>
              <a:rPr lang="ru-RU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часи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8724828-D437-46E2-953D-87CD14B5A3E7}"/>
              </a:ext>
            </a:extLst>
          </p:cNvPr>
          <p:cNvSpPr/>
          <p:nvPr/>
        </p:nvSpPr>
        <p:spPr>
          <a:xfrm>
            <a:off x="1644268" y="460385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32A0047F-6B82-409D-9957-D0EBBF055D3E}"/>
              </a:ext>
            </a:extLst>
          </p:cNvPr>
          <p:cNvSpPr/>
          <p:nvPr/>
        </p:nvSpPr>
        <p:spPr>
          <a:xfrm>
            <a:off x="1644268" y="5172576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FFEC9DF8-ABB7-4E01-91B4-16CB0D08D0C6}"/>
              </a:ext>
            </a:extLst>
          </p:cNvPr>
          <p:cNvSpPr/>
          <p:nvPr/>
        </p:nvSpPr>
        <p:spPr>
          <a:xfrm>
            <a:off x="1644268" y="5504993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c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1616D39-21C2-4D87-94B2-90E4C5A80B2C}"/>
              </a:ext>
            </a:extLst>
          </p:cNvPr>
          <p:cNvSpPr/>
          <p:nvPr/>
        </p:nvSpPr>
        <p:spPr>
          <a:xfrm>
            <a:off x="1644268" y="5815543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d</a:t>
            </a:r>
          </a:p>
        </p:txBody>
      </p:sp>
    </p:spTree>
    <p:extLst>
      <p:ext uri="{BB962C8B-B14F-4D97-AF65-F5344CB8AC3E}">
        <p14:creationId xmlns:p14="http://schemas.microsoft.com/office/powerpoint/2010/main" val="212099433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</a:t>
            </a:r>
            <a:r>
              <a:rPr lang="ru-RU" sz="2800" b="1" dirty="0">
                <a:solidFill>
                  <a:schemeClr val="tx2"/>
                </a:solidFill>
              </a:rPr>
              <a:t>5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Мазку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ўғрими</a:t>
            </a:r>
            <a:r>
              <a:rPr lang="ru-RU" b="1" dirty="0">
                <a:solidFill>
                  <a:srgbClr val="004BD2"/>
                </a:solidFill>
              </a:rPr>
              <a:t>? </a:t>
            </a:r>
            <a:r>
              <a:rPr lang="ru-RU" b="1" dirty="0" err="1">
                <a:solidFill>
                  <a:srgbClr val="004BD2"/>
                </a:solidFill>
              </a:rPr>
              <a:t>Бошқ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еч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давлат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Ўзбекист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Республик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уқаролари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Ўзбекист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Республик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удуди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сод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этг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ррупция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ид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уқуқбузарликла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у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авобгарликка</a:t>
            </a:r>
            <a:r>
              <a:rPr lang="ru-RU" b="1" dirty="0">
                <a:solidFill>
                  <a:srgbClr val="004BD2"/>
                </a:solidFill>
              </a:rPr>
              <a:t> торта </a:t>
            </a:r>
            <a:r>
              <a:rPr lang="ru-RU" b="1" dirty="0" err="1">
                <a:solidFill>
                  <a:srgbClr val="004BD2"/>
                </a:solidFill>
              </a:rPr>
              <a:t>олмайди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346852"/>
            <a:ext cx="9681990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33502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667446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278174721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CC21491-0996-408A-91A3-36FF01EF85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ест</a:t>
            </a:r>
            <a:endParaRPr lang="en-US" dirty="0"/>
          </a:p>
        </p:txBody>
      </p:sp>
      <p:sp>
        <p:nvSpPr>
          <p:cNvPr id="7" name="object 12">
            <a:extLst>
              <a:ext uri="{FF2B5EF4-FFF2-40B4-BE49-F238E27FC236}">
                <a16:creationId xmlns:a16="http://schemas.microsoft.com/office/drawing/2014/main" id="{B10BD801-5FA8-4D5D-AEA9-8679555609AA}"/>
              </a:ext>
            </a:extLst>
          </p:cNvPr>
          <p:cNvSpPr/>
          <p:nvPr/>
        </p:nvSpPr>
        <p:spPr>
          <a:xfrm>
            <a:off x="44035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r>
              <a:rPr lang="en-US" sz="2800" b="1" dirty="0">
                <a:solidFill>
                  <a:schemeClr val="tx2"/>
                </a:solidFill>
              </a:rPr>
              <a:t>1</a:t>
            </a:r>
            <a:r>
              <a:rPr lang="ru-RU" sz="2800" b="1" dirty="0">
                <a:solidFill>
                  <a:schemeClr val="tx2"/>
                </a:solidFill>
              </a:rPr>
              <a:t>5</a:t>
            </a:r>
            <a:endParaRPr sz="2800" b="1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B320C7-B647-4B96-98FF-31EEB418629C}"/>
              </a:ext>
            </a:extLst>
          </p:cNvPr>
          <p:cNvSpPr/>
          <p:nvPr/>
        </p:nvSpPr>
        <p:spPr>
          <a:xfrm>
            <a:off x="1543014" y="1302447"/>
            <a:ext cx="1020607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 err="1">
                <a:solidFill>
                  <a:srgbClr val="004BD2"/>
                </a:solidFill>
              </a:rPr>
              <a:t>Мазку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ик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тўғрими</a:t>
            </a:r>
            <a:r>
              <a:rPr lang="ru-RU" b="1" dirty="0">
                <a:solidFill>
                  <a:srgbClr val="004BD2"/>
                </a:solidFill>
              </a:rPr>
              <a:t>? </a:t>
            </a:r>
            <a:r>
              <a:rPr lang="ru-RU" b="1" dirty="0" err="1">
                <a:solidFill>
                  <a:srgbClr val="004BD2"/>
                </a:solidFill>
              </a:rPr>
              <a:t>Бошқ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еч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б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давлат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Ўзбекист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Республик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фуқароларин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Ўзбекисто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Республикаси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удудид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соди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этга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коррупцияга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оид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ҳуқуқбузарликлар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учун</a:t>
            </a:r>
            <a:r>
              <a:rPr lang="ru-RU" b="1" dirty="0">
                <a:solidFill>
                  <a:srgbClr val="004BD2"/>
                </a:solidFill>
              </a:rPr>
              <a:t> </a:t>
            </a:r>
            <a:r>
              <a:rPr lang="ru-RU" b="1" dirty="0" err="1">
                <a:solidFill>
                  <a:srgbClr val="004BD2"/>
                </a:solidFill>
              </a:rPr>
              <a:t>жавобгарликка</a:t>
            </a:r>
            <a:r>
              <a:rPr lang="ru-RU" b="1" dirty="0">
                <a:solidFill>
                  <a:srgbClr val="004BD2"/>
                </a:solidFill>
              </a:rPr>
              <a:t> торта </a:t>
            </a:r>
            <a:r>
              <a:rPr lang="ru-RU" b="1" dirty="0" err="1">
                <a:solidFill>
                  <a:srgbClr val="004BD2"/>
                </a:solidFill>
              </a:rPr>
              <a:t>олмайди</a:t>
            </a:r>
            <a:r>
              <a:rPr lang="ru-RU" b="1" dirty="0">
                <a:solidFill>
                  <a:srgbClr val="004BD2"/>
                </a:solidFill>
              </a:rPr>
              <a:t>.</a:t>
            </a:r>
          </a:p>
        </p:txBody>
      </p:sp>
      <p:grpSp>
        <p:nvGrpSpPr>
          <p:cNvPr id="9" name="Group 775">
            <a:extLst>
              <a:ext uri="{FF2B5EF4-FFF2-40B4-BE49-F238E27FC236}">
                <a16:creationId xmlns:a16="http://schemas.microsoft.com/office/drawing/2014/main" id="{BBFF6424-5427-4098-AF01-2B209B5F6DE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4413" y="1320410"/>
            <a:ext cx="613975" cy="610405"/>
            <a:chOff x="3506" y="3214"/>
            <a:chExt cx="172" cy="171"/>
          </a:xfrm>
          <a:solidFill>
            <a:srgbClr val="2414BC"/>
          </a:solidFill>
        </p:grpSpPr>
        <p:sp>
          <p:nvSpPr>
            <p:cNvPr id="10" name="Freeform 776">
              <a:extLst>
                <a:ext uri="{FF2B5EF4-FFF2-40B4-BE49-F238E27FC236}">
                  <a16:creationId xmlns:a16="http://schemas.microsoft.com/office/drawing/2014/main" id="{2DDE3639-E257-4CF2-89EA-66543B0915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06" y="3311"/>
              <a:ext cx="172" cy="74"/>
            </a:xfrm>
            <a:custGeom>
              <a:avLst/>
              <a:gdLst>
                <a:gd name="T0" fmla="*/ 6399 w 6407"/>
                <a:gd name="T1" fmla="*/ 497 h 2768"/>
                <a:gd name="T2" fmla="*/ 6206 w 6407"/>
                <a:gd name="T3" fmla="*/ 138 h 2768"/>
                <a:gd name="T4" fmla="*/ 5592 w 6407"/>
                <a:gd name="T5" fmla="*/ 172 h 2768"/>
                <a:gd name="T6" fmla="*/ 4560 w 6407"/>
                <a:gd name="T7" fmla="*/ 1133 h 2768"/>
                <a:gd name="T8" fmla="*/ 4219 w 6407"/>
                <a:gd name="T9" fmla="*/ 682 h 2768"/>
                <a:gd name="T10" fmla="*/ 2958 w 6407"/>
                <a:gd name="T11" fmla="*/ 362 h 2768"/>
                <a:gd name="T12" fmla="*/ 2289 w 6407"/>
                <a:gd name="T13" fmla="*/ 384 h 2768"/>
                <a:gd name="T14" fmla="*/ 1418 w 6407"/>
                <a:gd name="T15" fmla="*/ 667 h 2768"/>
                <a:gd name="T16" fmla="*/ 1418 w 6407"/>
                <a:gd name="T17" fmla="*/ 416 h 2768"/>
                <a:gd name="T18" fmla="*/ 1293 w 6407"/>
                <a:gd name="T19" fmla="*/ 291 h 2768"/>
                <a:gd name="T20" fmla="*/ 125 w 6407"/>
                <a:gd name="T21" fmla="*/ 291 h 2768"/>
                <a:gd name="T22" fmla="*/ 0 w 6407"/>
                <a:gd name="T23" fmla="*/ 416 h 2768"/>
                <a:gd name="T24" fmla="*/ 0 w 6407"/>
                <a:gd name="T25" fmla="*/ 2643 h 2768"/>
                <a:gd name="T26" fmla="*/ 125 w 6407"/>
                <a:gd name="T27" fmla="*/ 2768 h 2768"/>
                <a:gd name="T28" fmla="*/ 1293 w 6407"/>
                <a:gd name="T29" fmla="*/ 2768 h 2768"/>
                <a:gd name="T30" fmla="*/ 1418 w 6407"/>
                <a:gd name="T31" fmla="*/ 2643 h 2768"/>
                <a:gd name="T32" fmla="*/ 1418 w 6407"/>
                <a:gd name="T33" fmla="*/ 930 h 2768"/>
                <a:gd name="T34" fmla="*/ 2366 w 6407"/>
                <a:gd name="T35" fmla="*/ 622 h 2768"/>
                <a:gd name="T36" fmla="*/ 2897 w 6407"/>
                <a:gd name="T37" fmla="*/ 605 h 2768"/>
                <a:gd name="T38" fmla="*/ 4157 w 6407"/>
                <a:gd name="T39" fmla="*/ 924 h 2768"/>
                <a:gd name="T40" fmla="*/ 4309 w 6407"/>
                <a:gd name="T41" fmla="*/ 1141 h 2768"/>
                <a:gd name="T42" fmla="*/ 4107 w 6407"/>
                <a:gd name="T43" fmla="*/ 1323 h 2768"/>
                <a:gd name="T44" fmla="*/ 3229 w 6407"/>
                <a:gd name="T45" fmla="*/ 1323 h 2768"/>
                <a:gd name="T46" fmla="*/ 3104 w 6407"/>
                <a:gd name="T47" fmla="*/ 1448 h 2768"/>
                <a:gd name="T48" fmla="*/ 3229 w 6407"/>
                <a:gd name="T49" fmla="*/ 1573 h 2768"/>
                <a:gd name="T50" fmla="*/ 3498 w 6407"/>
                <a:gd name="T51" fmla="*/ 1573 h 2768"/>
                <a:gd name="T52" fmla="*/ 3513 w 6407"/>
                <a:gd name="T53" fmla="*/ 1574 h 2768"/>
                <a:gd name="T54" fmla="*/ 4132 w 6407"/>
                <a:gd name="T55" fmla="*/ 1574 h 2768"/>
                <a:gd name="T56" fmla="*/ 4688 w 6407"/>
                <a:gd name="T57" fmla="*/ 1355 h 2768"/>
                <a:gd name="T58" fmla="*/ 5762 w 6407"/>
                <a:gd name="T59" fmla="*/ 355 h 2768"/>
                <a:gd name="T60" fmla="*/ 6057 w 6407"/>
                <a:gd name="T61" fmla="*/ 338 h 2768"/>
                <a:gd name="T62" fmla="*/ 6150 w 6407"/>
                <a:gd name="T63" fmla="*/ 511 h 2768"/>
                <a:gd name="T64" fmla="*/ 6077 w 6407"/>
                <a:gd name="T65" fmla="*/ 693 h 2768"/>
                <a:gd name="T66" fmla="*/ 4597 w 6407"/>
                <a:gd name="T67" fmla="*/ 2070 h 2768"/>
                <a:gd name="T68" fmla="*/ 4222 w 6407"/>
                <a:gd name="T69" fmla="*/ 2218 h 2768"/>
                <a:gd name="T70" fmla="*/ 2285 w 6407"/>
                <a:gd name="T71" fmla="*/ 2218 h 2768"/>
                <a:gd name="T72" fmla="*/ 2160 w 6407"/>
                <a:gd name="T73" fmla="*/ 2343 h 2768"/>
                <a:gd name="T74" fmla="*/ 2285 w 6407"/>
                <a:gd name="T75" fmla="*/ 2468 h 2768"/>
                <a:gd name="T76" fmla="*/ 4222 w 6407"/>
                <a:gd name="T77" fmla="*/ 2468 h 2768"/>
                <a:gd name="T78" fmla="*/ 4767 w 6407"/>
                <a:gd name="T79" fmla="*/ 2253 h 2768"/>
                <a:gd name="T80" fmla="*/ 6247 w 6407"/>
                <a:gd name="T81" fmla="*/ 876 h 2768"/>
                <a:gd name="T82" fmla="*/ 6399 w 6407"/>
                <a:gd name="T83" fmla="*/ 497 h 2768"/>
                <a:gd name="T84" fmla="*/ 1168 w 6407"/>
                <a:gd name="T85" fmla="*/ 2518 h 2768"/>
                <a:gd name="T86" fmla="*/ 250 w 6407"/>
                <a:gd name="T87" fmla="*/ 2518 h 2768"/>
                <a:gd name="T88" fmla="*/ 250 w 6407"/>
                <a:gd name="T89" fmla="*/ 541 h 2768"/>
                <a:gd name="T90" fmla="*/ 1168 w 6407"/>
                <a:gd name="T91" fmla="*/ 541 h 2768"/>
                <a:gd name="T92" fmla="*/ 1168 w 6407"/>
                <a:gd name="T93" fmla="*/ 2518 h 2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407" h="2768">
                  <a:moveTo>
                    <a:pt x="6399" y="497"/>
                  </a:moveTo>
                  <a:cubicBezTo>
                    <a:pt x="6391" y="354"/>
                    <a:pt x="6321" y="223"/>
                    <a:pt x="6206" y="138"/>
                  </a:cubicBezTo>
                  <a:cubicBezTo>
                    <a:pt x="6020" y="0"/>
                    <a:pt x="5761" y="14"/>
                    <a:pt x="5592" y="172"/>
                  </a:cubicBezTo>
                  <a:lnTo>
                    <a:pt x="4560" y="1133"/>
                  </a:lnTo>
                  <a:cubicBezTo>
                    <a:pt x="4566" y="922"/>
                    <a:pt x="4427" y="735"/>
                    <a:pt x="4219" y="682"/>
                  </a:cubicBezTo>
                  <a:lnTo>
                    <a:pt x="2958" y="362"/>
                  </a:lnTo>
                  <a:cubicBezTo>
                    <a:pt x="2737" y="306"/>
                    <a:pt x="2506" y="314"/>
                    <a:pt x="2289" y="384"/>
                  </a:cubicBezTo>
                  <a:lnTo>
                    <a:pt x="1418" y="667"/>
                  </a:lnTo>
                  <a:lnTo>
                    <a:pt x="1418" y="416"/>
                  </a:lnTo>
                  <a:cubicBezTo>
                    <a:pt x="1418" y="347"/>
                    <a:pt x="1362" y="291"/>
                    <a:pt x="1293" y="291"/>
                  </a:cubicBezTo>
                  <a:lnTo>
                    <a:pt x="125" y="291"/>
                  </a:lnTo>
                  <a:cubicBezTo>
                    <a:pt x="56" y="291"/>
                    <a:pt x="0" y="347"/>
                    <a:pt x="0" y="416"/>
                  </a:cubicBezTo>
                  <a:lnTo>
                    <a:pt x="0" y="2643"/>
                  </a:lnTo>
                  <a:cubicBezTo>
                    <a:pt x="0" y="2712"/>
                    <a:pt x="56" y="2768"/>
                    <a:pt x="125" y="2768"/>
                  </a:cubicBezTo>
                  <a:lnTo>
                    <a:pt x="1293" y="2768"/>
                  </a:lnTo>
                  <a:cubicBezTo>
                    <a:pt x="1362" y="2768"/>
                    <a:pt x="1418" y="2712"/>
                    <a:pt x="1418" y="2643"/>
                  </a:cubicBezTo>
                  <a:lnTo>
                    <a:pt x="1418" y="930"/>
                  </a:lnTo>
                  <a:lnTo>
                    <a:pt x="2366" y="622"/>
                  </a:lnTo>
                  <a:cubicBezTo>
                    <a:pt x="2538" y="566"/>
                    <a:pt x="2722" y="560"/>
                    <a:pt x="2897" y="605"/>
                  </a:cubicBezTo>
                  <a:lnTo>
                    <a:pt x="4157" y="924"/>
                  </a:lnTo>
                  <a:cubicBezTo>
                    <a:pt x="4255" y="949"/>
                    <a:pt x="4319" y="1040"/>
                    <a:pt x="4309" y="1141"/>
                  </a:cubicBezTo>
                  <a:cubicBezTo>
                    <a:pt x="4299" y="1245"/>
                    <a:pt x="4212" y="1323"/>
                    <a:pt x="4107" y="1323"/>
                  </a:cubicBezTo>
                  <a:lnTo>
                    <a:pt x="3229" y="1323"/>
                  </a:lnTo>
                  <a:cubicBezTo>
                    <a:pt x="3160" y="1323"/>
                    <a:pt x="3104" y="1379"/>
                    <a:pt x="3104" y="1448"/>
                  </a:cubicBezTo>
                  <a:cubicBezTo>
                    <a:pt x="3104" y="1517"/>
                    <a:pt x="3160" y="1573"/>
                    <a:pt x="3229" y="1573"/>
                  </a:cubicBezTo>
                  <a:lnTo>
                    <a:pt x="3498" y="1573"/>
                  </a:lnTo>
                  <a:cubicBezTo>
                    <a:pt x="3503" y="1574"/>
                    <a:pt x="3508" y="1574"/>
                    <a:pt x="3513" y="1574"/>
                  </a:cubicBezTo>
                  <a:lnTo>
                    <a:pt x="4132" y="1574"/>
                  </a:lnTo>
                  <a:cubicBezTo>
                    <a:pt x="4339" y="1574"/>
                    <a:pt x="4536" y="1496"/>
                    <a:pt x="4688" y="1355"/>
                  </a:cubicBezTo>
                  <a:lnTo>
                    <a:pt x="5762" y="355"/>
                  </a:lnTo>
                  <a:cubicBezTo>
                    <a:pt x="5843" y="279"/>
                    <a:pt x="5967" y="272"/>
                    <a:pt x="6057" y="338"/>
                  </a:cubicBezTo>
                  <a:cubicBezTo>
                    <a:pt x="6112" y="379"/>
                    <a:pt x="6146" y="442"/>
                    <a:pt x="6150" y="511"/>
                  </a:cubicBezTo>
                  <a:cubicBezTo>
                    <a:pt x="6154" y="580"/>
                    <a:pt x="6127" y="646"/>
                    <a:pt x="6077" y="693"/>
                  </a:cubicBezTo>
                  <a:lnTo>
                    <a:pt x="4597" y="2070"/>
                  </a:lnTo>
                  <a:cubicBezTo>
                    <a:pt x="4494" y="2165"/>
                    <a:pt x="4361" y="2218"/>
                    <a:pt x="4222" y="2218"/>
                  </a:cubicBezTo>
                  <a:lnTo>
                    <a:pt x="2285" y="2218"/>
                  </a:lnTo>
                  <a:cubicBezTo>
                    <a:pt x="2216" y="2218"/>
                    <a:pt x="2160" y="2274"/>
                    <a:pt x="2160" y="2343"/>
                  </a:cubicBezTo>
                  <a:cubicBezTo>
                    <a:pt x="2160" y="2412"/>
                    <a:pt x="2216" y="2468"/>
                    <a:pt x="2285" y="2468"/>
                  </a:cubicBezTo>
                  <a:lnTo>
                    <a:pt x="4222" y="2468"/>
                  </a:lnTo>
                  <a:cubicBezTo>
                    <a:pt x="4425" y="2468"/>
                    <a:pt x="4618" y="2392"/>
                    <a:pt x="4767" y="2253"/>
                  </a:cubicBezTo>
                  <a:lnTo>
                    <a:pt x="6247" y="876"/>
                  </a:lnTo>
                  <a:cubicBezTo>
                    <a:pt x="6352" y="778"/>
                    <a:pt x="6407" y="640"/>
                    <a:pt x="6399" y="497"/>
                  </a:cubicBezTo>
                  <a:close/>
                  <a:moveTo>
                    <a:pt x="1168" y="2518"/>
                  </a:moveTo>
                  <a:lnTo>
                    <a:pt x="250" y="2518"/>
                  </a:lnTo>
                  <a:lnTo>
                    <a:pt x="250" y="541"/>
                  </a:lnTo>
                  <a:lnTo>
                    <a:pt x="1168" y="541"/>
                  </a:lnTo>
                  <a:lnTo>
                    <a:pt x="1168" y="2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77">
              <a:extLst>
                <a:ext uri="{FF2B5EF4-FFF2-40B4-BE49-F238E27FC236}">
                  <a16:creationId xmlns:a16="http://schemas.microsoft.com/office/drawing/2014/main" id="{FAE47907-AA75-4DE8-817B-AF34890F6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0" y="3371"/>
              <a:ext cx="7" cy="6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7" y="0"/>
                    <a:pt x="125" y="0"/>
                  </a:cubicBezTo>
                  <a:cubicBezTo>
                    <a:pt x="92" y="0"/>
                    <a:pt x="59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7" y="250"/>
                    <a:pt x="190" y="236"/>
                    <a:pt x="213" y="213"/>
                  </a:cubicBezTo>
                  <a:cubicBezTo>
                    <a:pt x="236" y="190"/>
                    <a:pt x="250" y="158"/>
                    <a:pt x="250" y="125"/>
                  </a:cubicBezTo>
                  <a:cubicBezTo>
                    <a:pt x="250" y="92"/>
                    <a:pt x="236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778">
              <a:extLst>
                <a:ext uri="{FF2B5EF4-FFF2-40B4-BE49-F238E27FC236}">
                  <a16:creationId xmlns:a16="http://schemas.microsoft.com/office/drawing/2014/main" id="{8C8ECC16-32C9-4A57-AB98-8845B35B1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67"/>
              <a:ext cx="6" cy="7"/>
            </a:xfrm>
            <a:custGeom>
              <a:avLst/>
              <a:gdLst>
                <a:gd name="T0" fmla="*/ 213 w 250"/>
                <a:gd name="T1" fmla="*/ 36 h 250"/>
                <a:gd name="T2" fmla="*/ 125 w 250"/>
                <a:gd name="T3" fmla="*/ 0 h 250"/>
                <a:gd name="T4" fmla="*/ 36 w 250"/>
                <a:gd name="T5" fmla="*/ 36 h 250"/>
                <a:gd name="T6" fmla="*/ 0 w 250"/>
                <a:gd name="T7" fmla="*/ 125 h 250"/>
                <a:gd name="T8" fmla="*/ 36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6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6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6" y="36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3"/>
                  </a:cubicBezTo>
                  <a:cubicBezTo>
                    <a:pt x="60" y="236"/>
                    <a:pt x="92" y="250"/>
                    <a:pt x="125" y="250"/>
                  </a:cubicBezTo>
                  <a:cubicBezTo>
                    <a:pt x="158" y="250"/>
                    <a:pt x="190" y="236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779">
              <a:extLst>
                <a:ext uri="{FF2B5EF4-FFF2-40B4-BE49-F238E27FC236}">
                  <a16:creationId xmlns:a16="http://schemas.microsoft.com/office/drawing/2014/main" id="{0063CAEC-0DFF-4BA4-AC63-EBA3220A3C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62" y="3214"/>
              <a:ext cx="60" cy="75"/>
            </a:xfrm>
            <a:custGeom>
              <a:avLst/>
              <a:gdLst>
                <a:gd name="T0" fmla="*/ 1125 w 2250"/>
                <a:gd name="T1" fmla="*/ 0 h 2788"/>
                <a:gd name="T2" fmla="*/ 0 w 2250"/>
                <a:gd name="T3" fmla="*/ 1125 h 2788"/>
                <a:gd name="T4" fmla="*/ 375 w 2250"/>
                <a:gd name="T5" fmla="*/ 1500 h 2788"/>
                <a:gd name="T6" fmla="*/ 750 w 2250"/>
                <a:gd name="T7" fmla="*/ 1125 h 2788"/>
                <a:gd name="T8" fmla="*/ 1125 w 2250"/>
                <a:gd name="T9" fmla="*/ 750 h 2788"/>
                <a:gd name="T10" fmla="*/ 1500 w 2250"/>
                <a:gd name="T11" fmla="*/ 1125 h 2788"/>
                <a:gd name="T12" fmla="*/ 1125 w 2250"/>
                <a:gd name="T13" fmla="*/ 1500 h 2788"/>
                <a:gd name="T14" fmla="*/ 750 w 2250"/>
                <a:gd name="T15" fmla="*/ 1875 h 2788"/>
                <a:gd name="T16" fmla="*/ 750 w 2250"/>
                <a:gd name="T17" fmla="*/ 2413 h 2788"/>
                <a:gd name="T18" fmla="*/ 1125 w 2250"/>
                <a:gd name="T19" fmla="*/ 2788 h 2788"/>
                <a:gd name="T20" fmla="*/ 1500 w 2250"/>
                <a:gd name="T21" fmla="*/ 2413 h 2788"/>
                <a:gd name="T22" fmla="*/ 1500 w 2250"/>
                <a:gd name="T23" fmla="*/ 2186 h 2788"/>
                <a:gd name="T24" fmla="*/ 2250 w 2250"/>
                <a:gd name="T25" fmla="*/ 1125 h 2788"/>
                <a:gd name="T26" fmla="*/ 1125 w 2250"/>
                <a:gd name="T27" fmla="*/ 0 h 2788"/>
                <a:gd name="T28" fmla="*/ 1343 w 2250"/>
                <a:gd name="T29" fmla="*/ 1972 h 2788"/>
                <a:gd name="T30" fmla="*/ 1250 w 2250"/>
                <a:gd name="T31" fmla="*/ 2093 h 2788"/>
                <a:gd name="T32" fmla="*/ 1250 w 2250"/>
                <a:gd name="T33" fmla="*/ 2413 h 2788"/>
                <a:gd name="T34" fmla="*/ 1125 w 2250"/>
                <a:gd name="T35" fmla="*/ 2538 h 2788"/>
                <a:gd name="T36" fmla="*/ 1000 w 2250"/>
                <a:gd name="T37" fmla="*/ 2413 h 2788"/>
                <a:gd name="T38" fmla="*/ 1000 w 2250"/>
                <a:gd name="T39" fmla="*/ 1875 h 2788"/>
                <a:gd name="T40" fmla="*/ 1125 w 2250"/>
                <a:gd name="T41" fmla="*/ 1750 h 2788"/>
                <a:gd name="T42" fmla="*/ 1750 w 2250"/>
                <a:gd name="T43" fmla="*/ 1125 h 2788"/>
                <a:gd name="T44" fmla="*/ 1125 w 2250"/>
                <a:gd name="T45" fmla="*/ 500 h 2788"/>
                <a:gd name="T46" fmla="*/ 500 w 2250"/>
                <a:gd name="T47" fmla="*/ 1125 h 2788"/>
                <a:gd name="T48" fmla="*/ 375 w 2250"/>
                <a:gd name="T49" fmla="*/ 1250 h 2788"/>
                <a:gd name="T50" fmla="*/ 250 w 2250"/>
                <a:gd name="T51" fmla="*/ 1125 h 2788"/>
                <a:gd name="T52" fmla="*/ 1125 w 2250"/>
                <a:gd name="T53" fmla="*/ 250 h 2788"/>
                <a:gd name="T54" fmla="*/ 2000 w 2250"/>
                <a:gd name="T55" fmla="*/ 1125 h 2788"/>
                <a:gd name="T56" fmla="*/ 1343 w 2250"/>
                <a:gd name="T57" fmla="*/ 1972 h 2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50" h="2788">
                  <a:moveTo>
                    <a:pt x="1125" y="0"/>
                  </a:moveTo>
                  <a:cubicBezTo>
                    <a:pt x="504" y="0"/>
                    <a:pt x="0" y="505"/>
                    <a:pt x="0" y="1125"/>
                  </a:cubicBezTo>
                  <a:cubicBezTo>
                    <a:pt x="0" y="1332"/>
                    <a:pt x="168" y="1500"/>
                    <a:pt x="375" y="1500"/>
                  </a:cubicBezTo>
                  <a:cubicBezTo>
                    <a:pt x="582" y="1500"/>
                    <a:pt x="750" y="1332"/>
                    <a:pt x="750" y="1125"/>
                  </a:cubicBezTo>
                  <a:cubicBezTo>
                    <a:pt x="750" y="918"/>
                    <a:pt x="918" y="750"/>
                    <a:pt x="1125" y="750"/>
                  </a:cubicBezTo>
                  <a:cubicBezTo>
                    <a:pt x="1332" y="750"/>
                    <a:pt x="1500" y="918"/>
                    <a:pt x="1500" y="1125"/>
                  </a:cubicBezTo>
                  <a:cubicBezTo>
                    <a:pt x="1500" y="1332"/>
                    <a:pt x="1332" y="1500"/>
                    <a:pt x="1125" y="1500"/>
                  </a:cubicBezTo>
                  <a:cubicBezTo>
                    <a:pt x="918" y="1500"/>
                    <a:pt x="750" y="1668"/>
                    <a:pt x="750" y="1875"/>
                  </a:cubicBezTo>
                  <a:lnTo>
                    <a:pt x="750" y="2413"/>
                  </a:lnTo>
                  <a:cubicBezTo>
                    <a:pt x="750" y="2619"/>
                    <a:pt x="918" y="2788"/>
                    <a:pt x="1125" y="2788"/>
                  </a:cubicBezTo>
                  <a:cubicBezTo>
                    <a:pt x="1332" y="2788"/>
                    <a:pt x="1500" y="2619"/>
                    <a:pt x="1500" y="2413"/>
                  </a:cubicBezTo>
                  <a:lnTo>
                    <a:pt x="1500" y="2186"/>
                  </a:lnTo>
                  <a:cubicBezTo>
                    <a:pt x="1946" y="2028"/>
                    <a:pt x="2250" y="1605"/>
                    <a:pt x="2250" y="1125"/>
                  </a:cubicBezTo>
                  <a:cubicBezTo>
                    <a:pt x="2250" y="505"/>
                    <a:pt x="1745" y="0"/>
                    <a:pt x="1125" y="0"/>
                  </a:cubicBezTo>
                  <a:close/>
                  <a:moveTo>
                    <a:pt x="1343" y="1972"/>
                  </a:moveTo>
                  <a:cubicBezTo>
                    <a:pt x="1288" y="1987"/>
                    <a:pt x="1250" y="2036"/>
                    <a:pt x="1250" y="2093"/>
                  </a:cubicBezTo>
                  <a:lnTo>
                    <a:pt x="1250" y="2413"/>
                  </a:lnTo>
                  <a:cubicBezTo>
                    <a:pt x="1250" y="2481"/>
                    <a:pt x="1194" y="2538"/>
                    <a:pt x="1125" y="2538"/>
                  </a:cubicBezTo>
                  <a:cubicBezTo>
                    <a:pt x="1056" y="2538"/>
                    <a:pt x="1000" y="2481"/>
                    <a:pt x="1000" y="2413"/>
                  </a:cubicBezTo>
                  <a:lnTo>
                    <a:pt x="1000" y="1875"/>
                  </a:lnTo>
                  <a:cubicBezTo>
                    <a:pt x="1000" y="1806"/>
                    <a:pt x="1056" y="1750"/>
                    <a:pt x="1125" y="1750"/>
                  </a:cubicBezTo>
                  <a:cubicBezTo>
                    <a:pt x="1469" y="1750"/>
                    <a:pt x="1750" y="1470"/>
                    <a:pt x="1750" y="1125"/>
                  </a:cubicBezTo>
                  <a:cubicBezTo>
                    <a:pt x="1750" y="781"/>
                    <a:pt x="1469" y="500"/>
                    <a:pt x="1125" y="500"/>
                  </a:cubicBezTo>
                  <a:cubicBezTo>
                    <a:pt x="780" y="500"/>
                    <a:pt x="500" y="781"/>
                    <a:pt x="500" y="1125"/>
                  </a:cubicBezTo>
                  <a:cubicBezTo>
                    <a:pt x="500" y="1194"/>
                    <a:pt x="444" y="1250"/>
                    <a:pt x="375" y="1250"/>
                  </a:cubicBezTo>
                  <a:cubicBezTo>
                    <a:pt x="306" y="1250"/>
                    <a:pt x="250" y="1194"/>
                    <a:pt x="250" y="1125"/>
                  </a:cubicBezTo>
                  <a:cubicBezTo>
                    <a:pt x="250" y="643"/>
                    <a:pt x="642" y="250"/>
                    <a:pt x="1125" y="250"/>
                  </a:cubicBezTo>
                  <a:cubicBezTo>
                    <a:pt x="1607" y="250"/>
                    <a:pt x="2000" y="643"/>
                    <a:pt x="2000" y="1125"/>
                  </a:cubicBezTo>
                  <a:cubicBezTo>
                    <a:pt x="2000" y="1524"/>
                    <a:pt x="1730" y="1873"/>
                    <a:pt x="1343" y="197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780">
              <a:extLst>
                <a:ext uri="{FF2B5EF4-FFF2-40B4-BE49-F238E27FC236}">
                  <a16:creationId xmlns:a16="http://schemas.microsoft.com/office/drawing/2014/main" id="{3C52E6F7-3C52-4E7A-A1DD-5D334E29A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82" y="3296"/>
              <a:ext cx="20" cy="20"/>
            </a:xfrm>
            <a:custGeom>
              <a:avLst/>
              <a:gdLst>
                <a:gd name="T0" fmla="*/ 640 w 750"/>
                <a:gd name="T1" fmla="*/ 110 h 750"/>
                <a:gd name="T2" fmla="*/ 375 w 750"/>
                <a:gd name="T3" fmla="*/ 0 h 750"/>
                <a:gd name="T4" fmla="*/ 110 w 750"/>
                <a:gd name="T5" fmla="*/ 109 h 750"/>
                <a:gd name="T6" fmla="*/ 0 w 750"/>
                <a:gd name="T7" fmla="*/ 375 h 750"/>
                <a:gd name="T8" fmla="*/ 110 w 750"/>
                <a:gd name="T9" fmla="*/ 640 h 750"/>
                <a:gd name="T10" fmla="*/ 375 w 750"/>
                <a:gd name="T11" fmla="*/ 750 h 750"/>
                <a:gd name="T12" fmla="*/ 640 w 750"/>
                <a:gd name="T13" fmla="*/ 640 h 750"/>
                <a:gd name="T14" fmla="*/ 750 w 750"/>
                <a:gd name="T15" fmla="*/ 375 h 750"/>
                <a:gd name="T16" fmla="*/ 640 w 750"/>
                <a:gd name="T17" fmla="*/ 110 h 750"/>
                <a:gd name="T18" fmla="*/ 463 w 750"/>
                <a:gd name="T19" fmla="*/ 463 h 750"/>
                <a:gd name="T20" fmla="*/ 375 w 750"/>
                <a:gd name="T21" fmla="*/ 500 h 750"/>
                <a:gd name="T22" fmla="*/ 286 w 750"/>
                <a:gd name="T23" fmla="*/ 463 h 750"/>
                <a:gd name="T24" fmla="*/ 250 w 750"/>
                <a:gd name="T25" fmla="*/ 375 h 750"/>
                <a:gd name="T26" fmla="*/ 287 w 750"/>
                <a:gd name="T27" fmla="*/ 286 h 750"/>
                <a:gd name="T28" fmla="*/ 375 w 750"/>
                <a:gd name="T29" fmla="*/ 250 h 750"/>
                <a:gd name="T30" fmla="*/ 463 w 750"/>
                <a:gd name="T31" fmla="*/ 286 h 750"/>
                <a:gd name="T32" fmla="*/ 500 w 750"/>
                <a:gd name="T33" fmla="*/ 375 h 750"/>
                <a:gd name="T34" fmla="*/ 463 w 750"/>
                <a:gd name="T35" fmla="*/ 463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50" h="750">
                  <a:moveTo>
                    <a:pt x="640" y="110"/>
                  </a:moveTo>
                  <a:cubicBezTo>
                    <a:pt x="570" y="40"/>
                    <a:pt x="474" y="0"/>
                    <a:pt x="375" y="0"/>
                  </a:cubicBezTo>
                  <a:cubicBezTo>
                    <a:pt x="276" y="0"/>
                    <a:pt x="179" y="40"/>
                    <a:pt x="110" y="109"/>
                  </a:cubicBezTo>
                  <a:cubicBezTo>
                    <a:pt x="40" y="179"/>
                    <a:pt x="0" y="276"/>
                    <a:pt x="0" y="375"/>
                  </a:cubicBezTo>
                  <a:cubicBezTo>
                    <a:pt x="0" y="473"/>
                    <a:pt x="40" y="570"/>
                    <a:pt x="110" y="640"/>
                  </a:cubicBezTo>
                  <a:cubicBezTo>
                    <a:pt x="179" y="710"/>
                    <a:pt x="276" y="750"/>
                    <a:pt x="375" y="750"/>
                  </a:cubicBezTo>
                  <a:cubicBezTo>
                    <a:pt x="473" y="750"/>
                    <a:pt x="570" y="709"/>
                    <a:pt x="640" y="640"/>
                  </a:cubicBezTo>
                  <a:cubicBezTo>
                    <a:pt x="710" y="570"/>
                    <a:pt x="750" y="473"/>
                    <a:pt x="750" y="375"/>
                  </a:cubicBezTo>
                  <a:cubicBezTo>
                    <a:pt x="750" y="276"/>
                    <a:pt x="710" y="179"/>
                    <a:pt x="640" y="110"/>
                  </a:cubicBezTo>
                  <a:close/>
                  <a:moveTo>
                    <a:pt x="463" y="463"/>
                  </a:moveTo>
                  <a:cubicBezTo>
                    <a:pt x="440" y="486"/>
                    <a:pt x="407" y="500"/>
                    <a:pt x="375" y="500"/>
                  </a:cubicBezTo>
                  <a:cubicBezTo>
                    <a:pt x="342" y="500"/>
                    <a:pt x="309" y="486"/>
                    <a:pt x="286" y="463"/>
                  </a:cubicBezTo>
                  <a:cubicBezTo>
                    <a:pt x="263" y="440"/>
                    <a:pt x="250" y="407"/>
                    <a:pt x="250" y="375"/>
                  </a:cubicBezTo>
                  <a:cubicBezTo>
                    <a:pt x="250" y="342"/>
                    <a:pt x="263" y="309"/>
                    <a:pt x="287" y="286"/>
                  </a:cubicBezTo>
                  <a:cubicBezTo>
                    <a:pt x="309" y="263"/>
                    <a:pt x="342" y="250"/>
                    <a:pt x="375" y="250"/>
                  </a:cubicBezTo>
                  <a:cubicBezTo>
                    <a:pt x="407" y="250"/>
                    <a:pt x="440" y="263"/>
                    <a:pt x="463" y="286"/>
                  </a:cubicBezTo>
                  <a:cubicBezTo>
                    <a:pt x="486" y="309"/>
                    <a:pt x="500" y="342"/>
                    <a:pt x="500" y="375"/>
                  </a:cubicBezTo>
                  <a:cubicBezTo>
                    <a:pt x="500" y="407"/>
                    <a:pt x="486" y="440"/>
                    <a:pt x="463" y="46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81">
              <a:extLst>
                <a:ext uri="{FF2B5EF4-FFF2-40B4-BE49-F238E27FC236}">
                  <a16:creationId xmlns:a16="http://schemas.microsoft.com/office/drawing/2014/main" id="{BB2EB8A1-01CA-4AD9-AF7C-B031940E0C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" y="3333"/>
              <a:ext cx="6" cy="28"/>
            </a:xfrm>
            <a:custGeom>
              <a:avLst/>
              <a:gdLst>
                <a:gd name="T0" fmla="*/ 125 w 250"/>
                <a:gd name="T1" fmla="*/ 0 h 1044"/>
                <a:gd name="T2" fmla="*/ 0 w 250"/>
                <a:gd name="T3" fmla="*/ 125 h 1044"/>
                <a:gd name="T4" fmla="*/ 0 w 250"/>
                <a:gd name="T5" fmla="*/ 919 h 1044"/>
                <a:gd name="T6" fmla="*/ 125 w 250"/>
                <a:gd name="T7" fmla="*/ 1044 h 1044"/>
                <a:gd name="T8" fmla="*/ 250 w 250"/>
                <a:gd name="T9" fmla="*/ 919 h 1044"/>
                <a:gd name="T10" fmla="*/ 250 w 250"/>
                <a:gd name="T11" fmla="*/ 125 h 1044"/>
                <a:gd name="T12" fmla="*/ 125 w 250"/>
                <a:gd name="T13" fmla="*/ 0 h 1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0" h="1044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lnTo>
                    <a:pt x="0" y="919"/>
                  </a:lnTo>
                  <a:cubicBezTo>
                    <a:pt x="0" y="988"/>
                    <a:pt x="56" y="1044"/>
                    <a:pt x="125" y="1044"/>
                  </a:cubicBezTo>
                  <a:cubicBezTo>
                    <a:pt x="194" y="1044"/>
                    <a:pt x="250" y="988"/>
                    <a:pt x="250" y="919"/>
                  </a:cubicBezTo>
                  <a:lnTo>
                    <a:pt x="250" y="125"/>
                  </a:ln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91F040B-1D6D-468E-ADE0-12357B72FA51}"/>
              </a:ext>
            </a:extLst>
          </p:cNvPr>
          <p:cNvSpPr/>
          <p:nvPr/>
        </p:nvSpPr>
        <p:spPr>
          <a:xfrm>
            <a:off x="2067098" y="2346852"/>
            <a:ext cx="9681990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</a:t>
            </a:r>
            <a:endParaRPr lang="ru-RU" altLang="en-US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uz-Cyrl-UZ" alt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қ</a:t>
            </a:r>
            <a:endParaRPr lang="ru-RU" alt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8F355DB-55FA-434B-9EF1-8B27D5E2A75C}"/>
              </a:ext>
            </a:extLst>
          </p:cNvPr>
          <p:cNvSpPr/>
          <p:nvPr/>
        </p:nvSpPr>
        <p:spPr>
          <a:xfrm>
            <a:off x="1644268" y="2335029"/>
            <a:ext cx="241072" cy="241072"/>
          </a:xfrm>
          <a:prstGeom prst="ellipse">
            <a:avLst/>
          </a:pr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a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13450E2-5A44-4190-AB4B-53AFD1A34830}"/>
              </a:ext>
            </a:extLst>
          </p:cNvPr>
          <p:cNvSpPr/>
          <p:nvPr/>
        </p:nvSpPr>
        <p:spPr>
          <a:xfrm>
            <a:off x="1644268" y="2667446"/>
            <a:ext cx="241072" cy="241072"/>
          </a:xfrm>
          <a:prstGeom prst="ellipse">
            <a:avLst/>
          </a:prstGeom>
          <a:solidFill>
            <a:srgbClr val="241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/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419084475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9D7133-6476-477B-82D9-AB4A3A0F9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Манбалар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5E2F86-7DD9-48ED-B2F5-D55C936E98D9}"/>
              </a:ext>
            </a:extLst>
          </p:cNvPr>
          <p:cNvSpPr txBox="1">
            <a:spLocks/>
          </p:cNvSpPr>
          <p:nvPr/>
        </p:nvSpPr>
        <p:spPr>
          <a:xfrm>
            <a:off x="441386" y="1282700"/>
            <a:ext cx="5583177" cy="49911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0" dirty="0">
                <a:solidFill>
                  <a:srgbClr val="2414BC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rruption Definition &amp; Meaning - Merriam-Webster</a:t>
            </a:r>
            <a:endParaRPr lang="en-US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at is corruption? - Transparency.org</a:t>
            </a:r>
            <a:endParaRPr lang="en-US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rruption noun - Definition, pictures, pronunciation and usage notes | Oxford Advanced Learner's Dictionary at OxfordLearnersDictionaries.com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ticorruption Fact Sheet (worldbank.org)</a:t>
            </a:r>
            <a:endParaRPr lang="en-US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rruption | law | Britannica</a:t>
            </a:r>
            <a:endParaRPr lang="en-US" sz="900" b="0" dirty="0">
              <a:solidFill>
                <a:srgbClr val="2414BC"/>
              </a:solidFill>
            </a:endParaRPr>
          </a:p>
          <a:p>
            <a:r>
              <a:rPr lang="ru-RU" sz="900" b="0" dirty="0">
                <a:solidFill>
                  <a:srgbClr val="2414BC"/>
                </a:solidFill>
              </a:rPr>
              <a:t>Толковый словарь Ожегова</a:t>
            </a:r>
          </a:p>
          <a:p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Бирлашган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иллатлар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Ташкилотининг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Коррупцияга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қарши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конвенцияси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-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Конвенциялар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ва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битимлар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-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Декларациялар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конвенциялар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битимлар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ва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бошқа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ҳуқуқий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атериаллар</a:t>
            </a:r>
            <a:r>
              <a:rPr lang="ru-RU" sz="900" b="0" dirty="0">
                <a:solidFill>
                  <a:srgbClr val="2414BC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un.org)</a:t>
            </a:r>
            <a:endParaRPr lang="en-US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TS 174 - Civil Law Convention on Corruption (coe.int)</a:t>
            </a:r>
            <a:r>
              <a:rPr lang="en-US" sz="900" b="0" dirty="0">
                <a:solidFill>
                  <a:srgbClr val="2414BC"/>
                </a:solidFill>
              </a:rPr>
              <a:t> Article 2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ru-RU" sz="900" b="0" dirty="0">
                <a:solidFill>
                  <a:srgbClr val="2414BC"/>
                </a:solidFill>
              </a:rPr>
              <a:t>273 ФЗ - </a:t>
            </a:r>
            <a:r>
              <a:rPr lang="ru-RU" sz="900" b="0" dirty="0" err="1">
                <a:solidFill>
                  <a:srgbClr val="2414BC"/>
                </a:solidFill>
              </a:rPr>
              <a:t>ҳавола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flicts of interest, corruption and fraud: what are the connections? | Conflict of Interest Blog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ru-RU" sz="900" b="0" dirty="0">
                <a:solidFill>
                  <a:srgbClr val="2414BC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Коррупция как социально-правовое явление | «Молодой ученый» </a:t>
            </a:r>
            <a:r>
              <a:rPr lang="ru-RU" sz="900" b="0" dirty="0" err="1">
                <a:solidFill>
                  <a:srgbClr val="2414BC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журналида</a:t>
            </a:r>
            <a:r>
              <a:rPr lang="ru-RU" sz="900" b="0" dirty="0">
                <a:solidFill>
                  <a:srgbClr val="2414BC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ақола</a:t>
            </a:r>
            <a:r>
              <a:rPr lang="ru-RU" sz="900" b="0" dirty="0">
                <a:solidFill>
                  <a:srgbClr val="2414BC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(moluch.ru)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6806efe97 (coe.int)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ticorruption Fact Sheet (worldbank.org)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ODC and corruption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ti-Corruption_Module_1_What_Is_Corruption_and_Why_Should_We_Care.pdf (unodc.org)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ti-Corruption_Module_4_Public_Sector_Corruption.pdf (unodc.org)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PDF) Fraud and Corruption (researchgate.net)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ru-RU" sz="900" b="0" dirty="0">
                <a:solidFill>
                  <a:srgbClr val="2414BC"/>
                </a:solidFill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одели коррупции и «социальная ловушка» - Теоретические подходы к методическому обеспечению антикоррупционной политики (studbooks.net)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ru-RU" sz="900" b="0" dirty="0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1.12.1995. </a:t>
            </a:r>
            <a:r>
              <a:rPr lang="ru-RU" sz="900" b="0" dirty="0" err="1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Ўзбекистон</a:t>
            </a:r>
            <a:r>
              <a:rPr lang="ru-RU" sz="900" b="0" dirty="0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Республикаси</a:t>
            </a:r>
            <a:r>
              <a:rPr lang="ru-RU" sz="900" b="0" dirty="0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Фуқаролик</a:t>
            </a:r>
            <a:r>
              <a:rPr lang="ru-RU" sz="900" b="0" dirty="0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кодекси</a:t>
            </a:r>
            <a:r>
              <a:rPr lang="ru-RU" sz="900" b="0" dirty="0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(</a:t>
            </a:r>
            <a:r>
              <a:rPr lang="ru-RU" sz="900" b="0" dirty="0" err="1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биринчи</a:t>
            </a:r>
            <a:r>
              <a:rPr lang="ru-RU" sz="900" b="0" dirty="0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қисм</a:t>
            </a:r>
            <a:r>
              <a:rPr lang="ru-RU" sz="900" b="0" dirty="0">
                <a:solidFill>
                  <a:srgbClr val="2414BC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) (lex.uz)</a:t>
            </a:r>
            <a:endParaRPr lang="en-US" sz="900" b="0" dirty="0">
              <a:solidFill>
                <a:srgbClr val="2414BC"/>
              </a:solidFill>
            </a:endParaRPr>
          </a:p>
          <a:p>
            <a:r>
              <a:rPr lang="ru-RU" sz="900" b="0" dirty="0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2.09.1994. </a:t>
            </a:r>
            <a:r>
              <a:rPr lang="ru-RU" sz="900" b="0" dirty="0" err="1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Ўзбекистон</a:t>
            </a:r>
            <a:r>
              <a:rPr lang="ru-RU" sz="900" b="0" dirty="0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Республикаси</a:t>
            </a:r>
            <a:r>
              <a:rPr lang="ru-RU" sz="900" b="0" dirty="0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аъмурий</a:t>
            </a:r>
            <a:r>
              <a:rPr lang="ru-RU" sz="900" b="0" dirty="0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жавобгарлик</a:t>
            </a:r>
            <a:r>
              <a:rPr lang="ru-RU" sz="900" b="0" dirty="0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тўғрисидаги</a:t>
            </a:r>
            <a:r>
              <a:rPr lang="ru-RU" sz="900" b="0" dirty="0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кодекси</a:t>
            </a:r>
            <a:r>
              <a:rPr lang="ru-RU" sz="900" b="0" dirty="0">
                <a:solidFill>
                  <a:srgbClr val="2414BC"/>
                </a:solidFill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(lex.uz)</a:t>
            </a:r>
            <a:endParaRPr lang="en-US" sz="900" b="0" dirty="0">
              <a:solidFill>
                <a:srgbClr val="2414BC"/>
              </a:solidFill>
            </a:endParaRPr>
          </a:p>
          <a:p>
            <a:r>
              <a:rPr lang="ru-RU" sz="900" b="0" dirty="0">
                <a:solidFill>
                  <a:srgbClr val="2414BC"/>
                </a:solidFill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2.09.1994. </a:t>
            </a:r>
            <a:r>
              <a:rPr lang="ru-RU" sz="900" b="0" dirty="0" err="1">
                <a:solidFill>
                  <a:srgbClr val="2414BC"/>
                </a:solidFill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Ўзбекистон</a:t>
            </a:r>
            <a:r>
              <a:rPr lang="ru-RU" sz="900" b="0" dirty="0">
                <a:solidFill>
                  <a:srgbClr val="2414BC"/>
                </a:solidFill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Республикаси</a:t>
            </a:r>
            <a:r>
              <a:rPr lang="ru-RU" sz="900" b="0" dirty="0">
                <a:solidFill>
                  <a:srgbClr val="2414BC"/>
                </a:solidFill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Жиноят</a:t>
            </a:r>
            <a:r>
              <a:rPr lang="ru-RU" sz="900" b="0" dirty="0">
                <a:solidFill>
                  <a:srgbClr val="2414BC"/>
                </a:solidFill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кодекси</a:t>
            </a:r>
            <a:r>
              <a:rPr lang="ru-RU" sz="900" b="0" dirty="0">
                <a:solidFill>
                  <a:srgbClr val="2414BC"/>
                </a:solidFill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(lex.uz)</a:t>
            </a:r>
            <a:endParaRPr lang="en-US" sz="900" b="0" dirty="0">
              <a:solidFill>
                <a:srgbClr val="2414BC"/>
              </a:solidFill>
            </a:endParaRPr>
          </a:p>
          <a:p>
            <a:r>
              <a:rPr lang="en-US" sz="900" b="0" dirty="0">
                <a:solidFill>
                  <a:srgbClr val="2414BC"/>
                </a:solidFill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history.kemsu.ru/images/document/studentu/Korruptsiya_elektronnoe_posobie.pdf</a:t>
            </a:r>
            <a:endParaRPr lang="ru-RU" sz="900" b="0" dirty="0">
              <a:solidFill>
                <a:srgbClr val="2414BC"/>
              </a:solidFill>
            </a:endParaRPr>
          </a:p>
          <a:p>
            <a:r>
              <a:rPr lang="ru-RU" sz="900" b="0" dirty="0" err="1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Декларациялар</a:t>
            </a:r>
            <a:r>
              <a:rPr lang="ru-RU" sz="900" b="0" dirty="0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ru-RU" sz="900" b="0" dirty="0" err="1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конвенциялар</a:t>
            </a:r>
            <a:r>
              <a:rPr lang="ru-RU" sz="900" b="0" dirty="0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ru-RU" sz="900" b="0" dirty="0" err="1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битимлар</a:t>
            </a:r>
            <a:r>
              <a:rPr lang="ru-RU" sz="900" b="0" dirty="0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ва</a:t>
            </a:r>
            <a:r>
              <a:rPr lang="ru-RU" sz="900" b="0" dirty="0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бошқа</a:t>
            </a:r>
            <a:r>
              <a:rPr lang="ru-RU" sz="900" b="0" dirty="0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ҳуқуқий</a:t>
            </a:r>
            <a:r>
              <a:rPr lang="ru-RU" sz="900" b="0" dirty="0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ru-RU" sz="900" b="0" dirty="0" err="1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материаллар</a:t>
            </a:r>
            <a:r>
              <a:rPr lang="ru-RU" sz="900" b="0" dirty="0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(un.</a:t>
            </a:r>
            <a:r>
              <a:rPr lang="ru-RU" sz="900" b="0">
                <a:solidFill>
                  <a:srgbClr val="2414BC"/>
                </a:solidFill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rg)</a:t>
            </a:r>
            <a:r>
              <a:rPr lang="ru-RU" sz="900" b="0">
                <a:solidFill>
                  <a:srgbClr val="2414BC"/>
                </a:solidFill>
              </a:rPr>
              <a:t>, </a:t>
            </a:r>
            <a:r>
              <a:rPr lang="ru-RU" sz="900" b="0" dirty="0">
                <a:solidFill>
                  <a:srgbClr val="2414BC"/>
                </a:solidFill>
              </a:rPr>
              <a:t>7 </a:t>
            </a:r>
            <a:r>
              <a:rPr lang="ru-RU" sz="900" b="0" dirty="0" err="1">
                <a:solidFill>
                  <a:srgbClr val="2414BC"/>
                </a:solidFill>
              </a:rPr>
              <a:t>модда</a:t>
            </a:r>
            <a:endParaRPr lang="en-US" sz="900" b="0" dirty="0">
              <a:solidFill>
                <a:srgbClr val="2414BC"/>
              </a:solidFill>
            </a:endParaRPr>
          </a:p>
          <a:p>
            <a:endParaRPr lang="en-US" sz="900" b="0" dirty="0">
              <a:solidFill>
                <a:srgbClr val="2414BC"/>
              </a:solidFill>
            </a:endParaRPr>
          </a:p>
          <a:p>
            <a:endParaRPr lang="en-US" sz="900" b="0" dirty="0">
              <a:solidFill>
                <a:srgbClr val="2414B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668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2C6541-2A31-4E7F-B834-4CE389EA3A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3600" dirty="0" err="1"/>
              <a:t>Ўзбекистон</a:t>
            </a:r>
            <a:r>
              <a:rPr lang="ru-RU" sz="3600" dirty="0"/>
              <a:t> </a:t>
            </a:r>
            <a:r>
              <a:rPr lang="ru-RU" sz="3600" dirty="0" err="1"/>
              <a:t>Республикаси</a:t>
            </a:r>
            <a:r>
              <a:rPr lang="ru-RU" sz="3600" dirty="0"/>
              <a:t> </a:t>
            </a:r>
            <a:r>
              <a:rPr lang="ru-RU" sz="3600" dirty="0" err="1"/>
              <a:t>қонунчилигида</a:t>
            </a:r>
            <a:r>
              <a:rPr lang="ru-RU" sz="3600" dirty="0"/>
              <a:t> коррупция </a:t>
            </a:r>
            <a:r>
              <a:rPr lang="ru-RU" sz="3600" dirty="0" err="1"/>
              <a:t>тушунчаси</a:t>
            </a:r>
            <a:r>
              <a:rPr lang="ru-RU" sz="3600" dirty="0"/>
              <a:t>: </a:t>
            </a:r>
            <a:r>
              <a:rPr lang="ru-RU" sz="3600" dirty="0" err="1"/>
              <a:t>корруция</a:t>
            </a:r>
            <a:r>
              <a:rPr lang="ru-RU" sz="3600" dirty="0"/>
              <a:t> </a:t>
            </a:r>
            <a:r>
              <a:rPr lang="ru-RU" sz="3600" dirty="0" err="1"/>
              <a:t>тизимини</a:t>
            </a:r>
            <a:r>
              <a:rPr lang="ru-RU" sz="3600" dirty="0"/>
              <a:t> </a:t>
            </a:r>
            <a:r>
              <a:rPr lang="ru-RU" sz="3600" dirty="0" err="1"/>
              <a:t>ташкил</a:t>
            </a:r>
            <a:r>
              <a:rPr lang="ru-RU" sz="3600" dirty="0"/>
              <a:t> </a:t>
            </a:r>
            <a:r>
              <a:rPr lang="ru-RU" sz="3600" dirty="0" err="1"/>
              <a:t>этувчи</a:t>
            </a:r>
            <a:r>
              <a:rPr lang="ru-RU" sz="3600" dirty="0"/>
              <a:t> </a:t>
            </a:r>
            <a:r>
              <a:rPr lang="ru-RU" sz="3600" dirty="0" err="1"/>
              <a:t>элементлар</a:t>
            </a:r>
            <a:endParaRPr lang="en-US" sz="360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333D687-296F-40F9-8582-C3ACB555A0C9}"/>
              </a:ext>
            </a:extLst>
          </p:cNvPr>
          <p:cNvSpPr txBox="1">
            <a:spLocks/>
          </p:cNvSpPr>
          <p:nvPr/>
        </p:nvSpPr>
        <p:spPr>
          <a:xfrm>
            <a:off x="350378" y="5223794"/>
            <a:ext cx="2020192" cy="15216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9600" b="1" dirty="0">
                <a:solidFill>
                  <a:srgbClr val="1BD7D3"/>
                </a:solidFill>
                <a:latin typeface="Arial Black" panose="020B0A04020102020204" pitchFamily="34" charset="0"/>
              </a:rPr>
              <a:t>2.</a:t>
            </a:r>
            <a:endParaRPr lang="en-US" sz="9600" b="1" dirty="0">
              <a:solidFill>
                <a:srgbClr val="1BD7D3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06470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57742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623A7B-280E-4E26-B187-56493F9EF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err="1"/>
              <a:t>Ўзбекистон</a:t>
            </a:r>
            <a:r>
              <a:rPr lang="ru-RU" dirty="0"/>
              <a:t> </a:t>
            </a:r>
            <a:r>
              <a:rPr lang="ru-RU" dirty="0" err="1"/>
              <a:t>Республикаси</a:t>
            </a:r>
            <a:r>
              <a:rPr lang="ru-RU" dirty="0"/>
              <a:t> </a:t>
            </a:r>
            <a:r>
              <a:rPr lang="ru-RU" dirty="0" err="1"/>
              <a:t>қонунчилигида</a:t>
            </a:r>
            <a:r>
              <a:rPr lang="ru-RU" dirty="0"/>
              <a:t> </a:t>
            </a:r>
            <a:r>
              <a:rPr lang="ru-RU" dirty="0" err="1"/>
              <a:t>корруция</a:t>
            </a:r>
            <a:r>
              <a:rPr lang="ru-RU" dirty="0"/>
              <a:t> </a:t>
            </a:r>
            <a:r>
              <a:rPr lang="ru-RU" dirty="0" err="1"/>
              <a:t>тушунчаси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object 12">
            <a:extLst>
              <a:ext uri="{FF2B5EF4-FFF2-40B4-BE49-F238E27FC236}">
                <a16:creationId xmlns:a16="http://schemas.microsoft.com/office/drawing/2014/main" id="{4D1F26CA-611E-40E8-9AC3-707B053EB943}"/>
              </a:ext>
            </a:extLst>
          </p:cNvPr>
          <p:cNvSpPr/>
          <p:nvPr/>
        </p:nvSpPr>
        <p:spPr>
          <a:xfrm>
            <a:off x="438150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DD7B590-BC17-4001-BEBE-787A2C0C045D}"/>
              </a:ext>
            </a:extLst>
          </p:cNvPr>
          <p:cNvSpPr/>
          <p:nvPr/>
        </p:nvSpPr>
        <p:spPr>
          <a:xfrm>
            <a:off x="1445876" y="1271670"/>
            <a:ext cx="103234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000" b="1" dirty="0" err="1">
                <a:solidFill>
                  <a:srgbClr val="49A9F6"/>
                </a:solidFill>
              </a:rPr>
              <a:t>Ўзбекистон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Республикасининг</a:t>
            </a:r>
            <a:r>
              <a:rPr lang="ru-RU" sz="2000" b="1" dirty="0">
                <a:solidFill>
                  <a:srgbClr val="49A9F6"/>
                </a:solidFill>
              </a:rPr>
              <a:t> 03.01.2017 </a:t>
            </a:r>
            <a:r>
              <a:rPr lang="ru-RU" sz="2000" b="1" dirty="0" err="1">
                <a:solidFill>
                  <a:srgbClr val="49A9F6"/>
                </a:solidFill>
              </a:rPr>
              <a:t>йилдаги</a:t>
            </a:r>
            <a:r>
              <a:rPr lang="ru-RU" sz="2000" b="1" dirty="0">
                <a:solidFill>
                  <a:srgbClr val="49A9F6"/>
                </a:solidFill>
              </a:rPr>
              <a:t> ЎРҚ-419-сон </a:t>
            </a:r>
            <a:r>
              <a:rPr lang="ru-RU" sz="2000" b="1" dirty="0" err="1">
                <a:solidFill>
                  <a:srgbClr val="49A9F6"/>
                </a:solidFill>
              </a:rPr>
              <a:t>Қонунид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коррупцияг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оид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асосий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тушунчалар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белгиланган</a:t>
            </a:r>
            <a:r>
              <a:rPr lang="ru-RU" sz="2000" b="1" dirty="0">
                <a:solidFill>
                  <a:srgbClr val="49A9F6"/>
                </a:solidFill>
              </a:rPr>
              <a:t>:</a:t>
            </a:r>
          </a:p>
        </p:txBody>
      </p:sp>
      <p:grpSp>
        <p:nvGrpSpPr>
          <p:cNvPr id="39" name="Group 44">
            <a:extLst>
              <a:ext uri="{FF2B5EF4-FFF2-40B4-BE49-F238E27FC236}">
                <a16:creationId xmlns:a16="http://schemas.microsoft.com/office/drawing/2014/main" id="{0A179291-C4D1-41D4-9C42-C29A0744F40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9281" y="1283751"/>
            <a:ext cx="656158" cy="648893"/>
            <a:chOff x="2326" y="2390"/>
            <a:chExt cx="271" cy="268"/>
          </a:xfrm>
          <a:solidFill>
            <a:schemeClr val="bg2">
              <a:lumMod val="25000"/>
            </a:schemeClr>
          </a:solidFill>
        </p:grpSpPr>
        <p:sp>
          <p:nvSpPr>
            <p:cNvPr id="45" name="Freeform 45">
              <a:extLst>
                <a:ext uri="{FF2B5EF4-FFF2-40B4-BE49-F238E27FC236}">
                  <a16:creationId xmlns:a16="http://schemas.microsoft.com/office/drawing/2014/main" id="{6FCE9E9D-8C21-47FE-AB25-1BD8515FD9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6" y="2390"/>
              <a:ext cx="271" cy="268"/>
            </a:xfrm>
            <a:custGeom>
              <a:avLst/>
              <a:gdLst>
                <a:gd name="T0" fmla="*/ 8533 w 8533"/>
                <a:gd name="T1" fmla="*/ 5179 h 8434"/>
                <a:gd name="T2" fmla="*/ 7300 w 8533"/>
                <a:gd name="T3" fmla="*/ 3267 h 8434"/>
                <a:gd name="T4" fmla="*/ 5463 w 8533"/>
                <a:gd name="T5" fmla="*/ 1136 h 8434"/>
                <a:gd name="T6" fmla="*/ 5661 w 8533"/>
                <a:gd name="T7" fmla="*/ 1386 h 8434"/>
                <a:gd name="T8" fmla="*/ 6780 w 8533"/>
                <a:gd name="T9" fmla="*/ 2784 h 8434"/>
                <a:gd name="T10" fmla="*/ 5577 w 8533"/>
                <a:gd name="T11" fmla="*/ 1614 h 8434"/>
                <a:gd name="T12" fmla="*/ 4572 w 8533"/>
                <a:gd name="T13" fmla="*/ 2058 h 8434"/>
                <a:gd name="T14" fmla="*/ 3871 w 8533"/>
                <a:gd name="T15" fmla="*/ 2011 h 8434"/>
                <a:gd name="T16" fmla="*/ 1753 w 8533"/>
                <a:gd name="T17" fmla="*/ 2784 h 8434"/>
                <a:gd name="T18" fmla="*/ 2873 w 8533"/>
                <a:gd name="T19" fmla="*/ 1386 h 8434"/>
                <a:gd name="T20" fmla="*/ 4268 w 8533"/>
                <a:gd name="T21" fmla="*/ 1386 h 8434"/>
                <a:gd name="T22" fmla="*/ 4908 w 8533"/>
                <a:gd name="T23" fmla="*/ 1136 h 8434"/>
                <a:gd name="T24" fmla="*/ 4648 w 8533"/>
                <a:gd name="T25" fmla="*/ 386 h 8434"/>
                <a:gd name="T26" fmla="*/ 3885 w 8533"/>
                <a:gd name="T27" fmla="*/ 381 h 8434"/>
                <a:gd name="T28" fmla="*/ 4142 w 8533"/>
                <a:gd name="T29" fmla="*/ 1136 h 8434"/>
                <a:gd name="T30" fmla="*/ 1233 w 8533"/>
                <a:gd name="T31" fmla="*/ 3267 h 8434"/>
                <a:gd name="T32" fmla="*/ 910 w 8533"/>
                <a:gd name="T33" fmla="*/ 6091 h 8434"/>
                <a:gd name="T34" fmla="*/ 2717 w 8533"/>
                <a:gd name="T35" fmla="*/ 5182 h 8434"/>
                <a:gd name="T36" fmla="*/ 2716 w 8533"/>
                <a:gd name="T37" fmla="*/ 5170 h 8434"/>
                <a:gd name="T38" fmla="*/ 2003 w 8533"/>
                <a:gd name="T39" fmla="*/ 2784 h 8434"/>
                <a:gd name="T40" fmla="*/ 3695 w 8533"/>
                <a:gd name="T41" fmla="*/ 2189 h 8434"/>
                <a:gd name="T42" fmla="*/ 4142 w 8533"/>
                <a:gd name="T43" fmla="*/ 2440 h 8434"/>
                <a:gd name="T44" fmla="*/ 2895 w 8533"/>
                <a:gd name="T45" fmla="*/ 7723 h 8434"/>
                <a:gd name="T46" fmla="*/ 1830 w 8533"/>
                <a:gd name="T47" fmla="*/ 8434 h 8434"/>
                <a:gd name="T48" fmla="*/ 6242 w 8533"/>
                <a:gd name="T49" fmla="*/ 7723 h 8434"/>
                <a:gd name="T50" fmla="*/ 4392 w 8533"/>
                <a:gd name="T51" fmla="*/ 7262 h 8434"/>
                <a:gd name="T52" fmla="*/ 4794 w 8533"/>
                <a:gd name="T53" fmla="*/ 2187 h 8434"/>
                <a:gd name="T54" fmla="*/ 6530 w 8533"/>
                <a:gd name="T55" fmla="*/ 2771 h 8434"/>
                <a:gd name="T56" fmla="*/ 5868 w 8533"/>
                <a:gd name="T57" fmla="*/ 5074 h 8434"/>
                <a:gd name="T58" fmla="*/ 7624 w 8533"/>
                <a:gd name="T59" fmla="*/ 6091 h 8434"/>
                <a:gd name="T60" fmla="*/ 4135 w 8533"/>
                <a:gd name="T61" fmla="*/ 381 h 8434"/>
                <a:gd name="T62" fmla="*/ 4398 w 8533"/>
                <a:gd name="T63" fmla="*/ 386 h 8434"/>
                <a:gd name="T64" fmla="*/ 4135 w 8533"/>
                <a:gd name="T65" fmla="*/ 381 h 8434"/>
                <a:gd name="T66" fmla="*/ 371 w 8533"/>
                <a:gd name="T67" fmla="*/ 5042 h 8434"/>
                <a:gd name="T68" fmla="*/ 910 w 8533"/>
                <a:gd name="T69" fmla="*/ 5841 h 8434"/>
                <a:gd name="T70" fmla="*/ 1807 w 8533"/>
                <a:gd name="T71" fmla="*/ 5841 h 8434"/>
                <a:gd name="T72" fmla="*/ 3783 w 8533"/>
                <a:gd name="T73" fmla="*/ 7848 h 8434"/>
                <a:gd name="T74" fmla="*/ 6554 w 8533"/>
                <a:gd name="T75" fmla="*/ 8184 h 8434"/>
                <a:gd name="T76" fmla="*/ 3433 w 8533"/>
                <a:gd name="T77" fmla="*/ 7973 h 8434"/>
                <a:gd name="T78" fmla="*/ 3156 w 8533"/>
                <a:gd name="T79" fmla="*/ 7723 h 8434"/>
                <a:gd name="T80" fmla="*/ 4267 w 8533"/>
                <a:gd name="T81" fmla="*/ 7512 h 8434"/>
                <a:gd name="T82" fmla="*/ 5378 w 8533"/>
                <a:gd name="T83" fmla="*/ 7723 h 8434"/>
                <a:gd name="T84" fmla="*/ 7175 w 8533"/>
                <a:gd name="T85" fmla="*/ 3532 h 8434"/>
                <a:gd name="T86" fmla="*/ 6726 w 8533"/>
                <a:gd name="T87" fmla="*/ 5841 h 8434"/>
                <a:gd name="T88" fmla="*/ 7624 w 8533"/>
                <a:gd name="T89" fmla="*/ 5841 h 8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533" h="8434">
                  <a:moveTo>
                    <a:pt x="8533" y="5183"/>
                  </a:moveTo>
                  <a:lnTo>
                    <a:pt x="8533" y="5182"/>
                  </a:lnTo>
                  <a:cubicBezTo>
                    <a:pt x="8533" y="5181"/>
                    <a:pt x="8533" y="5180"/>
                    <a:pt x="8533" y="5179"/>
                  </a:cubicBezTo>
                  <a:cubicBezTo>
                    <a:pt x="8533" y="5176"/>
                    <a:pt x="8533" y="5173"/>
                    <a:pt x="8533" y="5170"/>
                  </a:cubicBezTo>
                  <a:cubicBezTo>
                    <a:pt x="8530" y="5138"/>
                    <a:pt x="8516" y="5108"/>
                    <a:pt x="8495" y="5086"/>
                  </a:cubicBezTo>
                  <a:lnTo>
                    <a:pt x="7300" y="3267"/>
                  </a:lnTo>
                  <a:lnTo>
                    <a:pt x="7300" y="2775"/>
                  </a:lnTo>
                  <a:cubicBezTo>
                    <a:pt x="7300" y="1871"/>
                    <a:pt x="6565" y="1136"/>
                    <a:pt x="5661" y="1136"/>
                  </a:cubicBezTo>
                  <a:lnTo>
                    <a:pt x="5463" y="1136"/>
                  </a:lnTo>
                  <a:cubicBezTo>
                    <a:pt x="5393" y="1136"/>
                    <a:pt x="5338" y="1192"/>
                    <a:pt x="5338" y="1261"/>
                  </a:cubicBezTo>
                  <a:cubicBezTo>
                    <a:pt x="5338" y="1330"/>
                    <a:pt x="5393" y="1386"/>
                    <a:pt x="5463" y="1386"/>
                  </a:cubicBezTo>
                  <a:lnTo>
                    <a:pt x="5661" y="1386"/>
                  </a:lnTo>
                  <a:cubicBezTo>
                    <a:pt x="6427" y="1386"/>
                    <a:pt x="7050" y="2009"/>
                    <a:pt x="7050" y="2775"/>
                  </a:cubicBezTo>
                  <a:lnTo>
                    <a:pt x="7050" y="3159"/>
                  </a:lnTo>
                  <a:cubicBezTo>
                    <a:pt x="6893" y="3106"/>
                    <a:pt x="6780" y="2958"/>
                    <a:pt x="6780" y="2784"/>
                  </a:cubicBezTo>
                  <a:lnTo>
                    <a:pt x="6780" y="2771"/>
                  </a:lnTo>
                  <a:cubicBezTo>
                    <a:pt x="6780" y="2133"/>
                    <a:pt x="6261" y="1614"/>
                    <a:pt x="5622" y="1614"/>
                  </a:cubicBezTo>
                  <a:lnTo>
                    <a:pt x="5577" y="1614"/>
                  </a:lnTo>
                  <a:cubicBezTo>
                    <a:pt x="5214" y="1614"/>
                    <a:pt x="4872" y="1755"/>
                    <a:pt x="4616" y="2012"/>
                  </a:cubicBezTo>
                  <a:cubicBezTo>
                    <a:pt x="4615" y="2013"/>
                    <a:pt x="4614" y="2014"/>
                    <a:pt x="4613" y="2015"/>
                  </a:cubicBezTo>
                  <a:lnTo>
                    <a:pt x="4572" y="2058"/>
                  </a:lnTo>
                  <a:cubicBezTo>
                    <a:pt x="4490" y="2145"/>
                    <a:pt x="4378" y="2195"/>
                    <a:pt x="4258" y="2198"/>
                  </a:cubicBezTo>
                  <a:cubicBezTo>
                    <a:pt x="4137" y="2201"/>
                    <a:pt x="4023" y="2157"/>
                    <a:pt x="3936" y="2074"/>
                  </a:cubicBezTo>
                  <a:lnTo>
                    <a:pt x="3871" y="2011"/>
                  </a:lnTo>
                  <a:cubicBezTo>
                    <a:pt x="3614" y="1755"/>
                    <a:pt x="3274" y="1614"/>
                    <a:pt x="2911" y="1614"/>
                  </a:cubicBezTo>
                  <a:cubicBezTo>
                    <a:pt x="2273" y="1614"/>
                    <a:pt x="1753" y="2133"/>
                    <a:pt x="1753" y="2771"/>
                  </a:cubicBezTo>
                  <a:lnTo>
                    <a:pt x="1753" y="2784"/>
                  </a:lnTo>
                  <a:cubicBezTo>
                    <a:pt x="1753" y="2958"/>
                    <a:pt x="1640" y="3106"/>
                    <a:pt x="1483" y="3159"/>
                  </a:cubicBezTo>
                  <a:lnTo>
                    <a:pt x="1483" y="2775"/>
                  </a:lnTo>
                  <a:cubicBezTo>
                    <a:pt x="1483" y="2009"/>
                    <a:pt x="2107" y="1386"/>
                    <a:pt x="2873" y="1386"/>
                  </a:cubicBezTo>
                  <a:lnTo>
                    <a:pt x="4265" y="1386"/>
                  </a:lnTo>
                  <a:cubicBezTo>
                    <a:pt x="4266" y="1386"/>
                    <a:pt x="4266" y="1386"/>
                    <a:pt x="4267" y="1386"/>
                  </a:cubicBezTo>
                  <a:cubicBezTo>
                    <a:pt x="4267" y="1386"/>
                    <a:pt x="4268" y="1386"/>
                    <a:pt x="4268" y="1386"/>
                  </a:cubicBezTo>
                  <a:lnTo>
                    <a:pt x="4908" y="1386"/>
                  </a:lnTo>
                  <a:cubicBezTo>
                    <a:pt x="4977" y="1386"/>
                    <a:pt x="5033" y="1330"/>
                    <a:pt x="5033" y="1261"/>
                  </a:cubicBezTo>
                  <a:cubicBezTo>
                    <a:pt x="5033" y="1192"/>
                    <a:pt x="4977" y="1136"/>
                    <a:pt x="4908" y="1136"/>
                  </a:cubicBezTo>
                  <a:lnTo>
                    <a:pt x="4392" y="1136"/>
                  </a:lnTo>
                  <a:lnTo>
                    <a:pt x="4392" y="746"/>
                  </a:lnTo>
                  <a:cubicBezTo>
                    <a:pt x="4541" y="694"/>
                    <a:pt x="4648" y="553"/>
                    <a:pt x="4648" y="386"/>
                  </a:cubicBezTo>
                  <a:lnTo>
                    <a:pt x="4648" y="381"/>
                  </a:lnTo>
                  <a:cubicBezTo>
                    <a:pt x="4648" y="171"/>
                    <a:pt x="4477" y="0"/>
                    <a:pt x="4267" y="0"/>
                  </a:cubicBezTo>
                  <a:cubicBezTo>
                    <a:pt x="4056" y="0"/>
                    <a:pt x="3885" y="171"/>
                    <a:pt x="3885" y="381"/>
                  </a:cubicBezTo>
                  <a:lnTo>
                    <a:pt x="3885" y="386"/>
                  </a:lnTo>
                  <a:cubicBezTo>
                    <a:pt x="3885" y="553"/>
                    <a:pt x="3993" y="694"/>
                    <a:pt x="4142" y="746"/>
                  </a:cubicBezTo>
                  <a:lnTo>
                    <a:pt x="4142" y="1136"/>
                  </a:lnTo>
                  <a:lnTo>
                    <a:pt x="2873" y="1136"/>
                  </a:lnTo>
                  <a:cubicBezTo>
                    <a:pt x="1969" y="1136"/>
                    <a:pt x="1233" y="1871"/>
                    <a:pt x="1233" y="2775"/>
                  </a:cubicBezTo>
                  <a:lnTo>
                    <a:pt x="1233" y="3267"/>
                  </a:lnTo>
                  <a:lnTo>
                    <a:pt x="51" y="5074"/>
                  </a:lnTo>
                  <a:cubicBezTo>
                    <a:pt x="20" y="5100"/>
                    <a:pt x="0" y="5138"/>
                    <a:pt x="0" y="5182"/>
                  </a:cubicBezTo>
                  <a:cubicBezTo>
                    <a:pt x="0" y="5683"/>
                    <a:pt x="408" y="6091"/>
                    <a:pt x="910" y="6091"/>
                  </a:cubicBezTo>
                  <a:lnTo>
                    <a:pt x="1807" y="6091"/>
                  </a:lnTo>
                  <a:cubicBezTo>
                    <a:pt x="2308" y="6091"/>
                    <a:pt x="2715" y="5685"/>
                    <a:pt x="2717" y="5185"/>
                  </a:cubicBezTo>
                  <a:cubicBezTo>
                    <a:pt x="2717" y="5184"/>
                    <a:pt x="2717" y="5183"/>
                    <a:pt x="2717" y="5182"/>
                  </a:cubicBezTo>
                  <a:lnTo>
                    <a:pt x="2717" y="5182"/>
                  </a:lnTo>
                  <a:cubicBezTo>
                    <a:pt x="2717" y="5181"/>
                    <a:pt x="2717" y="5180"/>
                    <a:pt x="2717" y="5179"/>
                  </a:cubicBezTo>
                  <a:cubicBezTo>
                    <a:pt x="2716" y="5176"/>
                    <a:pt x="2716" y="5173"/>
                    <a:pt x="2716" y="5170"/>
                  </a:cubicBezTo>
                  <a:cubicBezTo>
                    <a:pt x="2713" y="5137"/>
                    <a:pt x="2699" y="5108"/>
                    <a:pt x="2678" y="5086"/>
                  </a:cubicBezTo>
                  <a:lnTo>
                    <a:pt x="1567" y="3394"/>
                  </a:lnTo>
                  <a:cubicBezTo>
                    <a:pt x="1821" y="3307"/>
                    <a:pt x="2003" y="3067"/>
                    <a:pt x="2003" y="2784"/>
                  </a:cubicBezTo>
                  <a:lnTo>
                    <a:pt x="2003" y="2771"/>
                  </a:lnTo>
                  <a:cubicBezTo>
                    <a:pt x="2003" y="2271"/>
                    <a:pt x="2410" y="1864"/>
                    <a:pt x="2911" y="1864"/>
                  </a:cubicBezTo>
                  <a:cubicBezTo>
                    <a:pt x="3207" y="1864"/>
                    <a:pt x="3486" y="1979"/>
                    <a:pt x="3695" y="2189"/>
                  </a:cubicBezTo>
                  <a:cubicBezTo>
                    <a:pt x="3696" y="2189"/>
                    <a:pt x="3696" y="2190"/>
                    <a:pt x="3697" y="2190"/>
                  </a:cubicBezTo>
                  <a:lnTo>
                    <a:pt x="3763" y="2254"/>
                  </a:lnTo>
                  <a:cubicBezTo>
                    <a:pt x="3868" y="2355"/>
                    <a:pt x="4000" y="2419"/>
                    <a:pt x="4142" y="2440"/>
                  </a:cubicBezTo>
                  <a:lnTo>
                    <a:pt x="4142" y="7262"/>
                  </a:lnTo>
                  <a:lnTo>
                    <a:pt x="3467" y="7262"/>
                  </a:lnTo>
                  <a:cubicBezTo>
                    <a:pt x="3187" y="7262"/>
                    <a:pt x="2952" y="7460"/>
                    <a:pt x="2895" y="7723"/>
                  </a:cubicBezTo>
                  <a:lnTo>
                    <a:pt x="2292" y="7723"/>
                  </a:lnTo>
                  <a:cubicBezTo>
                    <a:pt x="1968" y="7723"/>
                    <a:pt x="1705" y="7986"/>
                    <a:pt x="1705" y="8309"/>
                  </a:cubicBezTo>
                  <a:cubicBezTo>
                    <a:pt x="1705" y="8378"/>
                    <a:pt x="1761" y="8434"/>
                    <a:pt x="1830" y="8434"/>
                  </a:cubicBezTo>
                  <a:lnTo>
                    <a:pt x="6703" y="8434"/>
                  </a:lnTo>
                  <a:cubicBezTo>
                    <a:pt x="6772" y="8434"/>
                    <a:pt x="6828" y="8378"/>
                    <a:pt x="6828" y="8309"/>
                  </a:cubicBezTo>
                  <a:cubicBezTo>
                    <a:pt x="6828" y="7986"/>
                    <a:pt x="6565" y="7723"/>
                    <a:pt x="6242" y="7723"/>
                  </a:cubicBezTo>
                  <a:lnTo>
                    <a:pt x="5638" y="7723"/>
                  </a:lnTo>
                  <a:cubicBezTo>
                    <a:pt x="5581" y="7460"/>
                    <a:pt x="5346" y="7262"/>
                    <a:pt x="5066" y="7262"/>
                  </a:cubicBezTo>
                  <a:lnTo>
                    <a:pt x="4392" y="7262"/>
                  </a:lnTo>
                  <a:lnTo>
                    <a:pt x="4392" y="2433"/>
                  </a:lnTo>
                  <a:cubicBezTo>
                    <a:pt x="4530" y="2404"/>
                    <a:pt x="4655" y="2334"/>
                    <a:pt x="4754" y="2229"/>
                  </a:cubicBezTo>
                  <a:lnTo>
                    <a:pt x="4794" y="2187"/>
                  </a:lnTo>
                  <a:cubicBezTo>
                    <a:pt x="5003" y="1979"/>
                    <a:pt x="5281" y="1864"/>
                    <a:pt x="5577" y="1864"/>
                  </a:cubicBezTo>
                  <a:lnTo>
                    <a:pt x="5622" y="1864"/>
                  </a:lnTo>
                  <a:cubicBezTo>
                    <a:pt x="6123" y="1864"/>
                    <a:pt x="6530" y="2271"/>
                    <a:pt x="6530" y="2771"/>
                  </a:cubicBezTo>
                  <a:lnTo>
                    <a:pt x="6530" y="2784"/>
                  </a:lnTo>
                  <a:cubicBezTo>
                    <a:pt x="6530" y="3067"/>
                    <a:pt x="6713" y="3307"/>
                    <a:pt x="6967" y="3394"/>
                  </a:cubicBezTo>
                  <a:lnTo>
                    <a:pt x="5868" y="5074"/>
                  </a:lnTo>
                  <a:cubicBezTo>
                    <a:pt x="5837" y="5100"/>
                    <a:pt x="5817" y="5138"/>
                    <a:pt x="5817" y="5182"/>
                  </a:cubicBezTo>
                  <a:cubicBezTo>
                    <a:pt x="5817" y="5683"/>
                    <a:pt x="6225" y="6091"/>
                    <a:pt x="6726" y="6091"/>
                  </a:cubicBezTo>
                  <a:lnTo>
                    <a:pt x="7624" y="6091"/>
                  </a:lnTo>
                  <a:cubicBezTo>
                    <a:pt x="8124" y="6091"/>
                    <a:pt x="8532" y="5685"/>
                    <a:pt x="8533" y="5185"/>
                  </a:cubicBezTo>
                  <a:cubicBezTo>
                    <a:pt x="8533" y="5184"/>
                    <a:pt x="8533" y="5183"/>
                    <a:pt x="8533" y="5183"/>
                  </a:cubicBezTo>
                  <a:close/>
                  <a:moveTo>
                    <a:pt x="4135" y="381"/>
                  </a:moveTo>
                  <a:cubicBezTo>
                    <a:pt x="4135" y="309"/>
                    <a:pt x="4194" y="250"/>
                    <a:pt x="4267" y="250"/>
                  </a:cubicBezTo>
                  <a:cubicBezTo>
                    <a:pt x="4339" y="250"/>
                    <a:pt x="4398" y="309"/>
                    <a:pt x="4398" y="381"/>
                  </a:cubicBezTo>
                  <a:lnTo>
                    <a:pt x="4398" y="386"/>
                  </a:lnTo>
                  <a:cubicBezTo>
                    <a:pt x="4398" y="459"/>
                    <a:pt x="4339" y="517"/>
                    <a:pt x="4267" y="517"/>
                  </a:cubicBezTo>
                  <a:cubicBezTo>
                    <a:pt x="4194" y="517"/>
                    <a:pt x="4135" y="459"/>
                    <a:pt x="4135" y="386"/>
                  </a:cubicBezTo>
                  <a:lnTo>
                    <a:pt x="4135" y="381"/>
                  </a:lnTo>
                  <a:close/>
                  <a:moveTo>
                    <a:pt x="1359" y="3532"/>
                  </a:moveTo>
                  <a:lnTo>
                    <a:pt x="2351" y="5042"/>
                  </a:lnTo>
                  <a:lnTo>
                    <a:pt x="371" y="5042"/>
                  </a:lnTo>
                  <a:lnTo>
                    <a:pt x="1359" y="3532"/>
                  </a:lnTo>
                  <a:close/>
                  <a:moveTo>
                    <a:pt x="1807" y="5841"/>
                  </a:moveTo>
                  <a:lnTo>
                    <a:pt x="910" y="5841"/>
                  </a:lnTo>
                  <a:cubicBezTo>
                    <a:pt x="584" y="5841"/>
                    <a:pt x="312" y="5604"/>
                    <a:pt x="259" y="5292"/>
                  </a:cubicBezTo>
                  <a:lnTo>
                    <a:pt x="2457" y="5292"/>
                  </a:lnTo>
                  <a:cubicBezTo>
                    <a:pt x="2405" y="5604"/>
                    <a:pt x="2133" y="5841"/>
                    <a:pt x="1807" y="5841"/>
                  </a:cubicBezTo>
                  <a:close/>
                  <a:moveTo>
                    <a:pt x="5378" y="7723"/>
                  </a:moveTo>
                  <a:lnTo>
                    <a:pt x="3908" y="7723"/>
                  </a:lnTo>
                  <a:cubicBezTo>
                    <a:pt x="3839" y="7723"/>
                    <a:pt x="3783" y="7779"/>
                    <a:pt x="3783" y="7848"/>
                  </a:cubicBezTo>
                  <a:cubicBezTo>
                    <a:pt x="3783" y="7917"/>
                    <a:pt x="3839" y="7973"/>
                    <a:pt x="3908" y="7973"/>
                  </a:cubicBezTo>
                  <a:lnTo>
                    <a:pt x="6242" y="7973"/>
                  </a:lnTo>
                  <a:cubicBezTo>
                    <a:pt x="6383" y="7973"/>
                    <a:pt x="6504" y="8060"/>
                    <a:pt x="6554" y="8184"/>
                  </a:cubicBezTo>
                  <a:lnTo>
                    <a:pt x="1980" y="8184"/>
                  </a:lnTo>
                  <a:cubicBezTo>
                    <a:pt x="2029" y="8060"/>
                    <a:pt x="2150" y="7973"/>
                    <a:pt x="2292" y="7973"/>
                  </a:cubicBezTo>
                  <a:lnTo>
                    <a:pt x="3433" y="7973"/>
                  </a:lnTo>
                  <a:cubicBezTo>
                    <a:pt x="3502" y="7973"/>
                    <a:pt x="3558" y="7917"/>
                    <a:pt x="3558" y="7848"/>
                  </a:cubicBezTo>
                  <a:cubicBezTo>
                    <a:pt x="3558" y="7779"/>
                    <a:pt x="3502" y="7723"/>
                    <a:pt x="3433" y="7723"/>
                  </a:cubicBezTo>
                  <a:lnTo>
                    <a:pt x="3156" y="7723"/>
                  </a:lnTo>
                  <a:cubicBezTo>
                    <a:pt x="3205" y="7599"/>
                    <a:pt x="3326" y="7512"/>
                    <a:pt x="3467" y="7512"/>
                  </a:cubicBezTo>
                  <a:lnTo>
                    <a:pt x="4266" y="7512"/>
                  </a:lnTo>
                  <a:cubicBezTo>
                    <a:pt x="4266" y="7512"/>
                    <a:pt x="4266" y="7512"/>
                    <a:pt x="4267" y="7512"/>
                  </a:cubicBezTo>
                  <a:cubicBezTo>
                    <a:pt x="4267" y="7512"/>
                    <a:pt x="4267" y="7512"/>
                    <a:pt x="4268" y="7512"/>
                  </a:cubicBezTo>
                  <a:lnTo>
                    <a:pt x="5066" y="7512"/>
                  </a:lnTo>
                  <a:cubicBezTo>
                    <a:pt x="5207" y="7512"/>
                    <a:pt x="5328" y="7599"/>
                    <a:pt x="5378" y="7723"/>
                  </a:cubicBezTo>
                  <a:close/>
                  <a:moveTo>
                    <a:pt x="8167" y="5042"/>
                  </a:moveTo>
                  <a:lnTo>
                    <a:pt x="6187" y="5042"/>
                  </a:lnTo>
                  <a:lnTo>
                    <a:pt x="7175" y="3532"/>
                  </a:lnTo>
                  <a:lnTo>
                    <a:pt x="8167" y="5042"/>
                  </a:lnTo>
                  <a:close/>
                  <a:moveTo>
                    <a:pt x="7624" y="5841"/>
                  </a:moveTo>
                  <a:lnTo>
                    <a:pt x="6726" y="5841"/>
                  </a:lnTo>
                  <a:cubicBezTo>
                    <a:pt x="6400" y="5841"/>
                    <a:pt x="6129" y="5604"/>
                    <a:pt x="6076" y="5292"/>
                  </a:cubicBezTo>
                  <a:lnTo>
                    <a:pt x="8274" y="5292"/>
                  </a:lnTo>
                  <a:cubicBezTo>
                    <a:pt x="8221" y="5604"/>
                    <a:pt x="7950" y="5841"/>
                    <a:pt x="7624" y="5841"/>
                  </a:cubicBezTo>
                  <a:close/>
                  <a:moveTo>
                    <a:pt x="7624" y="584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6">
              <a:extLst>
                <a:ext uri="{FF2B5EF4-FFF2-40B4-BE49-F238E27FC236}">
                  <a16:creationId xmlns:a16="http://schemas.microsoft.com/office/drawing/2014/main" id="{5857D10B-1357-4A5C-84E1-CEAEB26147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8" y="2441"/>
              <a:ext cx="8" cy="8"/>
            </a:xfrm>
            <a:custGeom>
              <a:avLst/>
              <a:gdLst>
                <a:gd name="T0" fmla="*/ 250 w 250"/>
                <a:gd name="T1" fmla="*/ 125 h 250"/>
                <a:gd name="T2" fmla="*/ 125 w 250"/>
                <a:gd name="T3" fmla="*/ 250 h 250"/>
                <a:gd name="T4" fmla="*/ 0 w 250"/>
                <a:gd name="T5" fmla="*/ 125 h 250"/>
                <a:gd name="T6" fmla="*/ 125 w 250"/>
                <a:gd name="T7" fmla="*/ 0 h 250"/>
                <a:gd name="T8" fmla="*/ 250 w 250"/>
                <a:gd name="T9" fmla="*/ 125 h 250"/>
                <a:gd name="T10" fmla="*/ 250 w 250"/>
                <a:gd name="T11" fmla="*/ 125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250">
                  <a:moveTo>
                    <a:pt x="250" y="125"/>
                  </a:moveTo>
                  <a:cubicBezTo>
                    <a:pt x="250" y="194"/>
                    <a:pt x="194" y="250"/>
                    <a:pt x="125" y="250"/>
                  </a:cubicBezTo>
                  <a:cubicBezTo>
                    <a:pt x="56" y="250"/>
                    <a:pt x="0" y="194"/>
                    <a:pt x="0" y="125"/>
                  </a:cubicBezTo>
                  <a:cubicBezTo>
                    <a:pt x="0" y="56"/>
                    <a:pt x="56" y="0"/>
                    <a:pt x="125" y="0"/>
                  </a:cubicBezTo>
                  <a:cubicBezTo>
                    <a:pt x="194" y="0"/>
                    <a:pt x="250" y="56"/>
                    <a:pt x="250" y="125"/>
                  </a:cubicBezTo>
                  <a:close/>
                  <a:moveTo>
                    <a:pt x="250" y="12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5" name="Объект 2">
            <a:extLst>
              <a:ext uri="{FF2B5EF4-FFF2-40B4-BE49-F238E27FC236}">
                <a16:creationId xmlns:a16="http://schemas.microsoft.com/office/drawing/2014/main" id="{1B831B73-650C-4FF8-9BF1-E1710373FFAE}"/>
              </a:ext>
            </a:extLst>
          </p:cNvPr>
          <p:cNvSpPr txBox="1">
            <a:spLocks/>
          </p:cNvSpPr>
          <p:nvPr/>
        </p:nvSpPr>
        <p:spPr>
          <a:xfrm>
            <a:off x="836023" y="2754238"/>
            <a:ext cx="5188540" cy="2918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solidFill>
                  <a:srgbClr val="2414BC"/>
                </a:solidFill>
              </a:rPr>
              <a:t>Коррупция </a:t>
            </a:r>
            <a:r>
              <a:rPr lang="ru-RU" b="0" dirty="0">
                <a:solidFill>
                  <a:schemeClr val="tx2"/>
                </a:solidFill>
              </a:rPr>
              <a:t>— </a:t>
            </a:r>
            <a:r>
              <a:rPr lang="ru-RU" b="0" dirty="0" err="1"/>
              <a:t>шахснинг</a:t>
            </a:r>
            <a:r>
              <a:rPr lang="ru-RU" b="0" dirty="0"/>
              <a:t> </a:t>
            </a:r>
            <a:r>
              <a:rPr lang="ru-RU" b="0" dirty="0" err="1"/>
              <a:t>ўз</a:t>
            </a:r>
            <a:r>
              <a:rPr lang="ru-RU" b="0" dirty="0"/>
              <a:t> </a:t>
            </a:r>
            <a:r>
              <a:rPr lang="ru-RU" b="0" dirty="0" err="1"/>
              <a:t>мансаб</a:t>
            </a:r>
            <a:r>
              <a:rPr lang="ru-RU" b="0" dirty="0"/>
              <a:t> </a:t>
            </a:r>
            <a:r>
              <a:rPr lang="ru-RU" b="0" dirty="0" err="1"/>
              <a:t>ёки</a:t>
            </a:r>
            <a:r>
              <a:rPr lang="ru-RU" b="0" dirty="0"/>
              <a:t> </a:t>
            </a:r>
            <a:r>
              <a:rPr lang="ru-RU" b="0" dirty="0" err="1"/>
              <a:t>хизмат</a:t>
            </a:r>
            <a:r>
              <a:rPr lang="ru-RU" b="0" dirty="0"/>
              <a:t> </a:t>
            </a:r>
            <a:r>
              <a:rPr lang="ru-RU" b="0" dirty="0" err="1"/>
              <a:t>мавқеидан</a:t>
            </a:r>
            <a:r>
              <a:rPr lang="ru-RU" b="0" dirty="0"/>
              <a:t> </a:t>
            </a:r>
            <a:r>
              <a:rPr lang="ru-RU" b="0" dirty="0" err="1"/>
              <a:t>шахсий</a:t>
            </a:r>
            <a:r>
              <a:rPr lang="ru-RU" b="0" dirty="0"/>
              <a:t> </a:t>
            </a:r>
            <a:r>
              <a:rPr lang="ru-RU" b="0" dirty="0" err="1"/>
              <a:t>манфаатларини</a:t>
            </a:r>
            <a:r>
              <a:rPr lang="ru-RU" b="0" dirty="0"/>
              <a:t> </a:t>
            </a:r>
            <a:r>
              <a:rPr lang="ru-RU" b="0" dirty="0" err="1"/>
              <a:t>ёхуд</a:t>
            </a:r>
            <a:r>
              <a:rPr lang="ru-RU" b="0" dirty="0"/>
              <a:t> </a:t>
            </a:r>
            <a:r>
              <a:rPr lang="ru-RU" b="0" dirty="0" err="1"/>
              <a:t>ўзга</a:t>
            </a:r>
            <a:r>
              <a:rPr lang="ru-RU" b="0" dirty="0"/>
              <a:t> </a:t>
            </a:r>
            <a:r>
              <a:rPr lang="ru-RU" b="0" dirty="0" err="1"/>
              <a:t>шахсларнинг</a:t>
            </a:r>
            <a:r>
              <a:rPr lang="ru-RU" b="0" dirty="0"/>
              <a:t> </a:t>
            </a:r>
            <a:r>
              <a:rPr lang="ru-RU" b="0" dirty="0" err="1"/>
              <a:t>манфаатларини</a:t>
            </a:r>
            <a:r>
              <a:rPr lang="ru-RU" b="0" dirty="0"/>
              <a:t> </a:t>
            </a:r>
            <a:r>
              <a:rPr lang="ru-RU" b="0" dirty="0" err="1"/>
              <a:t>кўзлаб</a:t>
            </a:r>
            <a:r>
              <a:rPr lang="ru-RU" b="0" dirty="0"/>
              <a:t> </a:t>
            </a:r>
            <a:r>
              <a:rPr lang="ru-RU" b="0" dirty="0" err="1"/>
              <a:t>моддий</a:t>
            </a:r>
            <a:r>
              <a:rPr lang="ru-RU" b="0" dirty="0"/>
              <a:t> </a:t>
            </a:r>
            <a:r>
              <a:rPr lang="ru-RU" b="0" dirty="0" err="1"/>
              <a:t>ёки</a:t>
            </a:r>
            <a:r>
              <a:rPr lang="ru-RU" b="0" dirty="0"/>
              <a:t> </a:t>
            </a:r>
            <a:r>
              <a:rPr lang="ru-RU" b="0" dirty="0" err="1"/>
              <a:t>номоддий</a:t>
            </a:r>
            <a:r>
              <a:rPr lang="ru-RU" b="0" dirty="0"/>
              <a:t> </a:t>
            </a:r>
            <a:r>
              <a:rPr lang="ru-RU" b="0" dirty="0" err="1"/>
              <a:t>наф</a:t>
            </a:r>
            <a:r>
              <a:rPr lang="ru-RU" b="0" dirty="0"/>
              <a:t> </a:t>
            </a:r>
            <a:r>
              <a:rPr lang="ru-RU" b="0" dirty="0" err="1"/>
              <a:t>олиш</a:t>
            </a:r>
            <a:r>
              <a:rPr lang="ru-RU" b="0" dirty="0"/>
              <a:t> </a:t>
            </a:r>
            <a:r>
              <a:rPr lang="ru-RU" b="0" dirty="0" err="1"/>
              <a:t>мақсадида</a:t>
            </a:r>
            <a:r>
              <a:rPr lang="ru-RU" b="0" dirty="0"/>
              <a:t> </a:t>
            </a:r>
            <a:r>
              <a:rPr lang="ru-RU" b="0" dirty="0" err="1"/>
              <a:t>қонунга</a:t>
            </a:r>
            <a:r>
              <a:rPr lang="ru-RU" b="0" dirty="0"/>
              <a:t> </a:t>
            </a:r>
            <a:r>
              <a:rPr lang="ru-RU" b="0" dirty="0" err="1"/>
              <a:t>хилоф</a:t>
            </a:r>
            <a:r>
              <a:rPr lang="ru-RU" b="0" dirty="0"/>
              <a:t> </a:t>
            </a:r>
            <a:r>
              <a:rPr lang="ru-RU" b="0" dirty="0" err="1"/>
              <a:t>равишда</a:t>
            </a:r>
            <a:r>
              <a:rPr lang="ru-RU" b="0" dirty="0"/>
              <a:t> </a:t>
            </a:r>
            <a:r>
              <a:rPr lang="ru-RU" b="0" dirty="0" err="1"/>
              <a:t>фойдаланиши</a:t>
            </a:r>
            <a:r>
              <a:rPr lang="ru-RU" b="0" dirty="0"/>
              <a:t>, </a:t>
            </a:r>
            <a:r>
              <a:rPr lang="ru-RU" b="0" dirty="0" err="1"/>
              <a:t>худди</a:t>
            </a:r>
            <a:r>
              <a:rPr lang="ru-RU" b="0" dirty="0"/>
              <a:t> </a:t>
            </a:r>
            <a:r>
              <a:rPr lang="ru-RU" b="0" dirty="0" err="1"/>
              <a:t>шунингдек</a:t>
            </a:r>
            <a:r>
              <a:rPr lang="ru-RU" b="0" dirty="0"/>
              <a:t> </a:t>
            </a:r>
            <a:r>
              <a:rPr lang="ru-RU" b="0" dirty="0" err="1"/>
              <a:t>бундай</a:t>
            </a:r>
            <a:r>
              <a:rPr lang="ru-RU" b="0" dirty="0"/>
              <a:t> </a:t>
            </a:r>
            <a:r>
              <a:rPr lang="ru-RU" b="0" dirty="0" err="1"/>
              <a:t>нафни</a:t>
            </a:r>
            <a:r>
              <a:rPr lang="ru-RU" b="0" dirty="0"/>
              <a:t> </a:t>
            </a:r>
            <a:r>
              <a:rPr lang="ru-RU" b="0" dirty="0" err="1"/>
              <a:t>қонунга</a:t>
            </a:r>
            <a:r>
              <a:rPr lang="ru-RU" b="0" dirty="0"/>
              <a:t> </a:t>
            </a:r>
            <a:r>
              <a:rPr lang="ru-RU" b="0" dirty="0" err="1"/>
              <a:t>хилоф</a:t>
            </a:r>
            <a:r>
              <a:rPr lang="ru-RU" b="0" dirty="0"/>
              <a:t> </a:t>
            </a:r>
            <a:r>
              <a:rPr lang="ru-RU" b="0" dirty="0" err="1"/>
              <a:t>равишда</a:t>
            </a:r>
            <a:r>
              <a:rPr lang="ru-RU" b="0" dirty="0"/>
              <a:t> </a:t>
            </a:r>
            <a:r>
              <a:rPr lang="ru-RU" b="0" dirty="0" err="1"/>
              <a:t>тақдим</a:t>
            </a:r>
            <a:r>
              <a:rPr lang="ru-RU" b="0" dirty="0"/>
              <a:t> </a:t>
            </a:r>
            <a:r>
              <a:rPr lang="ru-RU" b="0" dirty="0" err="1"/>
              <a:t>этиш</a:t>
            </a:r>
            <a:r>
              <a:rPr lang="ru-RU" b="0" dirty="0">
                <a:solidFill>
                  <a:schemeClr val="tx2"/>
                </a:solidFill>
              </a:rPr>
              <a:t>.</a:t>
            </a:r>
            <a:endParaRPr lang="ru-RU" sz="2000" b="0" dirty="0">
              <a:solidFill>
                <a:schemeClr val="tx2"/>
              </a:solidFill>
            </a:endParaRPr>
          </a:p>
        </p:txBody>
      </p:sp>
      <p:sp>
        <p:nvSpPr>
          <p:cNvPr id="56" name="Freeform 83">
            <a:extLst>
              <a:ext uri="{FF2B5EF4-FFF2-40B4-BE49-F238E27FC236}">
                <a16:creationId xmlns:a16="http://schemas.microsoft.com/office/drawing/2014/main" id="{0BE6621A-8392-489E-8895-AC34B190C0F7}"/>
              </a:ext>
            </a:extLst>
          </p:cNvPr>
          <p:cNvSpPr/>
          <p:nvPr/>
        </p:nvSpPr>
        <p:spPr>
          <a:xfrm>
            <a:off x="431999" y="2200759"/>
            <a:ext cx="1694202" cy="2258029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>
              <a:solidFill>
                <a:srgbClr val="1BD7D3"/>
              </a:solidFill>
              <a:latin typeface="Gotham Light" pitchFamily="50" charset="0"/>
            </a:endParaRPr>
          </a:p>
        </p:txBody>
      </p:sp>
      <p:sp>
        <p:nvSpPr>
          <p:cNvPr id="57" name="Объект 2">
            <a:extLst>
              <a:ext uri="{FF2B5EF4-FFF2-40B4-BE49-F238E27FC236}">
                <a16:creationId xmlns:a16="http://schemas.microsoft.com/office/drawing/2014/main" id="{EC107471-AA1E-4ED0-A797-CF27B6EE4BD4}"/>
              </a:ext>
            </a:extLst>
          </p:cNvPr>
          <p:cNvSpPr txBox="1">
            <a:spLocks/>
          </p:cNvSpPr>
          <p:nvPr/>
        </p:nvSpPr>
        <p:spPr>
          <a:xfrm>
            <a:off x="6644640" y="2900160"/>
            <a:ext cx="5188540" cy="2918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solidFill>
                  <a:srgbClr val="2414BC"/>
                </a:solidFill>
              </a:rPr>
              <a:t>Коррупция </a:t>
            </a:r>
            <a:r>
              <a:rPr lang="ru-RU" sz="2000" dirty="0" err="1">
                <a:solidFill>
                  <a:srgbClr val="2414BC"/>
                </a:solidFill>
              </a:rPr>
              <a:t>ҳуқуқбузарлиги</a:t>
            </a:r>
            <a:r>
              <a:rPr lang="ru-RU" b="0" dirty="0">
                <a:solidFill>
                  <a:schemeClr val="tx2"/>
                </a:solidFill>
              </a:rPr>
              <a:t>— </a:t>
            </a:r>
            <a:r>
              <a:rPr lang="ru-RU" b="0" dirty="0"/>
              <a:t>коррупция </a:t>
            </a:r>
            <a:r>
              <a:rPr lang="ru-RU" b="0" dirty="0" err="1"/>
              <a:t>аломатларига</a:t>
            </a:r>
            <a:r>
              <a:rPr lang="ru-RU" b="0" dirty="0"/>
              <a:t> </a:t>
            </a:r>
            <a:r>
              <a:rPr lang="ru-RU" b="0" dirty="0" err="1"/>
              <a:t>эга</a:t>
            </a:r>
            <a:r>
              <a:rPr lang="ru-RU" b="0" dirty="0"/>
              <a:t> </a:t>
            </a:r>
            <a:r>
              <a:rPr lang="ru-RU" b="0" dirty="0" err="1"/>
              <a:t>бўлган</a:t>
            </a:r>
            <a:r>
              <a:rPr lang="ru-RU" b="0" dirty="0"/>
              <a:t>, </a:t>
            </a:r>
            <a:r>
              <a:rPr lang="ru-RU" b="0" dirty="0" err="1"/>
              <a:t>содир</a:t>
            </a:r>
            <a:r>
              <a:rPr lang="ru-RU" b="0" dirty="0"/>
              <a:t> </a:t>
            </a:r>
            <a:r>
              <a:rPr lang="ru-RU" b="0" dirty="0" err="1"/>
              <a:t>этилганлиги</a:t>
            </a:r>
            <a:r>
              <a:rPr lang="ru-RU" b="0" dirty="0"/>
              <a:t> </a:t>
            </a:r>
            <a:r>
              <a:rPr lang="ru-RU" b="0" dirty="0" err="1"/>
              <a:t>учун</a:t>
            </a:r>
            <a:r>
              <a:rPr lang="ru-RU" b="0" dirty="0"/>
              <a:t> </a:t>
            </a:r>
            <a:r>
              <a:rPr lang="ru-RU" b="0" dirty="0" err="1"/>
              <a:t>қонунчиликда</a:t>
            </a:r>
            <a:r>
              <a:rPr lang="ru-RU" b="0" dirty="0"/>
              <a:t> </a:t>
            </a:r>
            <a:r>
              <a:rPr lang="ru-RU" b="0" dirty="0" err="1"/>
              <a:t>жавобгарлик</a:t>
            </a:r>
            <a:r>
              <a:rPr lang="ru-RU" b="0" dirty="0"/>
              <a:t> </a:t>
            </a:r>
            <a:r>
              <a:rPr lang="ru-RU" b="0" dirty="0" err="1"/>
              <a:t>назарда</a:t>
            </a:r>
            <a:r>
              <a:rPr lang="ru-RU" b="0" dirty="0"/>
              <a:t> </a:t>
            </a:r>
            <a:r>
              <a:rPr lang="ru-RU" b="0" dirty="0" err="1"/>
              <a:t>тутилган</a:t>
            </a:r>
            <a:r>
              <a:rPr lang="ru-RU" b="0" dirty="0"/>
              <a:t> </a:t>
            </a:r>
            <a:r>
              <a:rPr lang="ru-RU" b="0" dirty="0" err="1"/>
              <a:t>қилмиш</a:t>
            </a:r>
            <a:r>
              <a:rPr lang="ru-RU" b="0" dirty="0">
                <a:solidFill>
                  <a:schemeClr val="tx2"/>
                </a:solidFill>
              </a:rPr>
              <a:t>.</a:t>
            </a:r>
            <a:endParaRPr lang="ru-RU" sz="2000" b="0" dirty="0">
              <a:solidFill>
                <a:schemeClr val="tx2"/>
              </a:solidFill>
            </a:endParaRPr>
          </a:p>
        </p:txBody>
      </p:sp>
      <p:sp>
        <p:nvSpPr>
          <p:cNvPr id="58" name="Freeform 83">
            <a:extLst>
              <a:ext uri="{FF2B5EF4-FFF2-40B4-BE49-F238E27FC236}">
                <a16:creationId xmlns:a16="http://schemas.microsoft.com/office/drawing/2014/main" id="{1E56FB9C-145B-485D-9B89-220303386186}"/>
              </a:ext>
            </a:extLst>
          </p:cNvPr>
          <p:cNvSpPr/>
          <p:nvPr/>
        </p:nvSpPr>
        <p:spPr>
          <a:xfrm>
            <a:off x="6240616" y="2200759"/>
            <a:ext cx="1694202" cy="2258029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>
              <a:solidFill>
                <a:srgbClr val="1BD7D3"/>
              </a:solidFill>
              <a:latin typeface="Gotham Light" pitchFamily="50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593A77-BE9F-46A4-A65B-987C1CAE58B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99" y="4975523"/>
            <a:ext cx="950485" cy="950485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83DEDA72-95A5-4D4F-BFE6-3B4CE30F5CA2}"/>
              </a:ext>
            </a:extLst>
          </p:cNvPr>
          <p:cNvSpPr/>
          <p:nvPr/>
        </p:nvSpPr>
        <p:spPr>
          <a:xfrm>
            <a:off x="1610621" y="4925357"/>
            <a:ext cx="1022255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бекистон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ор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лар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нгар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оят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нунчилигид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г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риф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майд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роқ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бекистон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оят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умий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хсус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смлар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лар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оий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нинг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умлаштирилган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рифин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ратишг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кон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ад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унингдек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рупцияга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ид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қуқбузарликларнинг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ларин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б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тад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хўрлик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итачилик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до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лар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ра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жорий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хўрлик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уқуқбузарликла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9129919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049A5940-6C92-43C8-ADED-E44D632A6FD1}"/>
              </a:ext>
            </a:extLst>
          </p:cNvPr>
          <p:cNvSpPr/>
          <p:nvPr/>
        </p:nvSpPr>
        <p:spPr>
          <a:xfrm>
            <a:off x="431998" y="2656877"/>
            <a:ext cx="6216451" cy="3762973"/>
          </a:xfrm>
          <a:prstGeom prst="homePlate">
            <a:avLst>
              <a:gd name="adj" fmla="val 198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D12EFBE-F141-4F3B-886C-C5494EA109A2}"/>
              </a:ext>
            </a:extLst>
          </p:cNvPr>
          <p:cNvSpPr/>
          <p:nvPr/>
        </p:nvSpPr>
        <p:spPr>
          <a:xfrm>
            <a:off x="2465391" y="4008900"/>
            <a:ext cx="1531844" cy="1531844"/>
          </a:xfrm>
          <a:prstGeom prst="ellipse">
            <a:avLst/>
          </a:prstGeom>
          <a:solidFill>
            <a:srgbClr val="1BD7D3">
              <a:alpha val="28000"/>
            </a:srgbClr>
          </a:solidFill>
          <a:ln>
            <a:solidFill>
              <a:schemeClr val="bg2">
                <a:lumMod val="25000"/>
              </a:schemeClr>
            </a:solidFill>
            <a:prstDash val="dash"/>
          </a:ln>
        </p:spPr>
        <p:txBody>
          <a:bodyPr wrap="square" lIns="0" tIns="0" rIns="0" bIns="0" rtlCol="0" anchor="ctr"/>
          <a:lstStyle/>
          <a:p>
            <a:pPr algn="ctr">
              <a:spcAft>
                <a:spcPts val="600"/>
              </a:spcAft>
            </a:pPr>
            <a:r>
              <a:rPr lang="uz-Cyrl-UZ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итачи</a:t>
            </a:r>
            <a:endParaRPr lang="ru-RU" sz="14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623A7B-280E-4E26-B187-56493F9EF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err="1"/>
              <a:t>Корруциянинг</a:t>
            </a:r>
            <a:r>
              <a:rPr lang="ru-RU" dirty="0"/>
              <a:t> </a:t>
            </a:r>
            <a:r>
              <a:rPr lang="ru-RU" dirty="0" err="1"/>
              <a:t>тизимни</a:t>
            </a:r>
            <a:r>
              <a:rPr lang="ru-RU" dirty="0"/>
              <a:t> </a:t>
            </a:r>
            <a:r>
              <a:rPr lang="ru-RU" dirty="0" err="1"/>
              <a:t>ташкил</a:t>
            </a:r>
            <a:r>
              <a:rPr lang="ru-RU" dirty="0"/>
              <a:t> </a:t>
            </a:r>
            <a:r>
              <a:rPr lang="ru-RU" dirty="0" err="1"/>
              <a:t>этувчи</a:t>
            </a:r>
            <a:r>
              <a:rPr lang="ru-RU" dirty="0"/>
              <a:t> </a:t>
            </a:r>
            <a:r>
              <a:rPr lang="ru-RU" dirty="0" err="1"/>
              <a:t>элементлари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object 12">
            <a:extLst>
              <a:ext uri="{FF2B5EF4-FFF2-40B4-BE49-F238E27FC236}">
                <a16:creationId xmlns:a16="http://schemas.microsoft.com/office/drawing/2014/main" id="{72FE408E-73B6-46FE-81D5-110683BE6B7D}"/>
              </a:ext>
            </a:extLst>
          </p:cNvPr>
          <p:cNvSpPr/>
          <p:nvPr/>
        </p:nvSpPr>
        <p:spPr>
          <a:xfrm>
            <a:off x="397623" y="12827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1BD7D3">
              <a:alpha val="28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EAC954D-B1A2-4B20-9664-97E69FD6B3EC}"/>
              </a:ext>
            </a:extLst>
          </p:cNvPr>
          <p:cNvSpPr/>
          <p:nvPr/>
        </p:nvSpPr>
        <p:spPr>
          <a:xfrm>
            <a:off x="1410444" y="1456336"/>
            <a:ext cx="924884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000" b="1" dirty="0">
                <a:solidFill>
                  <a:srgbClr val="49A9F6"/>
                </a:solidFill>
              </a:rPr>
              <a:t>Коррупция </a:t>
            </a:r>
            <a:r>
              <a:rPr lang="ru-RU" sz="2000" b="1" dirty="0" err="1">
                <a:solidFill>
                  <a:srgbClr val="49A9F6"/>
                </a:solidFill>
              </a:rPr>
              <a:t>ҳодис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сифатида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қуйидаг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элементларни</a:t>
            </a:r>
            <a:r>
              <a:rPr lang="ru-RU" sz="2000" b="1" dirty="0">
                <a:solidFill>
                  <a:srgbClr val="49A9F6"/>
                </a:solidFill>
              </a:rPr>
              <a:t> </a:t>
            </a:r>
            <a:r>
              <a:rPr lang="ru-RU" sz="2000" b="1" dirty="0" err="1">
                <a:solidFill>
                  <a:srgbClr val="49A9F6"/>
                </a:solidFill>
              </a:rPr>
              <a:t>ўз</a:t>
            </a:r>
            <a:r>
              <a:rPr lang="ru-RU" sz="2000" b="1" dirty="0">
                <a:solidFill>
                  <a:srgbClr val="49A9F6"/>
                </a:solidFill>
              </a:rPr>
              <a:t> ичига </a:t>
            </a:r>
            <a:r>
              <a:rPr lang="ru-RU" sz="2000" b="1" dirty="0" err="1">
                <a:solidFill>
                  <a:srgbClr val="49A9F6"/>
                </a:solidFill>
              </a:rPr>
              <a:t>олади</a:t>
            </a:r>
            <a:r>
              <a:rPr lang="ru-RU" sz="2000" b="1" dirty="0">
                <a:solidFill>
                  <a:srgbClr val="49A9F6"/>
                </a:solidFill>
              </a:rPr>
              <a:t>: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77BDD85-CABE-48A0-AA98-1DE9FDDE6A7F}"/>
              </a:ext>
            </a:extLst>
          </p:cNvPr>
          <p:cNvGrpSpPr/>
          <p:nvPr/>
        </p:nvGrpSpPr>
        <p:grpSpPr>
          <a:xfrm>
            <a:off x="764626" y="1373748"/>
            <a:ext cx="503732" cy="503729"/>
            <a:chOff x="5743597" y="819150"/>
            <a:chExt cx="801691" cy="801688"/>
          </a:xfrm>
          <a:solidFill>
            <a:schemeClr val="bg2">
              <a:lumMod val="25000"/>
            </a:schemeClr>
          </a:solidFill>
        </p:grpSpPr>
        <p:sp>
          <p:nvSpPr>
            <p:cNvPr id="29" name="Freeform 110">
              <a:extLst>
                <a:ext uri="{FF2B5EF4-FFF2-40B4-BE49-F238E27FC236}">
                  <a16:creationId xmlns:a16="http://schemas.microsoft.com/office/drawing/2014/main" id="{EC133416-E92C-4097-8F86-1968D9CC5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910" y="1076325"/>
              <a:ext cx="457202" cy="31750"/>
            </a:xfrm>
            <a:custGeom>
              <a:avLst/>
              <a:gdLst>
                <a:gd name="T0" fmla="*/ 3525 w 3650"/>
                <a:gd name="T1" fmla="*/ 0 h 250"/>
                <a:gd name="T2" fmla="*/ 125 w 3650"/>
                <a:gd name="T3" fmla="*/ 0 h 250"/>
                <a:gd name="T4" fmla="*/ 0 w 3650"/>
                <a:gd name="T5" fmla="*/ 125 h 250"/>
                <a:gd name="T6" fmla="*/ 125 w 3650"/>
                <a:gd name="T7" fmla="*/ 250 h 250"/>
                <a:gd name="T8" fmla="*/ 3525 w 3650"/>
                <a:gd name="T9" fmla="*/ 250 h 250"/>
                <a:gd name="T10" fmla="*/ 3650 w 3650"/>
                <a:gd name="T11" fmla="*/ 125 h 250"/>
                <a:gd name="T12" fmla="*/ 3525 w 3650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50" h="250">
                  <a:moveTo>
                    <a:pt x="3525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3525" y="250"/>
                  </a:lnTo>
                  <a:cubicBezTo>
                    <a:pt x="3594" y="250"/>
                    <a:pt x="3650" y="194"/>
                    <a:pt x="3650" y="125"/>
                  </a:cubicBezTo>
                  <a:cubicBezTo>
                    <a:pt x="3650" y="56"/>
                    <a:pt x="3594" y="0"/>
                    <a:pt x="3525" y="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111">
              <a:extLst>
                <a:ext uri="{FF2B5EF4-FFF2-40B4-BE49-F238E27FC236}">
                  <a16:creationId xmlns:a16="http://schemas.microsoft.com/office/drawing/2014/main" id="{254F3694-AC5D-4366-A4FF-F75D3BB08A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736" y="1225550"/>
              <a:ext cx="206376" cy="31750"/>
            </a:xfrm>
            <a:custGeom>
              <a:avLst/>
              <a:gdLst>
                <a:gd name="T0" fmla="*/ 1522 w 1647"/>
                <a:gd name="T1" fmla="*/ 0 h 250"/>
                <a:gd name="T2" fmla="*/ 125 w 1647"/>
                <a:gd name="T3" fmla="*/ 0 h 250"/>
                <a:gd name="T4" fmla="*/ 0 w 1647"/>
                <a:gd name="T5" fmla="*/ 125 h 250"/>
                <a:gd name="T6" fmla="*/ 125 w 1647"/>
                <a:gd name="T7" fmla="*/ 250 h 250"/>
                <a:gd name="T8" fmla="*/ 1522 w 1647"/>
                <a:gd name="T9" fmla="*/ 250 h 250"/>
                <a:gd name="T10" fmla="*/ 1647 w 1647"/>
                <a:gd name="T11" fmla="*/ 125 h 250"/>
                <a:gd name="T12" fmla="*/ 1522 w 1647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7" h="250">
                  <a:moveTo>
                    <a:pt x="1522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522" y="250"/>
                  </a:lnTo>
                  <a:cubicBezTo>
                    <a:pt x="1591" y="250"/>
                    <a:pt x="1647" y="194"/>
                    <a:pt x="1647" y="125"/>
                  </a:cubicBezTo>
                  <a:cubicBezTo>
                    <a:pt x="1647" y="56"/>
                    <a:pt x="1591" y="0"/>
                    <a:pt x="1522" y="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12">
              <a:extLst>
                <a:ext uri="{FF2B5EF4-FFF2-40B4-BE49-F238E27FC236}">
                  <a16:creationId xmlns:a16="http://schemas.microsoft.com/office/drawing/2014/main" id="{8190C3D8-1C9A-44D5-A644-0CDD20167D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736" y="1150938"/>
              <a:ext cx="206376" cy="31750"/>
            </a:xfrm>
            <a:custGeom>
              <a:avLst/>
              <a:gdLst>
                <a:gd name="T0" fmla="*/ 1522 w 1647"/>
                <a:gd name="T1" fmla="*/ 0 h 250"/>
                <a:gd name="T2" fmla="*/ 125 w 1647"/>
                <a:gd name="T3" fmla="*/ 0 h 250"/>
                <a:gd name="T4" fmla="*/ 0 w 1647"/>
                <a:gd name="T5" fmla="*/ 125 h 250"/>
                <a:gd name="T6" fmla="*/ 125 w 1647"/>
                <a:gd name="T7" fmla="*/ 250 h 250"/>
                <a:gd name="T8" fmla="*/ 1522 w 1647"/>
                <a:gd name="T9" fmla="*/ 250 h 250"/>
                <a:gd name="T10" fmla="*/ 1647 w 1647"/>
                <a:gd name="T11" fmla="*/ 125 h 250"/>
                <a:gd name="T12" fmla="*/ 1522 w 1647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7" h="250">
                  <a:moveTo>
                    <a:pt x="1522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522" y="250"/>
                  </a:lnTo>
                  <a:cubicBezTo>
                    <a:pt x="1591" y="250"/>
                    <a:pt x="1647" y="194"/>
                    <a:pt x="1647" y="125"/>
                  </a:cubicBezTo>
                  <a:cubicBezTo>
                    <a:pt x="1647" y="56"/>
                    <a:pt x="1591" y="0"/>
                    <a:pt x="1522" y="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113">
              <a:extLst>
                <a:ext uri="{FF2B5EF4-FFF2-40B4-BE49-F238E27FC236}">
                  <a16:creationId xmlns:a16="http://schemas.microsoft.com/office/drawing/2014/main" id="{A4565CF1-0F43-4C42-89C4-D68472A934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736" y="1301750"/>
              <a:ext cx="206376" cy="30163"/>
            </a:xfrm>
            <a:custGeom>
              <a:avLst/>
              <a:gdLst>
                <a:gd name="T0" fmla="*/ 1522 w 1647"/>
                <a:gd name="T1" fmla="*/ 0 h 250"/>
                <a:gd name="T2" fmla="*/ 125 w 1647"/>
                <a:gd name="T3" fmla="*/ 0 h 250"/>
                <a:gd name="T4" fmla="*/ 0 w 1647"/>
                <a:gd name="T5" fmla="*/ 125 h 250"/>
                <a:gd name="T6" fmla="*/ 125 w 1647"/>
                <a:gd name="T7" fmla="*/ 250 h 250"/>
                <a:gd name="T8" fmla="*/ 1522 w 1647"/>
                <a:gd name="T9" fmla="*/ 250 h 250"/>
                <a:gd name="T10" fmla="*/ 1647 w 1647"/>
                <a:gd name="T11" fmla="*/ 125 h 250"/>
                <a:gd name="T12" fmla="*/ 1522 w 1647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7" h="250">
                  <a:moveTo>
                    <a:pt x="1522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522" y="250"/>
                  </a:lnTo>
                  <a:cubicBezTo>
                    <a:pt x="1591" y="250"/>
                    <a:pt x="1647" y="194"/>
                    <a:pt x="1647" y="125"/>
                  </a:cubicBezTo>
                  <a:cubicBezTo>
                    <a:pt x="1647" y="56"/>
                    <a:pt x="1591" y="0"/>
                    <a:pt x="1522" y="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114">
              <a:extLst>
                <a:ext uri="{FF2B5EF4-FFF2-40B4-BE49-F238E27FC236}">
                  <a16:creationId xmlns:a16="http://schemas.microsoft.com/office/drawing/2014/main" id="{639824B9-373B-4A89-BCCE-74D28E2149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0910" y="1150938"/>
              <a:ext cx="206376" cy="180975"/>
            </a:xfrm>
            <a:custGeom>
              <a:avLst/>
              <a:gdLst>
                <a:gd name="T0" fmla="*/ 1522 w 1647"/>
                <a:gd name="T1" fmla="*/ 0 h 1450"/>
                <a:gd name="T2" fmla="*/ 125 w 1647"/>
                <a:gd name="T3" fmla="*/ 0 h 1450"/>
                <a:gd name="T4" fmla="*/ 0 w 1647"/>
                <a:gd name="T5" fmla="*/ 125 h 1450"/>
                <a:gd name="T6" fmla="*/ 0 w 1647"/>
                <a:gd name="T7" fmla="*/ 1325 h 1450"/>
                <a:gd name="T8" fmla="*/ 125 w 1647"/>
                <a:gd name="T9" fmla="*/ 1450 h 1450"/>
                <a:gd name="T10" fmla="*/ 1522 w 1647"/>
                <a:gd name="T11" fmla="*/ 1450 h 1450"/>
                <a:gd name="T12" fmla="*/ 1647 w 1647"/>
                <a:gd name="T13" fmla="*/ 1325 h 1450"/>
                <a:gd name="T14" fmla="*/ 1647 w 1647"/>
                <a:gd name="T15" fmla="*/ 125 h 1450"/>
                <a:gd name="T16" fmla="*/ 1522 w 1647"/>
                <a:gd name="T17" fmla="*/ 0 h 1450"/>
                <a:gd name="T18" fmla="*/ 1397 w 1647"/>
                <a:gd name="T19" fmla="*/ 1200 h 1450"/>
                <a:gd name="T20" fmla="*/ 250 w 1647"/>
                <a:gd name="T21" fmla="*/ 1200 h 1450"/>
                <a:gd name="T22" fmla="*/ 250 w 1647"/>
                <a:gd name="T23" fmla="*/ 250 h 1450"/>
                <a:gd name="T24" fmla="*/ 1397 w 1647"/>
                <a:gd name="T25" fmla="*/ 250 h 1450"/>
                <a:gd name="T26" fmla="*/ 1397 w 1647"/>
                <a:gd name="T27" fmla="*/ 1200 h 1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7" h="1450">
                  <a:moveTo>
                    <a:pt x="1522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lnTo>
                    <a:pt x="0" y="1325"/>
                  </a:lnTo>
                  <a:cubicBezTo>
                    <a:pt x="0" y="1394"/>
                    <a:pt x="56" y="1450"/>
                    <a:pt x="125" y="1450"/>
                  </a:cubicBezTo>
                  <a:lnTo>
                    <a:pt x="1522" y="1450"/>
                  </a:lnTo>
                  <a:cubicBezTo>
                    <a:pt x="1591" y="1450"/>
                    <a:pt x="1647" y="1394"/>
                    <a:pt x="1647" y="1325"/>
                  </a:cubicBezTo>
                  <a:lnTo>
                    <a:pt x="1647" y="125"/>
                  </a:lnTo>
                  <a:cubicBezTo>
                    <a:pt x="1647" y="56"/>
                    <a:pt x="1591" y="0"/>
                    <a:pt x="1522" y="0"/>
                  </a:cubicBezTo>
                  <a:close/>
                  <a:moveTo>
                    <a:pt x="1397" y="1200"/>
                  </a:moveTo>
                  <a:lnTo>
                    <a:pt x="250" y="1200"/>
                  </a:lnTo>
                  <a:lnTo>
                    <a:pt x="250" y="250"/>
                  </a:lnTo>
                  <a:lnTo>
                    <a:pt x="1397" y="250"/>
                  </a:lnTo>
                  <a:lnTo>
                    <a:pt x="1397" y="120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15">
              <a:extLst>
                <a:ext uri="{FF2B5EF4-FFF2-40B4-BE49-F238E27FC236}">
                  <a16:creationId xmlns:a16="http://schemas.microsoft.com/office/drawing/2014/main" id="{5FE85A57-A90C-44CD-921E-B382ADCF2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910" y="1450975"/>
              <a:ext cx="206376" cy="31750"/>
            </a:xfrm>
            <a:custGeom>
              <a:avLst/>
              <a:gdLst>
                <a:gd name="T0" fmla="*/ 1522 w 1647"/>
                <a:gd name="T1" fmla="*/ 0 h 250"/>
                <a:gd name="T2" fmla="*/ 125 w 1647"/>
                <a:gd name="T3" fmla="*/ 0 h 250"/>
                <a:gd name="T4" fmla="*/ 0 w 1647"/>
                <a:gd name="T5" fmla="*/ 125 h 250"/>
                <a:gd name="T6" fmla="*/ 125 w 1647"/>
                <a:gd name="T7" fmla="*/ 250 h 250"/>
                <a:gd name="T8" fmla="*/ 1522 w 1647"/>
                <a:gd name="T9" fmla="*/ 250 h 250"/>
                <a:gd name="T10" fmla="*/ 1647 w 1647"/>
                <a:gd name="T11" fmla="*/ 125 h 250"/>
                <a:gd name="T12" fmla="*/ 1522 w 1647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7" h="250">
                  <a:moveTo>
                    <a:pt x="1522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522" y="250"/>
                  </a:lnTo>
                  <a:cubicBezTo>
                    <a:pt x="1591" y="250"/>
                    <a:pt x="1647" y="194"/>
                    <a:pt x="1647" y="125"/>
                  </a:cubicBezTo>
                  <a:cubicBezTo>
                    <a:pt x="1647" y="56"/>
                    <a:pt x="1591" y="0"/>
                    <a:pt x="1522" y="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116">
              <a:extLst>
                <a:ext uri="{FF2B5EF4-FFF2-40B4-BE49-F238E27FC236}">
                  <a16:creationId xmlns:a16="http://schemas.microsoft.com/office/drawing/2014/main" id="{CCB021B7-42A1-4D9E-8F51-F5EDB8581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910" y="1527175"/>
              <a:ext cx="31750" cy="31750"/>
            </a:xfrm>
            <a:custGeom>
              <a:avLst/>
              <a:gdLst>
                <a:gd name="T0" fmla="*/ 213 w 250"/>
                <a:gd name="T1" fmla="*/ 37 h 250"/>
                <a:gd name="T2" fmla="*/ 125 w 250"/>
                <a:gd name="T3" fmla="*/ 0 h 250"/>
                <a:gd name="T4" fmla="*/ 36 w 250"/>
                <a:gd name="T5" fmla="*/ 37 h 250"/>
                <a:gd name="T6" fmla="*/ 0 w 250"/>
                <a:gd name="T7" fmla="*/ 125 h 250"/>
                <a:gd name="T8" fmla="*/ 36 w 250"/>
                <a:gd name="T9" fmla="*/ 214 h 250"/>
                <a:gd name="T10" fmla="*/ 125 w 250"/>
                <a:gd name="T11" fmla="*/ 250 h 250"/>
                <a:gd name="T12" fmla="*/ 213 w 250"/>
                <a:gd name="T13" fmla="*/ 214 h 250"/>
                <a:gd name="T14" fmla="*/ 250 w 250"/>
                <a:gd name="T15" fmla="*/ 125 h 250"/>
                <a:gd name="T16" fmla="*/ 213 w 250"/>
                <a:gd name="T17" fmla="*/ 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7"/>
                  </a:moveTo>
                  <a:cubicBezTo>
                    <a:pt x="190" y="14"/>
                    <a:pt x="158" y="0"/>
                    <a:pt x="125" y="0"/>
                  </a:cubicBezTo>
                  <a:cubicBezTo>
                    <a:pt x="92" y="0"/>
                    <a:pt x="60" y="14"/>
                    <a:pt x="36" y="37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6" y="214"/>
                  </a:cubicBezTo>
                  <a:cubicBezTo>
                    <a:pt x="60" y="237"/>
                    <a:pt x="92" y="250"/>
                    <a:pt x="125" y="250"/>
                  </a:cubicBezTo>
                  <a:cubicBezTo>
                    <a:pt x="158" y="250"/>
                    <a:pt x="190" y="237"/>
                    <a:pt x="213" y="214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7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117">
              <a:extLst>
                <a:ext uri="{FF2B5EF4-FFF2-40B4-BE49-F238E27FC236}">
                  <a16:creationId xmlns:a16="http://schemas.microsoft.com/office/drawing/2014/main" id="{036E67A1-86D5-4B52-ABB8-B5323A012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2348" y="1527175"/>
              <a:ext cx="134938" cy="31750"/>
            </a:xfrm>
            <a:custGeom>
              <a:avLst/>
              <a:gdLst>
                <a:gd name="T0" fmla="*/ 959 w 1084"/>
                <a:gd name="T1" fmla="*/ 0 h 250"/>
                <a:gd name="T2" fmla="*/ 125 w 1084"/>
                <a:gd name="T3" fmla="*/ 0 h 250"/>
                <a:gd name="T4" fmla="*/ 0 w 1084"/>
                <a:gd name="T5" fmla="*/ 125 h 250"/>
                <a:gd name="T6" fmla="*/ 125 w 1084"/>
                <a:gd name="T7" fmla="*/ 250 h 250"/>
                <a:gd name="T8" fmla="*/ 959 w 1084"/>
                <a:gd name="T9" fmla="*/ 250 h 250"/>
                <a:gd name="T10" fmla="*/ 1084 w 1084"/>
                <a:gd name="T11" fmla="*/ 125 h 250"/>
                <a:gd name="T12" fmla="*/ 959 w 1084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4" h="250">
                  <a:moveTo>
                    <a:pt x="959" y="0"/>
                  </a:moveTo>
                  <a:lnTo>
                    <a:pt x="125" y="0"/>
                  </a:lnTo>
                  <a:cubicBezTo>
                    <a:pt x="55" y="0"/>
                    <a:pt x="0" y="56"/>
                    <a:pt x="0" y="125"/>
                  </a:cubicBezTo>
                  <a:cubicBezTo>
                    <a:pt x="0" y="194"/>
                    <a:pt x="55" y="250"/>
                    <a:pt x="125" y="250"/>
                  </a:cubicBezTo>
                  <a:lnTo>
                    <a:pt x="959" y="250"/>
                  </a:lnTo>
                  <a:cubicBezTo>
                    <a:pt x="1028" y="250"/>
                    <a:pt x="1084" y="194"/>
                    <a:pt x="1084" y="125"/>
                  </a:cubicBezTo>
                  <a:cubicBezTo>
                    <a:pt x="1084" y="56"/>
                    <a:pt x="1028" y="0"/>
                    <a:pt x="959" y="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118">
              <a:extLst>
                <a:ext uri="{FF2B5EF4-FFF2-40B4-BE49-F238E27FC236}">
                  <a16:creationId xmlns:a16="http://schemas.microsoft.com/office/drawing/2014/main" id="{22D3D714-4B51-4734-89D0-65AE289673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910" y="1376363"/>
              <a:ext cx="206376" cy="31750"/>
            </a:xfrm>
            <a:custGeom>
              <a:avLst/>
              <a:gdLst>
                <a:gd name="T0" fmla="*/ 1522 w 1647"/>
                <a:gd name="T1" fmla="*/ 0 h 250"/>
                <a:gd name="T2" fmla="*/ 125 w 1647"/>
                <a:gd name="T3" fmla="*/ 0 h 250"/>
                <a:gd name="T4" fmla="*/ 0 w 1647"/>
                <a:gd name="T5" fmla="*/ 125 h 250"/>
                <a:gd name="T6" fmla="*/ 125 w 1647"/>
                <a:gd name="T7" fmla="*/ 250 h 250"/>
                <a:gd name="T8" fmla="*/ 1522 w 1647"/>
                <a:gd name="T9" fmla="*/ 250 h 250"/>
                <a:gd name="T10" fmla="*/ 1647 w 1647"/>
                <a:gd name="T11" fmla="*/ 125 h 250"/>
                <a:gd name="T12" fmla="*/ 1522 w 1647"/>
                <a:gd name="T13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7" h="250">
                  <a:moveTo>
                    <a:pt x="1522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1522" y="250"/>
                  </a:lnTo>
                  <a:cubicBezTo>
                    <a:pt x="1591" y="250"/>
                    <a:pt x="1647" y="194"/>
                    <a:pt x="1647" y="125"/>
                  </a:cubicBezTo>
                  <a:cubicBezTo>
                    <a:pt x="1647" y="56"/>
                    <a:pt x="1591" y="0"/>
                    <a:pt x="1522" y="0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19">
              <a:extLst>
                <a:ext uri="{FF2B5EF4-FFF2-40B4-BE49-F238E27FC236}">
                  <a16:creationId xmlns:a16="http://schemas.microsoft.com/office/drawing/2014/main" id="{B7061572-DC15-45CE-82CF-8C44D9F4E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81736" y="1376363"/>
              <a:ext cx="206376" cy="182563"/>
            </a:xfrm>
            <a:custGeom>
              <a:avLst/>
              <a:gdLst>
                <a:gd name="T0" fmla="*/ 1522 w 1647"/>
                <a:gd name="T1" fmla="*/ 0 h 1450"/>
                <a:gd name="T2" fmla="*/ 125 w 1647"/>
                <a:gd name="T3" fmla="*/ 0 h 1450"/>
                <a:gd name="T4" fmla="*/ 0 w 1647"/>
                <a:gd name="T5" fmla="*/ 125 h 1450"/>
                <a:gd name="T6" fmla="*/ 0 w 1647"/>
                <a:gd name="T7" fmla="*/ 1325 h 1450"/>
                <a:gd name="T8" fmla="*/ 125 w 1647"/>
                <a:gd name="T9" fmla="*/ 1450 h 1450"/>
                <a:gd name="T10" fmla="*/ 1522 w 1647"/>
                <a:gd name="T11" fmla="*/ 1450 h 1450"/>
                <a:gd name="T12" fmla="*/ 1647 w 1647"/>
                <a:gd name="T13" fmla="*/ 1325 h 1450"/>
                <a:gd name="T14" fmla="*/ 1647 w 1647"/>
                <a:gd name="T15" fmla="*/ 125 h 1450"/>
                <a:gd name="T16" fmla="*/ 1522 w 1647"/>
                <a:gd name="T17" fmla="*/ 0 h 1450"/>
                <a:gd name="T18" fmla="*/ 1397 w 1647"/>
                <a:gd name="T19" fmla="*/ 1200 h 1450"/>
                <a:gd name="T20" fmla="*/ 250 w 1647"/>
                <a:gd name="T21" fmla="*/ 1200 h 1450"/>
                <a:gd name="T22" fmla="*/ 250 w 1647"/>
                <a:gd name="T23" fmla="*/ 250 h 1450"/>
                <a:gd name="T24" fmla="*/ 1397 w 1647"/>
                <a:gd name="T25" fmla="*/ 250 h 1450"/>
                <a:gd name="T26" fmla="*/ 1397 w 1647"/>
                <a:gd name="T27" fmla="*/ 1200 h 1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47" h="1450">
                  <a:moveTo>
                    <a:pt x="1522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lnTo>
                    <a:pt x="0" y="1325"/>
                  </a:lnTo>
                  <a:cubicBezTo>
                    <a:pt x="0" y="1394"/>
                    <a:pt x="56" y="1450"/>
                    <a:pt x="125" y="1450"/>
                  </a:cubicBezTo>
                  <a:lnTo>
                    <a:pt x="1522" y="1450"/>
                  </a:lnTo>
                  <a:cubicBezTo>
                    <a:pt x="1591" y="1450"/>
                    <a:pt x="1647" y="1394"/>
                    <a:pt x="1647" y="1325"/>
                  </a:cubicBezTo>
                  <a:lnTo>
                    <a:pt x="1647" y="125"/>
                  </a:lnTo>
                  <a:cubicBezTo>
                    <a:pt x="1647" y="56"/>
                    <a:pt x="1591" y="0"/>
                    <a:pt x="1522" y="0"/>
                  </a:cubicBezTo>
                  <a:close/>
                  <a:moveTo>
                    <a:pt x="1397" y="1200"/>
                  </a:moveTo>
                  <a:lnTo>
                    <a:pt x="250" y="1200"/>
                  </a:lnTo>
                  <a:lnTo>
                    <a:pt x="250" y="250"/>
                  </a:lnTo>
                  <a:lnTo>
                    <a:pt x="1397" y="250"/>
                  </a:lnTo>
                  <a:lnTo>
                    <a:pt x="1397" y="120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120">
              <a:extLst>
                <a:ext uri="{FF2B5EF4-FFF2-40B4-BE49-F238E27FC236}">
                  <a16:creationId xmlns:a16="http://schemas.microsoft.com/office/drawing/2014/main" id="{05753DF2-1C84-4E5E-8496-0A2A90F6CE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43597" y="819150"/>
              <a:ext cx="633415" cy="801688"/>
            </a:xfrm>
            <a:custGeom>
              <a:avLst/>
              <a:gdLst>
                <a:gd name="T0" fmla="*/ 5013 w 5050"/>
                <a:gd name="T1" fmla="*/ 1237 h 6400"/>
                <a:gd name="T2" fmla="*/ 3813 w 5050"/>
                <a:gd name="T3" fmla="*/ 37 h 6400"/>
                <a:gd name="T4" fmla="*/ 3725 w 5050"/>
                <a:gd name="T5" fmla="*/ 0 h 6400"/>
                <a:gd name="T6" fmla="*/ 375 w 5050"/>
                <a:gd name="T7" fmla="*/ 0 h 6400"/>
                <a:gd name="T8" fmla="*/ 0 w 5050"/>
                <a:gd name="T9" fmla="*/ 375 h 6400"/>
                <a:gd name="T10" fmla="*/ 0 w 5050"/>
                <a:gd name="T11" fmla="*/ 6025 h 6400"/>
                <a:gd name="T12" fmla="*/ 375 w 5050"/>
                <a:gd name="T13" fmla="*/ 6400 h 6400"/>
                <a:gd name="T14" fmla="*/ 4675 w 5050"/>
                <a:gd name="T15" fmla="*/ 6400 h 6400"/>
                <a:gd name="T16" fmla="*/ 5050 w 5050"/>
                <a:gd name="T17" fmla="*/ 6025 h 6400"/>
                <a:gd name="T18" fmla="*/ 5050 w 5050"/>
                <a:gd name="T19" fmla="*/ 1325 h 6400"/>
                <a:gd name="T20" fmla="*/ 5013 w 5050"/>
                <a:gd name="T21" fmla="*/ 1237 h 6400"/>
                <a:gd name="T22" fmla="*/ 3850 w 5050"/>
                <a:gd name="T23" fmla="*/ 427 h 6400"/>
                <a:gd name="T24" fmla="*/ 4623 w 5050"/>
                <a:gd name="T25" fmla="*/ 1200 h 6400"/>
                <a:gd name="T26" fmla="*/ 3975 w 5050"/>
                <a:gd name="T27" fmla="*/ 1200 h 6400"/>
                <a:gd name="T28" fmla="*/ 3850 w 5050"/>
                <a:gd name="T29" fmla="*/ 1075 h 6400"/>
                <a:gd name="T30" fmla="*/ 3850 w 5050"/>
                <a:gd name="T31" fmla="*/ 427 h 6400"/>
                <a:gd name="T32" fmla="*/ 4800 w 5050"/>
                <a:gd name="T33" fmla="*/ 6025 h 6400"/>
                <a:gd name="T34" fmla="*/ 4675 w 5050"/>
                <a:gd name="T35" fmla="*/ 6150 h 6400"/>
                <a:gd name="T36" fmla="*/ 375 w 5050"/>
                <a:gd name="T37" fmla="*/ 6150 h 6400"/>
                <a:gd name="T38" fmla="*/ 250 w 5050"/>
                <a:gd name="T39" fmla="*/ 6025 h 6400"/>
                <a:gd name="T40" fmla="*/ 250 w 5050"/>
                <a:gd name="T41" fmla="*/ 375 h 6400"/>
                <a:gd name="T42" fmla="*/ 375 w 5050"/>
                <a:gd name="T43" fmla="*/ 250 h 6400"/>
                <a:gd name="T44" fmla="*/ 3600 w 5050"/>
                <a:gd name="T45" fmla="*/ 250 h 6400"/>
                <a:gd name="T46" fmla="*/ 3600 w 5050"/>
                <a:gd name="T47" fmla="*/ 1075 h 6400"/>
                <a:gd name="T48" fmla="*/ 3975 w 5050"/>
                <a:gd name="T49" fmla="*/ 1450 h 6400"/>
                <a:gd name="T50" fmla="*/ 4800 w 5050"/>
                <a:gd name="T51" fmla="*/ 1450 h 6400"/>
                <a:gd name="T52" fmla="*/ 4800 w 5050"/>
                <a:gd name="T53" fmla="*/ 6025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050" h="6400">
                  <a:moveTo>
                    <a:pt x="5013" y="1237"/>
                  </a:moveTo>
                  <a:lnTo>
                    <a:pt x="3813" y="37"/>
                  </a:lnTo>
                  <a:cubicBezTo>
                    <a:pt x="3790" y="13"/>
                    <a:pt x="3758" y="0"/>
                    <a:pt x="3725" y="0"/>
                  </a:cubicBezTo>
                  <a:lnTo>
                    <a:pt x="375" y="0"/>
                  </a:lnTo>
                  <a:cubicBezTo>
                    <a:pt x="168" y="0"/>
                    <a:pt x="0" y="168"/>
                    <a:pt x="0" y="375"/>
                  </a:cubicBezTo>
                  <a:lnTo>
                    <a:pt x="0" y="6025"/>
                  </a:lnTo>
                  <a:cubicBezTo>
                    <a:pt x="0" y="6232"/>
                    <a:pt x="168" y="6400"/>
                    <a:pt x="375" y="6400"/>
                  </a:cubicBezTo>
                  <a:lnTo>
                    <a:pt x="4675" y="6400"/>
                  </a:lnTo>
                  <a:cubicBezTo>
                    <a:pt x="4881" y="6400"/>
                    <a:pt x="5050" y="6232"/>
                    <a:pt x="5050" y="6025"/>
                  </a:cubicBezTo>
                  <a:lnTo>
                    <a:pt x="5050" y="1325"/>
                  </a:lnTo>
                  <a:cubicBezTo>
                    <a:pt x="5050" y="1292"/>
                    <a:pt x="5037" y="1260"/>
                    <a:pt x="5013" y="1237"/>
                  </a:cubicBezTo>
                  <a:close/>
                  <a:moveTo>
                    <a:pt x="3850" y="427"/>
                  </a:moveTo>
                  <a:lnTo>
                    <a:pt x="4623" y="1200"/>
                  </a:lnTo>
                  <a:lnTo>
                    <a:pt x="3975" y="1200"/>
                  </a:lnTo>
                  <a:cubicBezTo>
                    <a:pt x="3906" y="1200"/>
                    <a:pt x="3850" y="1144"/>
                    <a:pt x="3850" y="1075"/>
                  </a:cubicBezTo>
                  <a:lnTo>
                    <a:pt x="3850" y="427"/>
                  </a:lnTo>
                  <a:close/>
                  <a:moveTo>
                    <a:pt x="4800" y="6025"/>
                  </a:moveTo>
                  <a:cubicBezTo>
                    <a:pt x="4800" y="6094"/>
                    <a:pt x="4744" y="6150"/>
                    <a:pt x="4675" y="6150"/>
                  </a:cubicBezTo>
                  <a:lnTo>
                    <a:pt x="375" y="6150"/>
                  </a:lnTo>
                  <a:cubicBezTo>
                    <a:pt x="306" y="6150"/>
                    <a:pt x="250" y="6094"/>
                    <a:pt x="250" y="6025"/>
                  </a:cubicBezTo>
                  <a:lnTo>
                    <a:pt x="250" y="375"/>
                  </a:lnTo>
                  <a:cubicBezTo>
                    <a:pt x="250" y="306"/>
                    <a:pt x="306" y="250"/>
                    <a:pt x="375" y="250"/>
                  </a:cubicBezTo>
                  <a:lnTo>
                    <a:pt x="3600" y="250"/>
                  </a:lnTo>
                  <a:lnTo>
                    <a:pt x="3600" y="1075"/>
                  </a:lnTo>
                  <a:cubicBezTo>
                    <a:pt x="3600" y="1282"/>
                    <a:pt x="3768" y="1450"/>
                    <a:pt x="3975" y="1450"/>
                  </a:cubicBezTo>
                  <a:lnTo>
                    <a:pt x="4800" y="1450"/>
                  </a:lnTo>
                  <a:lnTo>
                    <a:pt x="4800" y="6025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121">
              <a:extLst>
                <a:ext uri="{FF2B5EF4-FFF2-40B4-BE49-F238E27FC236}">
                  <a16:creationId xmlns:a16="http://schemas.microsoft.com/office/drawing/2014/main" id="{CFA57C66-384A-4273-BC7F-FFE39AC49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0910" y="881063"/>
              <a:ext cx="331789" cy="150813"/>
            </a:xfrm>
            <a:custGeom>
              <a:avLst/>
              <a:gdLst>
                <a:gd name="T0" fmla="*/ 2525 w 2650"/>
                <a:gd name="T1" fmla="*/ 0 h 1200"/>
                <a:gd name="T2" fmla="*/ 125 w 2650"/>
                <a:gd name="T3" fmla="*/ 0 h 1200"/>
                <a:gd name="T4" fmla="*/ 0 w 2650"/>
                <a:gd name="T5" fmla="*/ 125 h 1200"/>
                <a:gd name="T6" fmla="*/ 0 w 2650"/>
                <a:gd name="T7" fmla="*/ 1075 h 1200"/>
                <a:gd name="T8" fmla="*/ 125 w 2650"/>
                <a:gd name="T9" fmla="*/ 1200 h 1200"/>
                <a:gd name="T10" fmla="*/ 2525 w 2650"/>
                <a:gd name="T11" fmla="*/ 1200 h 1200"/>
                <a:gd name="T12" fmla="*/ 2650 w 2650"/>
                <a:gd name="T13" fmla="*/ 1075 h 1200"/>
                <a:gd name="T14" fmla="*/ 2650 w 2650"/>
                <a:gd name="T15" fmla="*/ 125 h 1200"/>
                <a:gd name="T16" fmla="*/ 2525 w 2650"/>
                <a:gd name="T17" fmla="*/ 0 h 1200"/>
                <a:gd name="T18" fmla="*/ 2400 w 2650"/>
                <a:gd name="T19" fmla="*/ 950 h 1200"/>
                <a:gd name="T20" fmla="*/ 250 w 2650"/>
                <a:gd name="T21" fmla="*/ 950 h 1200"/>
                <a:gd name="T22" fmla="*/ 250 w 2650"/>
                <a:gd name="T23" fmla="*/ 250 h 1200"/>
                <a:gd name="T24" fmla="*/ 2400 w 2650"/>
                <a:gd name="T25" fmla="*/ 250 h 1200"/>
                <a:gd name="T26" fmla="*/ 2400 w 2650"/>
                <a:gd name="T27" fmla="*/ 950 h 1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50" h="1200">
                  <a:moveTo>
                    <a:pt x="2525" y="0"/>
                  </a:move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lnTo>
                    <a:pt x="0" y="1075"/>
                  </a:lnTo>
                  <a:cubicBezTo>
                    <a:pt x="0" y="1144"/>
                    <a:pt x="56" y="1200"/>
                    <a:pt x="125" y="1200"/>
                  </a:cubicBezTo>
                  <a:lnTo>
                    <a:pt x="2525" y="1200"/>
                  </a:lnTo>
                  <a:cubicBezTo>
                    <a:pt x="2594" y="1200"/>
                    <a:pt x="2650" y="1144"/>
                    <a:pt x="2650" y="1075"/>
                  </a:cubicBezTo>
                  <a:lnTo>
                    <a:pt x="2650" y="125"/>
                  </a:lnTo>
                  <a:cubicBezTo>
                    <a:pt x="2650" y="56"/>
                    <a:pt x="2594" y="0"/>
                    <a:pt x="2525" y="0"/>
                  </a:cubicBezTo>
                  <a:close/>
                  <a:moveTo>
                    <a:pt x="2400" y="950"/>
                  </a:moveTo>
                  <a:lnTo>
                    <a:pt x="250" y="950"/>
                  </a:lnTo>
                  <a:lnTo>
                    <a:pt x="250" y="250"/>
                  </a:lnTo>
                  <a:lnTo>
                    <a:pt x="2400" y="250"/>
                  </a:lnTo>
                  <a:lnTo>
                    <a:pt x="2400" y="95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122">
              <a:extLst>
                <a:ext uri="{FF2B5EF4-FFF2-40B4-BE49-F238E27FC236}">
                  <a16:creationId xmlns:a16="http://schemas.microsoft.com/office/drawing/2014/main" id="{2F472A05-B192-4AF5-8A93-152DB7213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3525" y="1169988"/>
              <a:ext cx="31750" cy="31750"/>
            </a:xfrm>
            <a:custGeom>
              <a:avLst/>
              <a:gdLst>
                <a:gd name="T0" fmla="*/ 213 w 250"/>
                <a:gd name="T1" fmla="*/ 37 h 250"/>
                <a:gd name="T2" fmla="*/ 125 w 250"/>
                <a:gd name="T3" fmla="*/ 0 h 250"/>
                <a:gd name="T4" fmla="*/ 37 w 250"/>
                <a:gd name="T5" fmla="*/ 37 h 250"/>
                <a:gd name="T6" fmla="*/ 0 w 250"/>
                <a:gd name="T7" fmla="*/ 125 h 250"/>
                <a:gd name="T8" fmla="*/ 37 w 250"/>
                <a:gd name="T9" fmla="*/ 213 h 250"/>
                <a:gd name="T10" fmla="*/ 125 w 250"/>
                <a:gd name="T11" fmla="*/ 250 h 250"/>
                <a:gd name="T12" fmla="*/ 213 w 250"/>
                <a:gd name="T13" fmla="*/ 213 h 250"/>
                <a:gd name="T14" fmla="*/ 250 w 250"/>
                <a:gd name="T15" fmla="*/ 125 h 250"/>
                <a:gd name="T16" fmla="*/ 213 w 250"/>
                <a:gd name="T17" fmla="*/ 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0" h="250">
                  <a:moveTo>
                    <a:pt x="213" y="37"/>
                  </a:moveTo>
                  <a:cubicBezTo>
                    <a:pt x="190" y="13"/>
                    <a:pt x="158" y="0"/>
                    <a:pt x="125" y="0"/>
                  </a:cubicBezTo>
                  <a:cubicBezTo>
                    <a:pt x="92" y="0"/>
                    <a:pt x="60" y="13"/>
                    <a:pt x="37" y="37"/>
                  </a:cubicBezTo>
                  <a:cubicBezTo>
                    <a:pt x="13" y="60"/>
                    <a:pt x="0" y="92"/>
                    <a:pt x="0" y="125"/>
                  </a:cubicBezTo>
                  <a:cubicBezTo>
                    <a:pt x="0" y="158"/>
                    <a:pt x="13" y="190"/>
                    <a:pt x="37" y="213"/>
                  </a:cubicBezTo>
                  <a:cubicBezTo>
                    <a:pt x="60" y="237"/>
                    <a:pt x="92" y="250"/>
                    <a:pt x="125" y="250"/>
                  </a:cubicBezTo>
                  <a:cubicBezTo>
                    <a:pt x="158" y="250"/>
                    <a:pt x="190" y="237"/>
                    <a:pt x="213" y="213"/>
                  </a:cubicBezTo>
                  <a:cubicBezTo>
                    <a:pt x="237" y="190"/>
                    <a:pt x="250" y="158"/>
                    <a:pt x="250" y="125"/>
                  </a:cubicBezTo>
                  <a:cubicBezTo>
                    <a:pt x="250" y="92"/>
                    <a:pt x="237" y="60"/>
                    <a:pt x="213" y="37"/>
                  </a:cubicBez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123">
              <a:extLst>
                <a:ext uri="{FF2B5EF4-FFF2-40B4-BE49-F238E27FC236}">
                  <a16:creationId xmlns:a16="http://schemas.microsoft.com/office/drawing/2014/main" id="{CD45FAB6-2125-4CCA-8A84-B019B6BF04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13525" y="903288"/>
              <a:ext cx="131763" cy="633413"/>
            </a:xfrm>
            <a:custGeom>
              <a:avLst/>
              <a:gdLst>
                <a:gd name="T0" fmla="*/ 752 w 1050"/>
                <a:gd name="T1" fmla="*/ 0 h 5050"/>
                <a:gd name="T2" fmla="*/ 298 w 1050"/>
                <a:gd name="T3" fmla="*/ 0 h 5050"/>
                <a:gd name="T4" fmla="*/ 0 w 1050"/>
                <a:gd name="T5" fmla="*/ 298 h 5050"/>
                <a:gd name="T6" fmla="*/ 0 w 1050"/>
                <a:gd name="T7" fmla="*/ 1704 h 5050"/>
                <a:gd name="T8" fmla="*/ 125 w 1050"/>
                <a:gd name="T9" fmla="*/ 1829 h 5050"/>
                <a:gd name="T10" fmla="*/ 250 w 1050"/>
                <a:gd name="T11" fmla="*/ 1704 h 5050"/>
                <a:gd name="T12" fmla="*/ 250 w 1050"/>
                <a:gd name="T13" fmla="*/ 830 h 5050"/>
                <a:gd name="T14" fmla="*/ 800 w 1050"/>
                <a:gd name="T15" fmla="*/ 830 h 5050"/>
                <a:gd name="T16" fmla="*/ 800 w 1050"/>
                <a:gd name="T17" fmla="*/ 3906 h 5050"/>
                <a:gd name="T18" fmla="*/ 250 w 1050"/>
                <a:gd name="T19" fmla="*/ 3906 h 5050"/>
                <a:gd name="T20" fmla="*/ 250 w 1050"/>
                <a:gd name="T21" fmla="*/ 2753 h 5050"/>
                <a:gd name="T22" fmla="*/ 125 w 1050"/>
                <a:gd name="T23" fmla="*/ 2628 h 5050"/>
                <a:gd name="T24" fmla="*/ 0 w 1050"/>
                <a:gd name="T25" fmla="*/ 2753 h 5050"/>
                <a:gd name="T26" fmla="*/ 0 w 1050"/>
                <a:gd name="T27" fmla="*/ 4031 h 5050"/>
                <a:gd name="T28" fmla="*/ 11 w 1050"/>
                <a:gd name="T29" fmla="*/ 4082 h 5050"/>
                <a:gd name="T30" fmla="*/ 411 w 1050"/>
                <a:gd name="T31" fmla="*/ 4976 h 5050"/>
                <a:gd name="T32" fmla="*/ 525 w 1050"/>
                <a:gd name="T33" fmla="*/ 5050 h 5050"/>
                <a:gd name="T34" fmla="*/ 639 w 1050"/>
                <a:gd name="T35" fmla="*/ 4976 h 5050"/>
                <a:gd name="T36" fmla="*/ 1039 w 1050"/>
                <a:gd name="T37" fmla="*/ 4082 h 5050"/>
                <a:gd name="T38" fmla="*/ 1050 w 1050"/>
                <a:gd name="T39" fmla="*/ 4031 h 5050"/>
                <a:gd name="T40" fmla="*/ 1050 w 1050"/>
                <a:gd name="T41" fmla="*/ 298 h 5050"/>
                <a:gd name="T42" fmla="*/ 752 w 1050"/>
                <a:gd name="T43" fmla="*/ 0 h 5050"/>
                <a:gd name="T44" fmla="*/ 525 w 1050"/>
                <a:gd name="T45" fmla="*/ 4619 h 5050"/>
                <a:gd name="T46" fmla="*/ 318 w 1050"/>
                <a:gd name="T47" fmla="*/ 4156 h 5050"/>
                <a:gd name="T48" fmla="*/ 732 w 1050"/>
                <a:gd name="T49" fmla="*/ 4156 h 5050"/>
                <a:gd name="T50" fmla="*/ 525 w 1050"/>
                <a:gd name="T51" fmla="*/ 4619 h 5050"/>
                <a:gd name="T52" fmla="*/ 800 w 1050"/>
                <a:gd name="T53" fmla="*/ 580 h 5050"/>
                <a:gd name="T54" fmla="*/ 250 w 1050"/>
                <a:gd name="T55" fmla="*/ 580 h 5050"/>
                <a:gd name="T56" fmla="*/ 250 w 1050"/>
                <a:gd name="T57" fmla="*/ 298 h 5050"/>
                <a:gd name="T58" fmla="*/ 298 w 1050"/>
                <a:gd name="T59" fmla="*/ 250 h 5050"/>
                <a:gd name="T60" fmla="*/ 752 w 1050"/>
                <a:gd name="T61" fmla="*/ 250 h 5050"/>
                <a:gd name="T62" fmla="*/ 800 w 1050"/>
                <a:gd name="T63" fmla="*/ 298 h 5050"/>
                <a:gd name="T64" fmla="*/ 800 w 1050"/>
                <a:gd name="T65" fmla="*/ 580 h 5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50" h="5050">
                  <a:moveTo>
                    <a:pt x="752" y="0"/>
                  </a:moveTo>
                  <a:lnTo>
                    <a:pt x="298" y="0"/>
                  </a:lnTo>
                  <a:cubicBezTo>
                    <a:pt x="134" y="0"/>
                    <a:pt x="0" y="134"/>
                    <a:pt x="0" y="298"/>
                  </a:cubicBezTo>
                  <a:lnTo>
                    <a:pt x="0" y="1704"/>
                  </a:lnTo>
                  <a:cubicBezTo>
                    <a:pt x="0" y="1773"/>
                    <a:pt x="56" y="1829"/>
                    <a:pt x="125" y="1829"/>
                  </a:cubicBezTo>
                  <a:cubicBezTo>
                    <a:pt x="194" y="1829"/>
                    <a:pt x="250" y="1773"/>
                    <a:pt x="250" y="1704"/>
                  </a:cubicBezTo>
                  <a:lnTo>
                    <a:pt x="250" y="830"/>
                  </a:lnTo>
                  <a:lnTo>
                    <a:pt x="800" y="830"/>
                  </a:lnTo>
                  <a:lnTo>
                    <a:pt x="800" y="3906"/>
                  </a:lnTo>
                  <a:lnTo>
                    <a:pt x="250" y="3906"/>
                  </a:lnTo>
                  <a:lnTo>
                    <a:pt x="250" y="2753"/>
                  </a:lnTo>
                  <a:cubicBezTo>
                    <a:pt x="250" y="2683"/>
                    <a:pt x="194" y="2628"/>
                    <a:pt x="125" y="2628"/>
                  </a:cubicBezTo>
                  <a:cubicBezTo>
                    <a:pt x="56" y="2628"/>
                    <a:pt x="0" y="2683"/>
                    <a:pt x="0" y="2753"/>
                  </a:cubicBezTo>
                  <a:lnTo>
                    <a:pt x="0" y="4031"/>
                  </a:lnTo>
                  <a:cubicBezTo>
                    <a:pt x="0" y="4049"/>
                    <a:pt x="4" y="4066"/>
                    <a:pt x="11" y="4082"/>
                  </a:cubicBezTo>
                  <a:lnTo>
                    <a:pt x="411" y="4976"/>
                  </a:lnTo>
                  <a:cubicBezTo>
                    <a:pt x="431" y="5021"/>
                    <a:pt x="476" y="5050"/>
                    <a:pt x="525" y="5050"/>
                  </a:cubicBezTo>
                  <a:cubicBezTo>
                    <a:pt x="574" y="5050"/>
                    <a:pt x="619" y="5021"/>
                    <a:pt x="639" y="4976"/>
                  </a:cubicBezTo>
                  <a:lnTo>
                    <a:pt x="1039" y="4082"/>
                  </a:lnTo>
                  <a:cubicBezTo>
                    <a:pt x="1046" y="4066"/>
                    <a:pt x="1050" y="4049"/>
                    <a:pt x="1050" y="4031"/>
                  </a:cubicBezTo>
                  <a:lnTo>
                    <a:pt x="1050" y="298"/>
                  </a:lnTo>
                  <a:cubicBezTo>
                    <a:pt x="1050" y="134"/>
                    <a:pt x="916" y="0"/>
                    <a:pt x="752" y="0"/>
                  </a:cubicBezTo>
                  <a:close/>
                  <a:moveTo>
                    <a:pt x="525" y="4619"/>
                  </a:moveTo>
                  <a:lnTo>
                    <a:pt x="318" y="4156"/>
                  </a:lnTo>
                  <a:lnTo>
                    <a:pt x="732" y="4156"/>
                  </a:lnTo>
                  <a:lnTo>
                    <a:pt x="525" y="4619"/>
                  </a:lnTo>
                  <a:close/>
                  <a:moveTo>
                    <a:pt x="800" y="580"/>
                  </a:moveTo>
                  <a:lnTo>
                    <a:pt x="250" y="580"/>
                  </a:lnTo>
                  <a:lnTo>
                    <a:pt x="250" y="298"/>
                  </a:lnTo>
                  <a:cubicBezTo>
                    <a:pt x="250" y="272"/>
                    <a:pt x="272" y="250"/>
                    <a:pt x="298" y="250"/>
                  </a:cubicBezTo>
                  <a:lnTo>
                    <a:pt x="752" y="250"/>
                  </a:lnTo>
                  <a:cubicBezTo>
                    <a:pt x="778" y="250"/>
                    <a:pt x="800" y="272"/>
                    <a:pt x="800" y="298"/>
                  </a:cubicBezTo>
                  <a:lnTo>
                    <a:pt x="800" y="580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01E4412-42E0-4DA8-B467-A144D269106E}"/>
              </a:ext>
            </a:extLst>
          </p:cNvPr>
          <p:cNvSpPr/>
          <p:nvPr/>
        </p:nvSpPr>
        <p:spPr>
          <a:xfrm>
            <a:off x="438150" y="2104487"/>
            <a:ext cx="5586413" cy="442851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0" scaled="1"/>
          </a:gradFill>
          <a:ln w="3175">
            <a:solidFill>
              <a:srgbClr val="2DDFD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44371" rIns="91440" bIns="44371" rtlCol="0" anchor="ctr">
            <a:no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Коррупция </a:t>
            </a:r>
            <a:r>
              <a:rPr lang="ru-RU" sz="16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субъектлари</a:t>
            </a:r>
            <a:endParaRPr lang="ru-RU" sz="1600" b="1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A1055B8D-D3D9-4D65-AC1C-158AD469EA2D}"/>
              </a:ext>
            </a:extLst>
          </p:cNvPr>
          <p:cNvSpPr/>
          <p:nvPr/>
        </p:nvSpPr>
        <p:spPr>
          <a:xfrm>
            <a:off x="6742201" y="2104486"/>
            <a:ext cx="5014368" cy="442851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0" scaled="1"/>
          </a:gradFill>
          <a:ln w="3175">
            <a:solidFill>
              <a:srgbClr val="2DDFD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44371" rIns="91440" bIns="44371" rtlCol="0" anchor="ctr">
            <a:no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ea typeface="Golos Text" panose="020B0503020202020204" pitchFamily="34" charset="0"/>
              </a:rPr>
              <a:t>Коррупция </a:t>
            </a:r>
            <a:r>
              <a:rPr lang="ru-RU" sz="1600" b="1" dirty="0" err="1">
                <a:solidFill>
                  <a:schemeClr val="tx2"/>
                </a:solidFill>
                <a:ea typeface="Golos Text" panose="020B0503020202020204" pitchFamily="34" charset="0"/>
              </a:rPr>
              <a:t>объектлари</a:t>
            </a:r>
            <a:endParaRPr lang="ru-RU" sz="1600" b="1" dirty="0">
              <a:solidFill>
                <a:schemeClr val="tx2"/>
              </a:solidFill>
              <a:ea typeface="Golos Text" panose="020B0503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C4F73EF-CD9E-46B5-9B39-EFBAB30332B2}"/>
              </a:ext>
            </a:extLst>
          </p:cNvPr>
          <p:cNvSpPr/>
          <p:nvPr/>
        </p:nvSpPr>
        <p:spPr>
          <a:xfrm>
            <a:off x="6742201" y="2656877"/>
            <a:ext cx="500688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жтимо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ўжал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носабатлари</a:t>
            </a:r>
            <a:endParaRPr lang="ru-R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5233A284-41B4-4ADE-ACF6-6B62E1C38BF4}"/>
              </a:ext>
            </a:extLst>
          </p:cNvPr>
          <p:cNvSpPr/>
          <p:nvPr/>
        </p:nvSpPr>
        <p:spPr>
          <a:xfrm>
            <a:off x="6742201" y="3010863"/>
            <a:ext cx="5014368" cy="442851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0" scaled="1"/>
          </a:gradFill>
          <a:ln w="3175">
            <a:solidFill>
              <a:srgbClr val="2DDFD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44371" rIns="91440" bIns="44371" rtlCol="0" anchor="ctr">
            <a:noAutofit/>
          </a:bodyPr>
          <a:lstStyle/>
          <a:p>
            <a:pPr algn="ctr"/>
            <a:r>
              <a:rPr lang="ru-RU" sz="16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ақсад</a:t>
            </a:r>
            <a:endParaRPr lang="ru-RU" sz="1600" b="1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8D727D7-DBA8-4951-B975-EEC188FDC386}"/>
              </a:ext>
            </a:extLst>
          </p:cNvPr>
          <p:cNvSpPr/>
          <p:nvPr/>
        </p:nvSpPr>
        <p:spPr>
          <a:xfrm>
            <a:off x="6742201" y="3563254"/>
            <a:ext cx="500688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ид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д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модд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й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ал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блағ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ймат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ўринишид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18B86408-131D-4C15-8EC9-54E01EEF5DAA}"/>
              </a:ext>
            </a:extLst>
          </p:cNvPr>
          <p:cNvSpPr/>
          <p:nvPr/>
        </p:nvSpPr>
        <p:spPr>
          <a:xfrm>
            <a:off x="6742201" y="4319125"/>
            <a:ext cx="5014368" cy="442851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0" scaled="1"/>
          </a:gradFill>
          <a:ln w="3175">
            <a:solidFill>
              <a:srgbClr val="2DDFD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44371" rIns="91440" bIns="44371" rtlCol="0" anchor="ctr">
            <a:noAutofit/>
          </a:bodyPr>
          <a:lstStyle/>
          <a:p>
            <a:pPr algn="ctr"/>
            <a:r>
              <a:rPr lang="ru-RU" sz="16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малга</a:t>
            </a:r>
            <a:r>
              <a:rPr lang="ru-RU" sz="16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шириш</a:t>
            </a:r>
            <a:r>
              <a:rPr lang="ru-RU" sz="16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усули</a:t>
            </a:r>
            <a:endParaRPr lang="ru-RU" sz="1600" b="1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FE0FB63-A489-4A66-9464-8FB1EA83B92E}"/>
              </a:ext>
            </a:extLst>
          </p:cNvPr>
          <p:cNvSpPr/>
          <p:nvPr/>
        </p:nvSpPr>
        <p:spPr>
          <a:xfrm>
            <a:off x="6742201" y="4871516"/>
            <a:ext cx="500688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в</a:t>
            </a:r>
            <a:r>
              <a:rPr lang="uz-Cyrl-UZ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ей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олатлард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йдаланиш</a:t>
            </a:r>
            <a:endParaRPr lang="ru-R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05AC3248-AE14-40C4-B254-B2035629BC43}"/>
              </a:ext>
            </a:extLst>
          </p:cNvPr>
          <p:cNvSpPr/>
          <p:nvPr/>
        </p:nvSpPr>
        <p:spPr>
          <a:xfrm>
            <a:off x="6742201" y="5294485"/>
            <a:ext cx="5014368" cy="442851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0" scaled="1"/>
          </a:gradFill>
          <a:ln w="3175">
            <a:solidFill>
              <a:srgbClr val="2DDFD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44371" rIns="91440" bIns="44371" rtlCol="0" anchor="ctr">
            <a:noAutofit/>
          </a:bodyPr>
          <a:lstStyle/>
          <a:p>
            <a:pPr algn="ctr"/>
            <a:r>
              <a:rPr lang="ru-RU" sz="16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Амалга</a:t>
            </a:r>
            <a:r>
              <a:rPr lang="ru-RU" sz="16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ошириш</a:t>
            </a:r>
            <a:r>
              <a:rPr lang="ru-RU" sz="16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шакллари</a:t>
            </a:r>
            <a:endParaRPr lang="ru-RU" sz="1600" b="1" dirty="0">
              <a:solidFill>
                <a:schemeClr val="tx2"/>
              </a:solidFill>
              <a:latin typeface="+mj-lt"/>
              <a:ea typeface="Golos Text" panose="020B0503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002DBC3-8080-4DD9-9E24-DA02BCC13624}"/>
              </a:ext>
            </a:extLst>
          </p:cNvPr>
          <p:cNvSpPr/>
          <p:nvPr/>
        </p:nvSpPr>
        <p:spPr>
          <a:xfrm>
            <a:off x="6742201" y="5846876"/>
            <a:ext cx="5006887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лаштир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рибгарл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ламачилик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лаштир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олатлари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иисте’мол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казо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6C503C0-01A4-43F9-B37B-683770CA92F8}"/>
              </a:ext>
            </a:extLst>
          </p:cNvPr>
          <p:cNvSpPr/>
          <p:nvPr/>
        </p:nvSpPr>
        <p:spPr>
          <a:xfrm>
            <a:off x="431999" y="2713691"/>
            <a:ext cx="5586414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ҳим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ор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ул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ҳим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орл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ул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ниш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си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нда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акатлар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ал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шир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нда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акатларнинг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ал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ширилиш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ъси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ом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олатлари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г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до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усуси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DB03BFBA-D96D-4613-BA47-0358660540F9}"/>
              </a:ext>
            </a:extLst>
          </p:cNvPr>
          <p:cNvSpPr/>
          <p:nvPr/>
        </p:nvSpPr>
        <p:spPr>
          <a:xfrm>
            <a:off x="431999" y="5881402"/>
            <a:ext cx="558641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ндай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о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ул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акатни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малга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ширишдан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дор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</a:t>
            </a:r>
            <a:endParaRPr lang="ru-R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object 12">
            <a:extLst>
              <a:ext uri="{FF2B5EF4-FFF2-40B4-BE49-F238E27FC236}">
                <a16:creationId xmlns:a16="http://schemas.microsoft.com/office/drawing/2014/main" id="{A4E53163-1F0F-47EF-9AFF-838B2847C1ED}"/>
              </a:ext>
            </a:extLst>
          </p:cNvPr>
          <p:cNvSpPr/>
          <p:nvPr/>
        </p:nvSpPr>
        <p:spPr>
          <a:xfrm>
            <a:off x="2881146" y="3741818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49A9F6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4" name="object 12">
            <a:extLst>
              <a:ext uri="{FF2B5EF4-FFF2-40B4-BE49-F238E27FC236}">
                <a16:creationId xmlns:a16="http://schemas.microsoft.com/office/drawing/2014/main" id="{78E6939B-BA61-43C5-A135-0379DC4B7487}"/>
              </a:ext>
            </a:extLst>
          </p:cNvPr>
          <p:cNvSpPr/>
          <p:nvPr/>
        </p:nvSpPr>
        <p:spPr>
          <a:xfrm>
            <a:off x="2881146" y="508696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rgbClr val="49A9F6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75" name="Graphic 74">
            <a:extLst>
              <a:ext uri="{FF2B5EF4-FFF2-40B4-BE49-F238E27FC236}">
                <a16:creationId xmlns:a16="http://schemas.microsoft.com/office/drawing/2014/main" id="{CDAF482D-0670-4C93-931F-D9CEEA7A265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04757" y="3838394"/>
            <a:ext cx="457200" cy="457200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E0C0AFCE-28D5-4F0C-BAA7-4A75175DC2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96606" y="5201273"/>
            <a:ext cx="457200" cy="457200"/>
          </a:xfrm>
          <a:prstGeom prst="rect">
            <a:avLst/>
          </a:prstGeom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2AC24596-27F5-4E76-8A84-950A7039D9C1}"/>
              </a:ext>
            </a:extLst>
          </p:cNvPr>
          <p:cNvSpPr/>
          <p:nvPr/>
        </p:nvSpPr>
        <p:spPr>
          <a:xfrm>
            <a:off x="3884859" y="4652931"/>
            <a:ext cx="206850" cy="178319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935D7A47-10A7-48A9-A805-72CE36D9840D}"/>
              </a:ext>
            </a:extLst>
          </p:cNvPr>
          <p:cNvSpPr/>
          <p:nvPr/>
        </p:nvSpPr>
        <p:spPr>
          <a:xfrm rot="10800000">
            <a:off x="2370917" y="4674956"/>
            <a:ext cx="206850" cy="178319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266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82C6541-2A31-4E7F-B834-4CE389EA3A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sz="4800" dirty="0" err="1"/>
              <a:t>Коррупциянинг</a:t>
            </a:r>
            <a:r>
              <a:rPr lang="ru-RU" sz="4800" dirty="0"/>
              <a:t> </a:t>
            </a:r>
            <a:r>
              <a:rPr lang="ru-RU" sz="4800" dirty="0" err="1"/>
              <a:t>ижтимоий-ҳуқуқий</a:t>
            </a:r>
            <a:r>
              <a:rPr lang="ru-RU" sz="4800" dirty="0"/>
              <a:t> </a:t>
            </a:r>
            <a:r>
              <a:rPr lang="ru-RU" sz="4800" dirty="0" err="1"/>
              <a:t>ва</a:t>
            </a:r>
            <a:r>
              <a:rPr lang="ru-RU" sz="4800" dirty="0"/>
              <a:t> </a:t>
            </a:r>
            <a:r>
              <a:rPr lang="ru-RU" sz="4800" dirty="0" err="1"/>
              <a:t>ижтимоий-иқтисодий</a:t>
            </a:r>
            <a:r>
              <a:rPr lang="ru-RU" sz="4800" dirty="0"/>
              <a:t> </a:t>
            </a:r>
            <a:r>
              <a:rPr lang="ru-RU" sz="4800" dirty="0" err="1"/>
              <a:t>ҳодиса</a:t>
            </a:r>
            <a:r>
              <a:rPr lang="ru-RU" sz="4800" dirty="0"/>
              <a:t> </a:t>
            </a:r>
            <a:r>
              <a:rPr lang="ru-RU" sz="4800" dirty="0" err="1"/>
              <a:t>сифатида</a:t>
            </a:r>
            <a:r>
              <a:rPr lang="ru-RU" sz="4800" dirty="0"/>
              <a:t> </a:t>
            </a:r>
            <a:r>
              <a:rPr lang="ru-RU" sz="4800" dirty="0" err="1"/>
              <a:t>моҳияти</a:t>
            </a:r>
            <a:r>
              <a:rPr lang="ru-RU" sz="4800" dirty="0"/>
              <a:t> </a:t>
            </a:r>
            <a:r>
              <a:rPr lang="ru-RU" sz="4800" dirty="0" err="1"/>
              <a:t>ва</a:t>
            </a:r>
            <a:r>
              <a:rPr lang="ru-RU" sz="4800" dirty="0"/>
              <a:t> </a:t>
            </a:r>
            <a:r>
              <a:rPr lang="ru-RU" sz="4800" dirty="0" err="1"/>
              <a:t>характерли</a:t>
            </a:r>
            <a:r>
              <a:rPr lang="ru-RU" sz="4800" dirty="0"/>
              <a:t> </a:t>
            </a:r>
            <a:r>
              <a:rPr lang="ru-RU" sz="4800" dirty="0" err="1"/>
              <a:t>белгиларининг</a:t>
            </a:r>
            <a:r>
              <a:rPr lang="ru-RU" sz="4800" dirty="0"/>
              <a:t> </a:t>
            </a:r>
            <a:r>
              <a:rPr lang="ru-RU" sz="4800" dirty="0" err="1"/>
              <a:t>таърифи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AFC1541-92BD-4474-A110-C3C4A53FF976}"/>
              </a:ext>
            </a:extLst>
          </p:cNvPr>
          <p:cNvSpPr txBox="1">
            <a:spLocks/>
          </p:cNvSpPr>
          <p:nvPr/>
        </p:nvSpPr>
        <p:spPr>
          <a:xfrm>
            <a:off x="350378" y="5223794"/>
            <a:ext cx="2020192" cy="15216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9600" b="1" dirty="0">
                <a:solidFill>
                  <a:srgbClr val="1BD7D3"/>
                </a:solidFill>
                <a:latin typeface="Arial Black" panose="020B0A04020102020204" pitchFamily="34" charset="0"/>
              </a:rPr>
              <a:t>3.</a:t>
            </a:r>
            <a:endParaRPr lang="en-US" sz="9600" b="1" dirty="0">
              <a:solidFill>
                <a:srgbClr val="1BD7D3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70587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Kept">
      <a:dk1>
        <a:srgbClr val="531A56"/>
      </a:dk1>
      <a:lt1>
        <a:srgbClr val="FFFFFF"/>
      </a:lt1>
      <a:dk2>
        <a:srgbClr val="000000"/>
      </a:dk2>
      <a:lt2>
        <a:srgbClr val="CAC5F9"/>
      </a:lt2>
      <a:accent1>
        <a:srgbClr val="A39CFF"/>
      </a:accent1>
      <a:accent2>
        <a:srgbClr val="CDFF5D"/>
      </a:accent2>
      <a:accent3>
        <a:srgbClr val="00DD99"/>
      </a:accent3>
      <a:accent4>
        <a:srgbClr val="2ADBDB"/>
      </a:accent4>
      <a:accent5>
        <a:srgbClr val="FF605C"/>
      </a:accent5>
      <a:accent6>
        <a:srgbClr val="FFAB66"/>
      </a:accent6>
      <a:hlink>
        <a:srgbClr val="531A56"/>
      </a:hlink>
      <a:folHlink>
        <a:srgbClr val="3EBAFF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_JSC_Widescreen.potx" id="{DCCA6DF8-0AB1-4F23-8A30-9BD0D164B9BB}" vid="{3266E5EF-05E3-4A0F-9B3D-04D8A0C2B4C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624</TotalTime>
  <Words>6284</Words>
  <Application>Microsoft Office PowerPoint</Application>
  <PresentationFormat>Widescreen</PresentationFormat>
  <Paragraphs>934</Paragraphs>
  <Slides>60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67" baseType="lpstr">
      <vt:lpstr>Arial</vt:lpstr>
      <vt:lpstr>Arial Black</vt:lpstr>
      <vt:lpstr>Arial Narrow</vt:lpstr>
      <vt:lpstr>Calibri</vt:lpstr>
      <vt:lpstr>Gotham Light</vt:lpstr>
      <vt:lpstr>2_Office Theme</vt:lpstr>
      <vt:lpstr>think-cell Slide</vt:lpstr>
      <vt:lpstr>1-Маъруза</vt:lpstr>
      <vt:lpstr>Мундарижа</vt:lpstr>
      <vt:lpstr>Коррупция тушунчаси бўйича асосий концепциялар</vt:lpstr>
      <vt:lpstr>Коррупция тушунчаси талқини</vt:lpstr>
      <vt:lpstr>Коррупция тушунчаси талқини</vt:lpstr>
      <vt:lpstr>Ўзбекистон Республикаси қонунчилигида коррупция тушунчаси: корруция тизимини ташкил этувчи элементлар</vt:lpstr>
      <vt:lpstr>Ўзбекистон Республикаси қонунчилигида корруция тушунчаси</vt:lpstr>
      <vt:lpstr>Корруциянинг тизимни ташкил этувчи элементлари</vt:lpstr>
      <vt:lpstr>Коррупциянинг ижтимоий-ҳуқуқий ва ижтимоий-иқтисодий ҳодиса сифатида моҳияти ва характерли белгиларининг таърифи</vt:lpstr>
      <vt:lpstr>Коррупция ижтимоий-ҳуқуқий ва ижтимоий-иқтисодий ҳодиса сифатида</vt:lpstr>
      <vt:lpstr>Коррупцияга оид жиноятларнинг тоифалари</vt:lpstr>
      <vt:lpstr>Коррупциянинг ижтимоий, иқтисодий ва сиёсий оқибатлари: фуқаролар, ташкилотлар ва бутун мамлакат учун оқибатлари</vt:lpstr>
      <vt:lpstr>Коррупциянинг оқибатлари</vt:lpstr>
      <vt:lpstr>Коррупциянинг оқибатлари</vt:lpstr>
      <vt:lpstr>Коррупциянинг оқибатлари</vt:lpstr>
      <vt:lpstr>Коррупциянинг оқибатлари</vt:lpstr>
      <vt:lpstr>Коррупциянинг оқибатлари</vt:lpstr>
      <vt:lpstr>Коррупциянинг оқибатлари</vt:lpstr>
      <vt:lpstr>Коррупциянинг оқибатлари</vt:lpstr>
      <vt:lpstr>Фирибгарлик учбурчаги ва коррупцион хулқ-атворни тушунтирувчи бошқа назариялар</vt:lpstr>
      <vt:lpstr>Коррупция хатти-ҳаракатлари ҳақидаги назариялар</vt:lpstr>
      <vt:lpstr>Фирибгарлик учбурчаги (1/2)</vt:lpstr>
      <vt:lpstr>Фирибгарлик учбурчаги(2/2) </vt:lpstr>
      <vt:lpstr>Коррупциянинг, шу жумладан манфаатлар тўқнашувининг намоён бўлиш шакллари</vt:lpstr>
      <vt:lpstr>Коррупциянинг намоён бўлиш шакллари</vt:lpstr>
      <vt:lpstr>Коррупциянинг намоён бўлиш шакллари</vt:lpstr>
      <vt:lpstr>Ўзбекистон Республикасида коррупция ҳолатлари</vt:lpstr>
      <vt:lpstr>Ўзбекистон Республикасида коррупцияга оид ҳуқуқбузарликлар тўғрисидаги статистика</vt:lpstr>
      <vt:lpstr>Турли мамлакатлар, иқтисодиёт тармоқлари, фаолият соҳаларида коррупция даражаси бўйича халқаро тадқиқотлар</vt:lpstr>
      <vt:lpstr>Transparency International </vt:lpstr>
      <vt:lpstr>Transparency International </vt:lpstr>
      <vt:lpstr>Transparency International </vt:lpstr>
      <vt:lpstr>Фирибгарлик бўйича сертификатланган экспертлар Ассоциациясининг ҳисоботи  (ACFE)</vt:lpstr>
      <vt:lpstr>Фирибгарлик бўйича сертификатланган экспертлар Ассоциациясининг ҳисоботи (ACFE)</vt:lpstr>
      <vt:lpstr>Фирибгарлик бўйича сертификатланган экспертлар Ассоциациясининг ҳисоботи (ACFE)</vt:lpstr>
      <vt:lpstr>TRACE Bribery Risk Matrix</vt:lpstr>
      <vt:lpstr>Corruption Risk Forecast</vt:lpstr>
      <vt:lpstr>ЎзР коррупцияга қарши курашиш Агентлигининг 2022 йилдаги версияси бўйича  давлат идоралари рейтинги</vt:lpstr>
      <vt:lpstr>Семинар</vt:lpstr>
      <vt:lpstr>Коррупция ижтимоий-ҳуқуқий ва ижтимоий-иқтисодий ҳодиса сифатида: тушунчаси, белгилари, моҳияти, оқибатлари ва жавобгарлиги</vt:lpstr>
      <vt:lpstr>Билимлар назорати</vt:lpstr>
      <vt:lpstr>Назорат саволлари</vt:lpstr>
      <vt:lpstr>Тест</vt:lpstr>
      <vt:lpstr>Тест</vt:lpstr>
      <vt:lpstr>Тест</vt:lpstr>
      <vt:lpstr>Тест</vt:lpstr>
      <vt:lpstr>Тест</vt:lpstr>
      <vt:lpstr>Тест</vt:lpstr>
      <vt:lpstr>Тест</vt:lpstr>
      <vt:lpstr>Тест</vt:lpstr>
      <vt:lpstr>Тест</vt:lpstr>
      <vt:lpstr>Тест</vt:lpstr>
      <vt:lpstr>Тест</vt:lpstr>
      <vt:lpstr>Тест</vt:lpstr>
      <vt:lpstr>Тест</vt:lpstr>
      <vt:lpstr>Тест</vt:lpstr>
      <vt:lpstr>Тест</vt:lpstr>
      <vt:lpstr>Тест</vt:lpstr>
      <vt:lpstr>Манбалар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учающая программа по вопросам создания и внедрения эффективных антикоррупционных комплаенс-систем в государственных органах и учреждениях</dc:title>
  <dc:creator>Kiryanova, Viktoria</dc:creator>
  <cp:lastModifiedBy>Sabirov, Salayjon</cp:lastModifiedBy>
  <cp:revision>607</cp:revision>
  <dcterms:created xsi:type="dcterms:W3CDTF">2022-07-14T08:09:04Z</dcterms:created>
  <dcterms:modified xsi:type="dcterms:W3CDTF">2023-05-31T18:18:24Z</dcterms:modified>
</cp:coreProperties>
</file>